
<file path=[Content_Types].xml><?xml version="1.0" encoding="utf-8"?>
<Types xmlns="http://schemas.openxmlformats.org/package/2006/content-types">
  <Default Extension="jpeg" ContentType="image/jpeg"/>
  <Default Extension="jpg" ContentType="image/jpeg"/>
  <Default Extension="m4a" ContentType="audi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6"/>
  </p:notesMasterIdLst>
  <p:sldIdLst>
    <p:sldId id="613" r:id="rId2"/>
    <p:sldId id="601" r:id="rId3"/>
    <p:sldId id="600" r:id="rId4"/>
    <p:sldId id="691" r:id="rId5"/>
    <p:sldId id="692" r:id="rId6"/>
    <p:sldId id="693" r:id="rId7"/>
    <p:sldId id="694" r:id="rId8"/>
    <p:sldId id="695" r:id="rId9"/>
    <p:sldId id="696" r:id="rId10"/>
    <p:sldId id="697" r:id="rId11"/>
    <p:sldId id="698" r:id="rId12"/>
    <p:sldId id="699" r:id="rId13"/>
    <p:sldId id="700" r:id="rId14"/>
    <p:sldId id="701" r:id="rId15"/>
    <p:sldId id="702" r:id="rId16"/>
    <p:sldId id="703" r:id="rId17"/>
    <p:sldId id="704" r:id="rId18"/>
    <p:sldId id="706" r:id="rId19"/>
    <p:sldId id="705" r:id="rId20"/>
    <p:sldId id="707" r:id="rId21"/>
    <p:sldId id="708" r:id="rId22"/>
    <p:sldId id="611" r:id="rId23"/>
    <p:sldId id="265" r:id="rId24"/>
    <p:sldId id="690" r:id="rId25"/>
  </p:sldIdLst>
  <p:sldSz cx="12192000" cy="6858000"/>
  <p:notesSz cx="6858000" cy="9144000"/>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65BBC77-90B1-41D5-84EB-14ECEA3894E5}" v="27" dt="2021-03-30T14:37:08.25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03" autoAdjust="0"/>
    <p:restoredTop sz="95890"/>
  </p:normalViewPr>
  <p:slideViewPr>
    <p:cSldViewPr snapToGrid="0">
      <p:cViewPr varScale="1">
        <p:scale>
          <a:sx n="111" d="100"/>
          <a:sy n="111" d="100"/>
        </p:scale>
        <p:origin x="462" y="5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mas Zednicek" userId="a1908deaf0417386" providerId="LiveId" clId="{A65BBC77-90B1-41D5-84EB-14ECEA3894E5}"/>
    <pc:docChg chg="custSel modSld">
      <pc:chgData name="Tomas Zednicek" userId="a1908deaf0417386" providerId="LiveId" clId="{A65BBC77-90B1-41D5-84EB-14ECEA3894E5}" dt="2021-03-30T14:37:08.259" v="121"/>
      <pc:docMkLst>
        <pc:docMk/>
      </pc:docMkLst>
      <pc:sldChg chg="addSp delSp modSp mod">
        <pc:chgData name="Tomas Zednicek" userId="a1908deaf0417386" providerId="LiveId" clId="{A65BBC77-90B1-41D5-84EB-14ECEA3894E5}" dt="2021-03-30T14:37:08.259" v="121"/>
        <pc:sldMkLst>
          <pc:docMk/>
          <pc:sldMk cId="3259791828" sldId="265"/>
        </pc:sldMkLst>
        <pc:spChg chg="del">
          <ac:chgData name="Tomas Zednicek" userId="a1908deaf0417386" providerId="LiveId" clId="{A65BBC77-90B1-41D5-84EB-14ECEA3894E5}" dt="2021-03-30T13:22:40.829" v="14" actId="478"/>
          <ac:spMkLst>
            <pc:docMk/>
            <pc:sldMk cId="3259791828" sldId="265"/>
            <ac:spMk id="12" creationId="{4BCE05B7-2BA7-41DF-B69D-85F91D574FC2}"/>
          </ac:spMkLst>
        </pc:spChg>
        <pc:spChg chg="del">
          <ac:chgData name="Tomas Zednicek" userId="a1908deaf0417386" providerId="LiveId" clId="{A65BBC77-90B1-41D5-84EB-14ECEA3894E5}" dt="2021-03-30T13:22:43.276" v="15" actId="478"/>
          <ac:spMkLst>
            <pc:docMk/>
            <pc:sldMk cId="3259791828" sldId="265"/>
            <ac:spMk id="15" creationId="{120C0B1A-1D37-49E6-912B-241120CF49E1}"/>
          </ac:spMkLst>
        </pc:spChg>
        <pc:spChg chg="mod">
          <ac:chgData name="Tomas Zednicek" userId="a1908deaf0417386" providerId="LiveId" clId="{A65BBC77-90B1-41D5-84EB-14ECEA3894E5}" dt="2021-03-30T13:22:49.136" v="17" actId="1076"/>
          <ac:spMkLst>
            <pc:docMk/>
            <pc:sldMk cId="3259791828" sldId="265"/>
            <ac:spMk id="16" creationId="{66E263A7-F56C-4DC0-9B0B-CE036C9F53F6}"/>
          </ac:spMkLst>
        </pc:spChg>
        <pc:spChg chg="mod">
          <ac:chgData name="Tomas Zednicek" userId="a1908deaf0417386" providerId="LiveId" clId="{A65BBC77-90B1-41D5-84EB-14ECEA3894E5}" dt="2021-03-30T13:22:46.283" v="16" actId="1076"/>
          <ac:spMkLst>
            <pc:docMk/>
            <pc:sldMk cId="3259791828" sldId="265"/>
            <ac:spMk id="29" creationId="{7B4BA424-E03F-4917-9700-63AD2E2BA1AA}"/>
          </ac:spMkLst>
        </pc:spChg>
        <pc:spChg chg="add mod">
          <ac:chgData name="Tomas Zednicek" userId="a1908deaf0417386" providerId="LiveId" clId="{A65BBC77-90B1-41D5-84EB-14ECEA3894E5}" dt="2021-03-30T13:26:23.592" v="87" actId="403"/>
          <ac:spMkLst>
            <pc:docMk/>
            <pc:sldMk cId="3259791828" sldId="265"/>
            <ac:spMk id="31" creationId="{F6E7AED1-1DE4-4680-8E23-A7FE69429A99}"/>
          </ac:spMkLst>
        </pc:spChg>
        <pc:spChg chg="add mod">
          <ac:chgData name="Tomas Zednicek" userId="a1908deaf0417386" providerId="LiveId" clId="{A65BBC77-90B1-41D5-84EB-14ECEA3894E5}" dt="2021-03-30T13:26:47.683" v="92"/>
          <ac:spMkLst>
            <pc:docMk/>
            <pc:sldMk cId="3259791828" sldId="265"/>
            <ac:spMk id="32" creationId="{7183425D-4743-4792-BAE1-6BF1F9B064F6}"/>
          </ac:spMkLst>
        </pc:spChg>
        <pc:spChg chg="add mod">
          <ac:chgData name="Tomas Zednicek" userId="a1908deaf0417386" providerId="LiveId" clId="{A65BBC77-90B1-41D5-84EB-14ECEA3894E5}" dt="2021-03-30T13:31:53.420" v="120"/>
          <ac:spMkLst>
            <pc:docMk/>
            <pc:sldMk cId="3259791828" sldId="265"/>
            <ac:spMk id="33" creationId="{EFE49822-A8E1-44A7-96E9-07873A349C97}"/>
          </ac:spMkLst>
        </pc:spChg>
        <pc:picChg chg="add mod">
          <ac:chgData name="Tomas Zednicek" userId="a1908deaf0417386" providerId="LiveId" clId="{A65BBC77-90B1-41D5-84EB-14ECEA3894E5}" dt="2021-03-30T14:37:08.259" v="121"/>
          <ac:picMkLst>
            <pc:docMk/>
            <pc:sldMk cId="3259791828" sldId="265"/>
            <ac:picMk id="5" creationId="{A7A9F59F-5600-4AF5-B54B-3BAC7E94BB09}"/>
          </ac:picMkLst>
        </pc:picChg>
      </pc:sldChg>
      <pc:sldChg chg="addSp delSp modSp mod">
        <pc:chgData name="Tomas Zednicek" userId="a1908deaf0417386" providerId="LiveId" clId="{A65BBC77-90B1-41D5-84EB-14ECEA3894E5}" dt="2021-03-30T14:37:08.259" v="121"/>
        <pc:sldMkLst>
          <pc:docMk/>
          <pc:sldMk cId="153099057" sldId="600"/>
        </pc:sldMkLst>
        <pc:spChg chg="del">
          <ac:chgData name="Tomas Zednicek" userId="a1908deaf0417386" providerId="LiveId" clId="{A65BBC77-90B1-41D5-84EB-14ECEA3894E5}" dt="2021-03-30T13:24:08.569" v="29" actId="478"/>
          <ac:spMkLst>
            <pc:docMk/>
            <pc:sldMk cId="153099057" sldId="600"/>
            <ac:spMk id="4" creationId="{7C312B73-027B-4FFE-ACF6-AEB72AD27133}"/>
          </ac:spMkLst>
        </pc:spChg>
        <pc:spChg chg="mod">
          <ac:chgData name="Tomas Zednicek" userId="a1908deaf0417386" providerId="LiveId" clId="{A65BBC77-90B1-41D5-84EB-14ECEA3894E5}" dt="2021-03-30T13:30:54.038" v="114" actId="255"/>
          <ac:spMkLst>
            <pc:docMk/>
            <pc:sldMk cId="153099057" sldId="600"/>
            <ac:spMk id="5" creationId="{E2BEB5B8-2F82-41EB-8989-098F307E9EF4}"/>
          </ac:spMkLst>
        </pc:spChg>
        <pc:spChg chg="mod">
          <ac:chgData name="Tomas Zednicek" userId="a1908deaf0417386" providerId="LiveId" clId="{A65BBC77-90B1-41D5-84EB-14ECEA3894E5}" dt="2021-03-30T13:31:00.410" v="117" actId="20577"/>
          <ac:spMkLst>
            <pc:docMk/>
            <pc:sldMk cId="153099057" sldId="600"/>
            <ac:spMk id="15" creationId="{00000000-0000-0000-0000-000000000000}"/>
          </ac:spMkLst>
        </pc:spChg>
        <pc:spChg chg="add mod">
          <ac:chgData name="Tomas Zednicek" userId="a1908deaf0417386" providerId="LiveId" clId="{A65BBC77-90B1-41D5-84EB-14ECEA3894E5}" dt="2021-03-30T13:24:22.979" v="30"/>
          <ac:spMkLst>
            <pc:docMk/>
            <pc:sldMk cId="153099057" sldId="600"/>
            <ac:spMk id="28" creationId="{DA5B28D9-6770-4270-B05C-F5E876C4CCDE}"/>
          </ac:spMkLst>
        </pc:spChg>
        <pc:picChg chg="add mod">
          <ac:chgData name="Tomas Zednicek" userId="a1908deaf0417386" providerId="LiveId" clId="{A65BBC77-90B1-41D5-84EB-14ECEA3894E5}" dt="2021-03-30T14:37:08.259" v="121"/>
          <ac:picMkLst>
            <pc:docMk/>
            <pc:sldMk cId="153099057" sldId="600"/>
            <ac:picMk id="7" creationId="{2D8DF81F-6FE5-43AD-9A2C-3EFBF286CCDF}"/>
          </ac:picMkLst>
        </pc:picChg>
      </pc:sldChg>
      <pc:sldChg chg="addSp modSp mod">
        <pc:chgData name="Tomas Zednicek" userId="a1908deaf0417386" providerId="LiveId" clId="{A65BBC77-90B1-41D5-84EB-14ECEA3894E5}" dt="2021-03-30T14:37:08.259" v="121"/>
        <pc:sldMkLst>
          <pc:docMk/>
          <pc:sldMk cId="2806491341" sldId="601"/>
        </pc:sldMkLst>
        <pc:spChg chg="mod">
          <ac:chgData name="Tomas Zednicek" userId="a1908deaf0417386" providerId="LiveId" clId="{A65BBC77-90B1-41D5-84EB-14ECEA3894E5}" dt="2021-03-30T13:23:58.438" v="28" actId="20577"/>
          <ac:spMkLst>
            <pc:docMk/>
            <pc:sldMk cId="2806491341" sldId="601"/>
            <ac:spMk id="3" creationId="{C9FE54C5-32D1-4494-8853-7E1093E30FAC}"/>
          </ac:spMkLst>
        </pc:spChg>
        <pc:spChg chg="mod">
          <ac:chgData name="Tomas Zednicek" userId="a1908deaf0417386" providerId="LiveId" clId="{A65BBC77-90B1-41D5-84EB-14ECEA3894E5}" dt="2021-03-30T13:31:06.344" v="118" actId="255"/>
          <ac:spMkLst>
            <pc:docMk/>
            <pc:sldMk cId="2806491341" sldId="601"/>
            <ac:spMk id="6" creationId="{DE8992FA-E2EA-4EFB-BF24-5D2B5448C2F1}"/>
          </ac:spMkLst>
        </pc:spChg>
        <pc:picChg chg="add mod">
          <ac:chgData name="Tomas Zednicek" userId="a1908deaf0417386" providerId="LiveId" clId="{A65BBC77-90B1-41D5-84EB-14ECEA3894E5}" dt="2021-03-30T14:37:08.259" v="121"/>
          <ac:picMkLst>
            <pc:docMk/>
            <pc:sldMk cId="2806491341" sldId="601"/>
            <ac:picMk id="2" creationId="{C3B9ED32-F48E-41A4-B1EA-3304D6FA91D1}"/>
          </ac:picMkLst>
        </pc:picChg>
      </pc:sldChg>
      <pc:sldChg chg="addSp modSp mod">
        <pc:chgData name="Tomas Zednicek" userId="a1908deaf0417386" providerId="LiveId" clId="{A65BBC77-90B1-41D5-84EB-14ECEA3894E5}" dt="2021-03-30T14:37:08.259" v="121"/>
        <pc:sldMkLst>
          <pc:docMk/>
          <pc:sldMk cId="4030168640" sldId="611"/>
        </pc:sldMkLst>
        <pc:spChg chg="add mod">
          <ac:chgData name="Tomas Zednicek" userId="a1908deaf0417386" providerId="LiveId" clId="{A65BBC77-90B1-41D5-84EB-14ECEA3894E5}" dt="2021-03-30T13:26:01.994" v="76" actId="207"/>
          <ac:spMkLst>
            <pc:docMk/>
            <pc:sldMk cId="4030168640" sldId="611"/>
            <ac:spMk id="13" creationId="{160CFF9B-E5AF-42B1-B4E4-D9C9CF90C293}"/>
          </ac:spMkLst>
        </pc:spChg>
        <pc:spChg chg="add mod">
          <ac:chgData name="Tomas Zednicek" userId="a1908deaf0417386" providerId="LiveId" clId="{A65BBC77-90B1-41D5-84EB-14ECEA3894E5}" dt="2021-03-30T13:26:54.335" v="95" actId="207"/>
          <ac:spMkLst>
            <pc:docMk/>
            <pc:sldMk cId="4030168640" sldId="611"/>
            <ac:spMk id="14" creationId="{3F6F506A-B877-4D4A-9EE5-388E0330CDFD}"/>
          </ac:spMkLst>
        </pc:spChg>
        <pc:spChg chg="add mod">
          <ac:chgData name="Tomas Zednicek" userId="a1908deaf0417386" providerId="LiveId" clId="{A65BBC77-90B1-41D5-84EB-14ECEA3894E5}" dt="2021-03-30T13:31:51.501" v="119"/>
          <ac:spMkLst>
            <pc:docMk/>
            <pc:sldMk cId="4030168640" sldId="611"/>
            <ac:spMk id="15" creationId="{A35D4915-CB9B-4453-9B58-3F9FE9A11325}"/>
          </ac:spMkLst>
        </pc:spChg>
        <pc:picChg chg="add mod">
          <ac:chgData name="Tomas Zednicek" userId="a1908deaf0417386" providerId="LiveId" clId="{A65BBC77-90B1-41D5-84EB-14ECEA3894E5}" dt="2021-03-30T14:37:08.259" v="121"/>
          <ac:picMkLst>
            <pc:docMk/>
            <pc:sldMk cId="4030168640" sldId="611"/>
            <ac:picMk id="2" creationId="{9F379499-5E54-4CF2-80D3-0C7F206527A8}"/>
          </ac:picMkLst>
        </pc:picChg>
      </pc:sldChg>
      <pc:sldChg chg="addSp modSp mod">
        <pc:chgData name="Tomas Zednicek" userId="a1908deaf0417386" providerId="LiveId" clId="{A65BBC77-90B1-41D5-84EB-14ECEA3894E5}" dt="2021-03-30T14:37:08.259" v="121"/>
        <pc:sldMkLst>
          <pc:docMk/>
          <pc:sldMk cId="3046749683" sldId="613"/>
        </pc:sldMkLst>
        <pc:spChg chg="mod">
          <ac:chgData name="Tomas Zednicek" userId="a1908deaf0417386" providerId="LiveId" clId="{A65BBC77-90B1-41D5-84EB-14ECEA3894E5}" dt="2021-03-30T13:23:09.103" v="22" actId="1038"/>
          <ac:spMkLst>
            <pc:docMk/>
            <pc:sldMk cId="3046749683" sldId="613"/>
            <ac:spMk id="21" creationId="{47F8BAE7-94C6-4573-8C6F-E579D619C8EB}"/>
          </ac:spMkLst>
        </pc:spChg>
        <pc:picChg chg="add mod">
          <ac:chgData name="Tomas Zednicek" userId="a1908deaf0417386" providerId="LiveId" clId="{A65BBC77-90B1-41D5-84EB-14ECEA3894E5}" dt="2021-03-30T14:37:08.259" v="121"/>
          <ac:picMkLst>
            <pc:docMk/>
            <pc:sldMk cId="3046749683" sldId="613"/>
            <ac:picMk id="2" creationId="{6535B375-06D6-49C4-B6E8-7C96380EA733}"/>
          </ac:picMkLst>
        </pc:picChg>
      </pc:sldChg>
      <pc:sldChg chg="addSp delSp modSp mod">
        <pc:chgData name="Tomas Zednicek" userId="a1908deaf0417386" providerId="LiveId" clId="{A65BBC77-90B1-41D5-84EB-14ECEA3894E5}" dt="2021-03-30T14:37:08.259" v="121"/>
        <pc:sldMkLst>
          <pc:docMk/>
          <pc:sldMk cId="647299480" sldId="690"/>
        </pc:sldMkLst>
        <pc:spChg chg="del">
          <ac:chgData name="Tomas Zednicek" userId="a1908deaf0417386" providerId="LiveId" clId="{A65BBC77-90B1-41D5-84EB-14ECEA3894E5}" dt="2021-03-30T13:26:16.025" v="84" actId="478"/>
          <ac:spMkLst>
            <pc:docMk/>
            <pc:sldMk cId="647299480" sldId="690"/>
            <ac:spMk id="3" creationId="{3C356D07-4A86-48E3-9F2C-2A3CAF799CBF}"/>
          </ac:spMkLst>
        </pc:spChg>
        <pc:spChg chg="mod">
          <ac:chgData name="Tomas Zednicek" userId="a1908deaf0417386" providerId="LiveId" clId="{A65BBC77-90B1-41D5-84EB-14ECEA3894E5}" dt="2021-03-30T13:26:41.274" v="91" actId="404"/>
          <ac:spMkLst>
            <pc:docMk/>
            <pc:sldMk cId="647299480" sldId="690"/>
            <ac:spMk id="19" creationId="{428299A4-5109-4863-A547-3CB558167D8A}"/>
          </ac:spMkLst>
        </pc:spChg>
        <pc:spChg chg="add mod">
          <ac:chgData name="Tomas Zednicek" userId="a1908deaf0417386" providerId="LiveId" clId="{A65BBC77-90B1-41D5-84EB-14ECEA3894E5}" dt="2021-03-30T13:26:16.502" v="85"/>
          <ac:spMkLst>
            <pc:docMk/>
            <pc:sldMk cId="647299480" sldId="690"/>
            <ac:spMk id="25" creationId="{6F2221A2-8D3E-4EA5-AB81-BB324C587D3E}"/>
          </ac:spMkLst>
        </pc:spChg>
        <pc:picChg chg="add mod">
          <ac:chgData name="Tomas Zednicek" userId="a1908deaf0417386" providerId="LiveId" clId="{A65BBC77-90B1-41D5-84EB-14ECEA3894E5}" dt="2021-03-30T14:37:08.259" v="121"/>
          <ac:picMkLst>
            <pc:docMk/>
            <pc:sldMk cId="647299480" sldId="690"/>
            <ac:picMk id="23" creationId="{8D54F7F7-8EBE-4981-931A-01F34CE86B4A}"/>
          </ac:picMkLst>
        </pc:picChg>
      </pc:sldChg>
      <pc:sldChg chg="addSp delSp modSp mod">
        <pc:chgData name="Tomas Zednicek" userId="a1908deaf0417386" providerId="LiveId" clId="{A65BBC77-90B1-41D5-84EB-14ECEA3894E5}" dt="2021-03-30T14:37:08.259" v="121"/>
        <pc:sldMkLst>
          <pc:docMk/>
          <pc:sldMk cId="2774118595" sldId="691"/>
        </pc:sldMkLst>
        <pc:spChg chg="mod">
          <ac:chgData name="Tomas Zednicek" userId="a1908deaf0417386" providerId="LiveId" clId="{A65BBC77-90B1-41D5-84EB-14ECEA3894E5}" dt="2021-03-30T13:30:45.372" v="113" actId="255"/>
          <ac:spMkLst>
            <pc:docMk/>
            <pc:sldMk cId="2774118595" sldId="691"/>
            <ac:spMk id="3" creationId="{E87DDF46-B07A-4183-A6C4-5CFC46E95960}"/>
          </ac:spMkLst>
        </pc:spChg>
        <pc:spChg chg="del">
          <ac:chgData name="Tomas Zednicek" userId="a1908deaf0417386" providerId="LiveId" clId="{A65BBC77-90B1-41D5-84EB-14ECEA3894E5}" dt="2021-03-30T13:24:26.368" v="31" actId="478"/>
          <ac:spMkLst>
            <pc:docMk/>
            <pc:sldMk cId="2774118595" sldId="691"/>
            <ac:spMk id="7" creationId="{A5219713-E613-41DB-84E2-2D0E7BC02124}"/>
          </ac:spMkLst>
        </pc:spChg>
        <pc:spChg chg="add mod">
          <ac:chgData name="Tomas Zednicek" userId="a1908deaf0417386" providerId="LiveId" clId="{A65BBC77-90B1-41D5-84EB-14ECEA3894E5}" dt="2021-03-30T13:24:26.999" v="32"/>
          <ac:spMkLst>
            <pc:docMk/>
            <pc:sldMk cId="2774118595" sldId="691"/>
            <ac:spMk id="10" creationId="{91A205AC-CCF5-48E9-B03D-F8413699B980}"/>
          </ac:spMkLst>
        </pc:spChg>
        <pc:picChg chg="add mod">
          <ac:chgData name="Tomas Zednicek" userId="a1908deaf0417386" providerId="LiveId" clId="{A65BBC77-90B1-41D5-84EB-14ECEA3894E5}" dt="2021-03-30T14:37:08.259" v="121"/>
          <ac:picMkLst>
            <pc:docMk/>
            <pc:sldMk cId="2774118595" sldId="691"/>
            <ac:picMk id="2" creationId="{63B3DA4F-F2DF-495A-95D9-480F40BAE590}"/>
          </ac:picMkLst>
        </pc:picChg>
      </pc:sldChg>
      <pc:sldChg chg="addSp delSp modSp mod">
        <pc:chgData name="Tomas Zednicek" userId="a1908deaf0417386" providerId="LiveId" clId="{A65BBC77-90B1-41D5-84EB-14ECEA3894E5}" dt="2021-03-30T14:37:08.259" v="121"/>
        <pc:sldMkLst>
          <pc:docMk/>
          <pc:sldMk cId="1731211461" sldId="692"/>
        </pc:sldMkLst>
        <pc:spChg chg="mod">
          <ac:chgData name="Tomas Zednicek" userId="a1908deaf0417386" providerId="LiveId" clId="{A65BBC77-90B1-41D5-84EB-14ECEA3894E5}" dt="2021-03-30T13:30:39.423" v="112" actId="255"/>
          <ac:spMkLst>
            <pc:docMk/>
            <pc:sldMk cId="1731211461" sldId="692"/>
            <ac:spMk id="3" creationId="{E87DDF46-B07A-4183-A6C4-5CFC46E95960}"/>
          </ac:spMkLst>
        </pc:spChg>
        <pc:spChg chg="del">
          <ac:chgData name="Tomas Zednicek" userId="a1908deaf0417386" providerId="LiveId" clId="{A65BBC77-90B1-41D5-84EB-14ECEA3894E5}" dt="2021-03-30T13:24:30.189" v="33" actId="478"/>
          <ac:spMkLst>
            <pc:docMk/>
            <pc:sldMk cId="1731211461" sldId="692"/>
            <ac:spMk id="10" creationId="{541D450C-CD82-4CB1-AB6A-78AA573449AA}"/>
          </ac:spMkLst>
        </pc:spChg>
        <pc:spChg chg="add mod">
          <ac:chgData name="Tomas Zednicek" userId="a1908deaf0417386" providerId="LiveId" clId="{A65BBC77-90B1-41D5-84EB-14ECEA3894E5}" dt="2021-03-30T13:24:30.785" v="34"/>
          <ac:spMkLst>
            <pc:docMk/>
            <pc:sldMk cId="1731211461" sldId="692"/>
            <ac:spMk id="16" creationId="{BD681D46-00B5-4220-8998-E6E4A8BFE43D}"/>
          </ac:spMkLst>
        </pc:spChg>
        <pc:picChg chg="add mod">
          <ac:chgData name="Tomas Zednicek" userId="a1908deaf0417386" providerId="LiveId" clId="{A65BBC77-90B1-41D5-84EB-14ECEA3894E5}" dt="2021-03-30T14:37:08.259" v="121"/>
          <ac:picMkLst>
            <pc:docMk/>
            <pc:sldMk cId="1731211461" sldId="692"/>
            <ac:picMk id="6" creationId="{094E24D4-CFB8-43E5-93D8-87927DC68A63}"/>
          </ac:picMkLst>
        </pc:picChg>
      </pc:sldChg>
      <pc:sldChg chg="addSp delSp modSp mod">
        <pc:chgData name="Tomas Zednicek" userId="a1908deaf0417386" providerId="LiveId" clId="{A65BBC77-90B1-41D5-84EB-14ECEA3894E5}" dt="2021-03-30T14:37:08.259" v="121"/>
        <pc:sldMkLst>
          <pc:docMk/>
          <pc:sldMk cId="3406053050" sldId="693"/>
        </pc:sldMkLst>
        <pc:spChg chg="mod">
          <ac:chgData name="Tomas Zednicek" userId="a1908deaf0417386" providerId="LiveId" clId="{A65BBC77-90B1-41D5-84EB-14ECEA3894E5}" dt="2021-03-30T13:30:34.514" v="111" actId="255"/>
          <ac:spMkLst>
            <pc:docMk/>
            <pc:sldMk cId="3406053050" sldId="693"/>
            <ac:spMk id="3" creationId="{E87DDF46-B07A-4183-A6C4-5CFC46E95960}"/>
          </ac:spMkLst>
        </pc:spChg>
        <pc:spChg chg="del">
          <ac:chgData name="Tomas Zednicek" userId="a1908deaf0417386" providerId="LiveId" clId="{A65BBC77-90B1-41D5-84EB-14ECEA3894E5}" dt="2021-03-30T13:24:34.216" v="35" actId="478"/>
          <ac:spMkLst>
            <pc:docMk/>
            <pc:sldMk cId="3406053050" sldId="693"/>
            <ac:spMk id="12" creationId="{9185771E-41D4-41B9-96FC-5716D00A9300}"/>
          </ac:spMkLst>
        </pc:spChg>
        <pc:spChg chg="add mod">
          <ac:chgData name="Tomas Zednicek" userId="a1908deaf0417386" providerId="LiveId" clId="{A65BBC77-90B1-41D5-84EB-14ECEA3894E5}" dt="2021-03-30T13:24:34.819" v="36"/>
          <ac:spMkLst>
            <pc:docMk/>
            <pc:sldMk cId="3406053050" sldId="693"/>
            <ac:spMk id="13" creationId="{915EABF3-A976-459B-BB75-B9F4C8F74D62}"/>
          </ac:spMkLst>
        </pc:spChg>
        <pc:picChg chg="add mod">
          <ac:chgData name="Tomas Zednicek" userId="a1908deaf0417386" providerId="LiveId" clId="{A65BBC77-90B1-41D5-84EB-14ECEA3894E5}" dt="2021-03-30T14:37:08.259" v="121"/>
          <ac:picMkLst>
            <pc:docMk/>
            <pc:sldMk cId="3406053050" sldId="693"/>
            <ac:picMk id="2" creationId="{C674E917-382B-4CDA-BD85-9A0086106E46}"/>
          </ac:picMkLst>
        </pc:picChg>
      </pc:sldChg>
      <pc:sldChg chg="addSp delSp modSp mod">
        <pc:chgData name="Tomas Zednicek" userId="a1908deaf0417386" providerId="LiveId" clId="{A65BBC77-90B1-41D5-84EB-14ECEA3894E5}" dt="2021-03-30T14:37:08.259" v="121"/>
        <pc:sldMkLst>
          <pc:docMk/>
          <pc:sldMk cId="1320007761" sldId="694"/>
        </pc:sldMkLst>
        <pc:spChg chg="mod">
          <ac:chgData name="Tomas Zednicek" userId="a1908deaf0417386" providerId="LiveId" clId="{A65BBC77-90B1-41D5-84EB-14ECEA3894E5}" dt="2021-03-30T13:30:28.033" v="110" actId="255"/>
          <ac:spMkLst>
            <pc:docMk/>
            <pc:sldMk cId="1320007761" sldId="694"/>
            <ac:spMk id="3" creationId="{E87DDF46-B07A-4183-A6C4-5CFC46E95960}"/>
          </ac:spMkLst>
        </pc:spChg>
        <pc:spChg chg="add mod">
          <ac:chgData name="Tomas Zednicek" userId="a1908deaf0417386" providerId="LiveId" clId="{A65BBC77-90B1-41D5-84EB-14ECEA3894E5}" dt="2021-03-30T13:24:43.636" v="38"/>
          <ac:spMkLst>
            <pc:docMk/>
            <pc:sldMk cId="1320007761" sldId="694"/>
            <ac:spMk id="9" creationId="{01DD58C9-0107-4474-9C2B-B92A8FE6638E}"/>
          </ac:spMkLst>
        </pc:spChg>
        <pc:spChg chg="del">
          <ac:chgData name="Tomas Zednicek" userId="a1908deaf0417386" providerId="LiveId" clId="{A65BBC77-90B1-41D5-84EB-14ECEA3894E5}" dt="2021-03-30T13:24:43.072" v="37" actId="478"/>
          <ac:spMkLst>
            <pc:docMk/>
            <pc:sldMk cId="1320007761" sldId="694"/>
            <ac:spMk id="10" creationId="{5368DBDC-04F4-43DC-9382-91DABABDB811}"/>
          </ac:spMkLst>
        </pc:spChg>
        <pc:picChg chg="add mod">
          <ac:chgData name="Tomas Zednicek" userId="a1908deaf0417386" providerId="LiveId" clId="{A65BBC77-90B1-41D5-84EB-14ECEA3894E5}" dt="2021-03-30T14:37:08.259" v="121"/>
          <ac:picMkLst>
            <pc:docMk/>
            <pc:sldMk cId="1320007761" sldId="694"/>
            <ac:picMk id="8" creationId="{BC6826D8-0EAD-460F-83A7-0F6FE8E63875}"/>
          </ac:picMkLst>
        </pc:picChg>
      </pc:sldChg>
      <pc:sldChg chg="addSp delSp modSp mod">
        <pc:chgData name="Tomas Zednicek" userId="a1908deaf0417386" providerId="LiveId" clId="{A65BBC77-90B1-41D5-84EB-14ECEA3894E5}" dt="2021-03-30T14:37:08.259" v="121"/>
        <pc:sldMkLst>
          <pc:docMk/>
          <pc:sldMk cId="3629671547" sldId="695"/>
        </pc:sldMkLst>
        <pc:spChg chg="mod">
          <ac:chgData name="Tomas Zednicek" userId="a1908deaf0417386" providerId="LiveId" clId="{A65BBC77-90B1-41D5-84EB-14ECEA3894E5}" dt="2021-03-30T13:30:21.129" v="109" actId="255"/>
          <ac:spMkLst>
            <pc:docMk/>
            <pc:sldMk cId="3629671547" sldId="695"/>
            <ac:spMk id="3" creationId="{E87DDF46-B07A-4183-A6C4-5CFC46E95960}"/>
          </ac:spMkLst>
        </pc:spChg>
        <pc:spChg chg="del">
          <ac:chgData name="Tomas Zednicek" userId="a1908deaf0417386" providerId="LiveId" clId="{A65BBC77-90B1-41D5-84EB-14ECEA3894E5}" dt="2021-03-30T13:24:47.343" v="39" actId="478"/>
          <ac:spMkLst>
            <pc:docMk/>
            <pc:sldMk cId="3629671547" sldId="695"/>
            <ac:spMk id="12" creationId="{5A9113E0-57B5-4F4B-B16C-83B102692D24}"/>
          </ac:spMkLst>
        </pc:spChg>
        <pc:spChg chg="add mod">
          <ac:chgData name="Tomas Zednicek" userId="a1908deaf0417386" providerId="LiveId" clId="{A65BBC77-90B1-41D5-84EB-14ECEA3894E5}" dt="2021-03-30T13:24:47.981" v="40"/>
          <ac:spMkLst>
            <pc:docMk/>
            <pc:sldMk cId="3629671547" sldId="695"/>
            <ac:spMk id="14" creationId="{AFAD5AA6-9B97-425D-BC3E-9A0804DF2A06}"/>
          </ac:spMkLst>
        </pc:spChg>
        <pc:picChg chg="add mod">
          <ac:chgData name="Tomas Zednicek" userId="a1908deaf0417386" providerId="LiveId" clId="{A65BBC77-90B1-41D5-84EB-14ECEA3894E5}" dt="2021-03-30T14:37:08.259" v="121"/>
          <ac:picMkLst>
            <pc:docMk/>
            <pc:sldMk cId="3629671547" sldId="695"/>
            <ac:picMk id="2" creationId="{93C293A9-7C89-4DB4-BFC6-053F3492DB3E}"/>
          </ac:picMkLst>
        </pc:picChg>
      </pc:sldChg>
      <pc:sldChg chg="addSp delSp modSp mod">
        <pc:chgData name="Tomas Zednicek" userId="a1908deaf0417386" providerId="LiveId" clId="{A65BBC77-90B1-41D5-84EB-14ECEA3894E5}" dt="2021-03-30T14:37:08.259" v="121"/>
        <pc:sldMkLst>
          <pc:docMk/>
          <pc:sldMk cId="1701805572" sldId="696"/>
        </pc:sldMkLst>
        <pc:spChg chg="mod">
          <ac:chgData name="Tomas Zednicek" userId="a1908deaf0417386" providerId="LiveId" clId="{A65BBC77-90B1-41D5-84EB-14ECEA3894E5}" dt="2021-03-30T13:30:13.843" v="108" actId="255"/>
          <ac:spMkLst>
            <pc:docMk/>
            <pc:sldMk cId="1701805572" sldId="696"/>
            <ac:spMk id="3" creationId="{E87DDF46-B07A-4183-A6C4-5CFC46E95960}"/>
          </ac:spMkLst>
        </pc:spChg>
        <pc:spChg chg="del">
          <ac:chgData name="Tomas Zednicek" userId="a1908deaf0417386" providerId="LiveId" clId="{A65BBC77-90B1-41D5-84EB-14ECEA3894E5}" dt="2021-03-30T13:24:51.108" v="41" actId="478"/>
          <ac:spMkLst>
            <pc:docMk/>
            <pc:sldMk cId="1701805572" sldId="696"/>
            <ac:spMk id="13" creationId="{3DA5A039-8516-49E3-9B67-1536F1F4F356}"/>
          </ac:spMkLst>
        </pc:spChg>
        <pc:spChg chg="add mod">
          <ac:chgData name="Tomas Zednicek" userId="a1908deaf0417386" providerId="LiveId" clId="{A65BBC77-90B1-41D5-84EB-14ECEA3894E5}" dt="2021-03-30T13:24:51.670" v="42"/>
          <ac:spMkLst>
            <pc:docMk/>
            <pc:sldMk cId="1701805572" sldId="696"/>
            <ac:spMk id="14" creationId="{E2027013-DE1E-4B9F-98A1-83E9237D1FC4}"/>
          </ac:spMkLst>
        </pc:spChg>
        <pc:picChg chg="add mod">
          <ac:chgData name="Tomas Zednicek" userId="a1908deaf0417386" providerId="LiveId" clId="{A65BBC77-90B1-41D5-84EB-14ECEA3894E5}" dt="2021-03-30T14:37:08.259" v="121"/>
          <ac:picMkLst>
            <pc:docMk/>
            <pc:sldMk cId="1701805572" sldId="696"/>
            <ac:picMk id="2" creationId="{75C3CD09-2DE6-41C6-A348-43E2CC03C303}"/>
          </ac:picMkLst>
        </pc:picChg>
      </pc:sldChg>
      <pc:sldChg chg="addSp delSp modSp mod">
        <pc:chgData name="Tomas Zednicek" userId="a1908deaf0417386" providerId="LiveId" clId="{A65BBC77-90B1-41D5-84EB-14ECEA3894E5}" dt="2021-03-30T14:37:08.259" v="121"/>
        <pc:sldMkLst>
          <pc:docMk/>
          <pc:sldMk cId="3070436806" sldId="697"/>
        </pc:sldMkLst>
        <pc:spChg chg="mod">
          <ac:chgData name="Tomas Zednicek" userId="a1908deaf0417386" providerId="LiveId" clId="{A65BBC77-90B1-41D5-84EB-14ECEA3894E5}" dt="2021-03-30T13:30:08.161" v="107" actId="255"/>
          <ac:spMkLst>
            <pc:docMk/>
            <pc:sldMk cId="3070436806" sldId="697"/>
            <ac:spMk id="3" creationId="{E87DDF46-B07A-4183-A6C4-5CFC46E95960}"/>
          </ac:spMkLst>
        </pc:spChg>
        <pc:spChg chg="del">
          <ac:chgData name="Tomas Zednicek" userId="a1908deaf0417386" providerId="LiveId" clId="{A65BBC77-90B1-41D5-84EB-14ECEA3894E5}" dt="2021-03-30T13:24:55.757" v="43" actId="478"/>
          <ac:spMkLst>
            <pc:docMk/>
            <pc:sldMk cId="3070436806" sldId="697"/>
            <ac:spMk id="9" creationId="{03D587AA-09C5-495F-A791-C1AFC984CC26}"/>
          </ac:spMkLst>
        </pc:spChg>
        <pc:spChg chg="add mod">
          <ac:chgData name="Tomas Zednicek" userId="a1908deaf0417386" providerId="LiveId" clId="{A65BBC77-90B1-41D5-84EB-14ECEA3894E5}" dt="2021-03-30T13:24:56.409" v="44"/>
          <ac:spMkLst>
            <pc:docMk/>
            <pc:sldMk cId="3070436806" sldId="697"/>
            <ac:spMk id="10" creationId="{3B74D116-C194-491D-8FBA-4830BB49B985}"/>
          </ac:spMkLst>
        </pc:spChg>
        <pc:picChg chg="add mod">
          <ac:chgData name="Tomas Zednicek" userId="a1908deaf0417386" providerId="LiveId" clId="{A65BBC77-90B1-41D5-84EB-14ECEA3894E5}" dt="2021-03-30T14:37:08.259" v="121"/>
          <ac:picMkLst>
            <pc:docMk/>
            <pc:sldMk cId="3070436806" sldId="697"/>
            <ac:picMk id="2" creationId="{6374D2C4-0B34-4AF9-8F74-61492997E155}"/>
          </ac:picMkLst>
        </pc:picChg>
      </pc:sldChg>
      <pc:sldChg chg="addSp delSp modSp mod">
        <pc:chgData name="Tomas Zednicek" userId="a1908deaf0417386" providerId="LiveId" clId="{A65BBC77-90B1-41D5-84EB-14ECEA3894E5}" dt="2021-03-30T14:37:08.259" v="121"/>
        <pc:sldMkLst>
          <pc:docMk/>
          <pc:sldMk cId="2226195617" sldId="698"/>
        </pc:sldMkLst>
        <pc:spChg chg="mod">
          <ac:chgData name="Tomas Zednicek" userId="a1908deaf0417386" providerId="LiveId" clId="{A65BBC77-90B1-41D5-84EB-14ECEA3894E5}" dt="2021-03-30T13:30:02.070" v="106" actId="255"/>
          <ac:spMkLst>
            <pc:docMk/>
            <pc:sldMk cId="2226195617" sldId="698"/>
            <ac:spMk id="3" creationId="{E87DDF46-B07A-4183-A6C4-5CFC46E95960}"/>
          </ac:spMkLst>
        </pc:spChg>
        <pc:spChg chg="del">
          <ac:chgData name="Tomas Zednicek" userId="a1908deaf0417386" providerId="LiveId" clId="{A65BBC77-90B1-41D5-84EB-14ECEA3894E5}" dt="2021-03-30T13:24:59.565" v="45" actId="478"/>
          <ac:spMkLst>
            <pc:docMk/>
            <pc:sldMk cId="2226195617" sldId="698"/>
            <ac:spMk id="15" creationId="{AEFC1A79-13E5-42F2-B442-68839F9590F2}"/>
          </ac:spMkLst>
        </pc:spChg>
        <pc:spChg chg="add mod">
          <ac:chgData name="Tomas Zednicek" userId="a1908deaf0417386" providerId="LiveId" clId="{A65BBC77-90B1-41D5-84EB-14ECEA3894E5}" dt="2021-03-30T13:25:00.201" v="46"/>
          <ac:spMkLst>
            <pc:docMk/>
            <pc:sldMk cId="2226195617" sldId="698"/>
            <ac:spMk id="17" creationId="{1941A2CF-8580-4C64-B407-C86931E75D86}"/>
          </ac:spMkLst>
        </pc:spChg>
        <pc:picChg chg="add mod">
          <ac:chgData name="Tomas Zednicek" userId="a1908deaf0417386" providerId="LiveId" clId="{A65BBC77-90B1-41D5-84EB-14ECEA3894E5}" dt="2021-03-30T14:37:08.259" v="121"/>
          <ac:picMkLst>
            <pc:docMk/>
            <pc:sldMk cId="2226195617" sldId="698"/>
            <ac:picMk id="2" creationId="{F4706439-20C7-4F12-B208-664CA2A8CBF4}"/>
          </ac:picMkLst>
        </pc:picChg>
      </pc:sldChg>
      <pc:sldChg chg="addSp delSp modSp mod">
        <pc:chgData name="Tomas Zednicek" userId="a1908deaf0417386" providerId="LiveId" clId="{A65BBC77-90B1-41D5-84EB-14ECEA3894E5}" dt="2021-03-30T14:37:08.259" v="121"/>
        <pc:sldMkLst>
          <pc:docMk/>
          <pc:sldMk cId="673483643" sldId="699"/>
        </pc:sldMkLst>
        <pc:spChg chg="mod">
          <ac:chgData name="Tomas Zednicek" userId="a1908deaf0417386" providerId="LiveId" clId="{A65BBC77-90B1-41D5-84EB-14ECEA3894E5}" dt="2021-03-30T13:29:57.610" v="105" actId="255"/>
          <ac:spMkLst>
            <pc:docMk/>
            <pc:sldMk cId="673483643" sldId="699"/>
            <ac:spMk id="3" creationId="{E87DDF46-B07A-4183-A6C4-5CFC46E95960}"/>
          </ac:spMkLst>
        </pc:spChg>
        <pc:spChg chg="del">
          <ac:chgData name="Tomas Zednicek" userId="a1908deaf0417386" providerId="LiveId" clId="{A65BBC77-90B1-41D5-84EB-14ECEA3894E5}" dt="2021-03-30T13:25:03.603" v="47" actId="478"/>
          <ac:spMkLst>
            <pc:docMk/>
            <pc:sldMk cId="673483643" sldId="699"/>
            <ac:spMk id="11" creationId="{C7B39593-7A77-4AE2-ABD7-966BDB5EBA5D}"/>
          </ac:spMkLst>
        </pc:spChg>
        <pc:spChg chg="add mod">
          <ac:chgData name="Tomas Zednicek" userId="a1908deaf0417386" providerId="LiveId" clId="{A65BBC77-90B1-41D5-84EB-14ECEA3894E5}" dt="2021-03-30T13:25:04.768" v="48"/>
          <ac:spMkLst>
            <pc:docMk/>
            <pc:sldMk cId="673483643" sldId="699"/>
            <ac:spMk id="13" creationId="{306522C3-29BF-4A6C-9943-667C0EE47AFA}"/>
          </ac:spMkLst>
        </pc:spChg>
        <pc:picChg chg="add mod">
          <ac:chgData name="Tomas Zednicek" userId="a1908deaf0417386" providerId="LiveId" clId="{A65BBC77-90B1-41D5-84EB-14ECEA3894E5}" dt="2021-03-30T14:37:08.259" v="121"/>
          <ac:picMkLst>
            <pc:docMk/>
            <pc:sldMk cId="673483643" sldId="699"/>
            <ac:picMk id="6" creationId="{4C93F7D1-7A58-4DA3-8396-912C7FEA53C9}"/>
          </ac:picMkLst>
        </pc:picChg>
      </pc:sldChg>
      <pc:sldChg chg="addSp delSp modSp mod">
        <pc:chgData name="Tomas Zednicek" userId="a1908deaf0417386" providerId="LiveId" clId="{A65BBC77-90B1-41D5-84EB-14ECEA3894E5}" dt="2021-03-30T14:37:08.259" v="121"/>
        <pc:sldMkLst>
          <pc:docMk/>
          <pc:sldMk cId="213352704" sldId="700"/>
        </pc:sldMkLst>
        <pc:spChg chg="mod">
          <ac:chgData name="Tomas Zednicek" userId="a1908deaf0417386" providerId="LiveId" clId="{A65BBC77-90B1-41D5-84EB-14ECEA3894E5}" dt="2021-03-30T13:29:52.005" v="104" actId="255"/>
          <ac:spMkLst>
            <pc:docMk/>
            <pc:sldMk cId="213352704" sldId="700"/>
            <ac:spMk id="3" creationId="{E87DDF46-B07A-4183-A6C4-5CFC46E95960}"/>
          </ac:spMkLst>
        </pc:spChg>
        <pc:spChg chg="del">
          <ac:chgData name="Tomas Zednicek" userId="a1908deaf0417386" providerId="LiveId" clId="{A65BBC77-90B1-41D5-84EB-14ECEA3894E5}" dt="2021-03-30T13:25:08.703" v="49" actId="478"/>
          <ac:spMkLst>
            <pc:docMk/>
            <pc:sldMk cId="213352704" sldId="700"/>
            <ac:spMk id="45" creationId="{4C5F6900-24A6-4442-85F8-C5FE5216B623}"/>
          </ac:spMkLst>
        </pc:spChg>
        <pc:spChg chg="add mod">
          <ac:chgData name="Tomas Zednicek" userId="a1908deaf0417386" providerId="LiveId" clId="{A65BBC77-90B1-41D5-84EB-14ECEA3894E5}" dt="2021-03-30T13:25:09.220" v="50"/>
          <ac:spMkLst>
            <pc:docMk/>
            <pc:sldMk cId="213352704" sldId="700"/>
            <ac:spMk id="48" creationId="{BD7B5D62-030B-405C-B2E6-32A962108E2E}"/>
          </ac:spMkLst>
        </pc:spChg>
        <pc:picChg chg="add mod">
          <ac:chgData name="Tomas Zednicek" userId="a1908deaf0417386" providerId="LiveId" clId="{A65BBC77-90B1-41D5-84EB-14ECEA3894E5}" dt="2021-03-30T14:37:08.259" v="121"/>
          <ac:picMkLst>
            <pc:docMk/>
            <pc:sldMk cId="213352704" sldId="700"/>
            <ac:picMk id="2" creationId="{CDC84ACD-51C4-40CE-BCF4-D2A8D9947DF3}"/>
          </ac:picMkLst>
        </pc:picChg>
      </pc:sldChg>
      <pc:sldChg chg="addSp delSp modSp mod">
        <pc:chgData name="Tomas Zednicek" userId="a1908deaf0417386" providerId="LiveId" clId="{A65BBC77-90B1-41D5-84EB-14ECEA3894E5}" dt="2021-03-30T14:37:08.259" v="121"/>
        <pc:sldMkLst>
          <pc:docMk/>
          <pc:sldMk cId="3677541406" sldId="701"/>
        </pc:sldMkLst>
        <pc:spChg chg="mod">
          <ac:chgData name="Tomas Zednicek" userId="a1908deaf0417386" providerId="LiveId" clId="{A65BBC77-90B1-41D5-84EB-14ECEA3894E5}" dt="2021-03-30T13:29:45.748" v="103" actId="255"/>
          <ac:spMkLst>
            <pc:docMk/>
            <pc:sldMk cId="3677541406" sldId="701"/>
            <ac:spMk id="3" creationId="{E87DDF46-B07A-4183-A6C4-5CFC46E95960}"/>
          </ac:spMkLst>
        </pc:spChg>
        <pc:spChg chg="del">
          <ac:chgData name="Tomas Zednicek" userId="a1908deaf0417386" providerId="LiveId" clId="{A65BBC77-90B1-41D5-84EB-14ECEA3894E5}" dt="2021-03-30T13:25:12.738" v="51" actId="478"/>
          <ac:spMkLst>
            <pc:docMk/>
            <pc:sldMk cId="3677541406" sldId="701"/>
            <ac:spMk id="19" creationId="{D2A18C9B-5E30-4553-AB48-1D92925A2FDB}"/>
          </ac:spMkLst>
        </pc:spChg>
        <pc:spChg chg="add mod">
          <ac:chgData name="Tomas Zednicek" userId="a1908deaf0417386" providerId="LiveId" clId="{A65BBC77-90B1-41D5-84EB-14ECEA3894E5}" dt="2021-03-30T13:25:13.294" v="52"/>
          <ac:spMkLst>
            <pc:docMk/>
            <pc:sldMk cId="3677541406" sldId="701"/>
            <ac:spMk id="20" creationId="{60C3905A-F35E-493C-B4A1-833F7EA85437}"/>
          </ac:spMkLst>
        </pc:spChg>
        <pc:picChg chg="add mod">
          <ac:chgData name="Tomas Zednicek" userId="a1908deaf0417386" providerId="LiveId" clId="{A65BBC77-90B1-41D5-84EB-14ECEA3894E5}" dt="2021-03-30T14:37:08.259" v="121"/>
          <ac:picMkLst>
            <pc:docMk/>
            <pc:sldMk cId="3677541406" sldId="701"/>
            <ac:picMk id="2" creationId="{B7A5DBF4-3A7C-49A7-BEE3-AA4D55F7A9D9}"/>
          </ac:picMkLst>
        </pc:picChg>
      </pc:sldChg>
      <pc:sldChg chg="addSp delSp modSp mod">
        <pc:chgData name="Tomas Zednicek" userId="a1908deaf0417386" providerId="LiveId" clId="{A65BBC77-90B1-41D5-84EB-14ECEA3894E5}" dt="2021-03-30T14:37:08.259" v="121"/>
        <pc:sldMkLst>
          <pc:docMk/>
          <pc:sldMk cId="558615066" sldId="702"/>
        </pc:sldMkLst>
        <pc:spChg chg="mod">
          <ac:chgData name="Tomas Zednicek" userId="a1908deaf0417386" providerId="LiveId" clId="{A65BBC77-90B1-41D5-84EB-14ECEA3894E5}" dt="2021-03-30T13:29:41.358" v="102" actId="255"/>
          <ac:spMkLst>
            <pc:docMk/>
            <pc:sldMk cId="558615066" sldId="702"/>
            <ac:spMk id="3" creationId="{E87DDF46-B07A-4183-A6C4-5CFC46E95960}"/>
          </ac:spMkLst>
        </pc:spChg>
        <pc:spChg chg="del">
          <ac:chgData name="Tomas Zednicek" userId="a1908deaf0417386" providerId="LiveId" clId="{A65BBC77-90B1-41D5-84EB-14ECEA3894E5}" dt="2021-03-30T13:25:16.143" v="53" actId="478"/>
          <ac:spMkLst>
            <pc:docMk/>
            <pc:sldMk cId="558615066" sldId="702"/>
            <ac:spMk id="39" creationId="{0A592C10-71DD-4935-8B78-8EF7F2E06065}"/>
          </ac:spMkLst>
        </pc:spChg>
        <pc:spChg chg="add mod">
          <ac:chgData name="Tomas Zednicek" userId="a1908deaf0417386" providerId="LiveId" clId="{A65BBC77-90B1-41D5-84EB-14ECEA3894E5}" dt="2021-03-30T13:25:16.724" v="54"/>
          <ac:spMkLst>
            <pc:docMk/>
            <pc:sldMk cId="558615066" sldId="702"/>
            <ac:spMk id="43" creationId="{0FEC672C-8050-4781-9355-930E297667CD}"/>
          </ac:spMkLst>
        </pc:spChg>
        <pc:picChg chg="add mod">
          <ac:chgData name="Tomas Zednicek" userId="a1908deaf0417386" providerId="LiveId" clId="{A65BBC77-90B1-41D5-84EB-14ECEA3894E5}" dt="2021-03-30T14:37:08.259" v="121"/>
          <ac:picMkLst>
            <pc:docMk/>
            <pc:sldMk cId="558615066" sldId="702"/>
            <ac:picMk id="6" creationId="{0C60E1C2-536B-4844-BC0B-54FE0BB98926}"/>
          </ac:picMkLst>
        </pc:picChg>
      </pc:sldChg>
      <pc:sldChg chg="addSp delSp modSp mod">
        <pc:chgData name="Tomas Zednicek" userId="a1908deaf0417386" providerId="LiveId" clId="{A65BBC77-90B1-41D5-84EB-14ECEA3894E5}" dt="2021-03-30T14:37:08.259" v="121"/>
        <pc:sldMkLst>
          <pc:docMk/>
          <pc:sldMk cId="1782387656" sldId="703"/>
        </pc:sldMkLst>
        <pc:spChg chg="mod">
          <ac:chgData name="Tomas Zednicek" userId="a1908deaf0417386" providerId="LiveId" clId="{A65BBC77-90B1-41D5-84EB-14ECEA3894E5}" dt="2021-03-30T13:29:35.827" v="101" actId="255"/>
          <ac:spMkLst>
            <pc:docMk/>
            <pc:sldMk cId="1782387656" sldId="703"/>
            <ac:spMk id="3" creationId="{E87DDF46-B07A-4183-A6C4-5CFC46E95960}"/>
          </ac:spMkLst>
        </pc:spChg>
        <pc:spChg chg="del">
          <ac:chgData name="Tomas Zednicek" userId="a1908deaf0417386" providerId="LiveId" clId="{A65BBC77-90B1-41D5-84EB-14ECEA3894E5}" dt="2021-03-30T13:25:22.744" v="55" actId="478"/>
          <ac:spMkLst>
            <pc:docMk/>
            <pc:sldMk cId="1782387656" sldId="703"/>
            <ac:spMk id="16" creationId="{EB1B717C-9CAC-4613-AEF7-3824D3256C0C}"/>
          </ac:spMkLst>
        </pc:spChg>
        <pc:spChg chg="add mod">
          <ac:chgData name="Tomas Zednicek" userId="a1908deaf0417386" providerId="LiveId" clId="{A65BBC77-90B1-41D5-84EB-14ECEA3894E5}" dt="2021-03-30T13:25:23.326" v="56"/>
          <ac:spMkLst>
            <pc:docMk/>
            <pc:sldMk cId="1782387656" sldId="703"/>
            <ac:spMk id="17" creationId="{42BF4E4A-0B62-4CD6-8FD5-2D68A1C9F9C5}"/>
          </ac:spMkLst>
        </pc:spChg>
        <pc:picChg chg="add mod">
          <ac:chgData name="Tomas Zednicek" userId="a1908deaf0417386" providerId="LiveId" clId="{A65BBC77-90B1-41D5-84EB-14ECEA3894E5}" dt="2021-03-30T14:37:08.259" v="121"/>
          <ac:picMkLst>
            <pc:docMk/>
            <pc:sldMk cId="1782387656" sldId="703"/>
            <ac:picMk id="8" creationId="{C410DE94-990F-48CF-8AE1-5A68942F8868}"/>
          </ac:picMkLst>
        </pc:picChg>
      </pc:sldChg>
      <pc:sldChg chg="addSp delSp modSp mod">
        <pc:chgData name="Tomas Zednicek" userId="a1908deaf0417386" providerId="LiveId" clId="{A65BBC77-90B1-41D5-84EB-14ECEA3894E5}" dt="2021-03-30T14:37:08.259" v="121"/>
        <pc:sldMkLst>
          <pc:docMk/>
          <pc:sldMk cId="2518166937" sldId="704"/>
        </pc:sldMkLst>
        <pc:spChg chg="mod">
          <ac:chgData name="Tomas Zednicek" userId="a1908deaf0417386" providerId="LiveId" clId="{A65BBC77-90B1-41D5-84EB-14ECEA3894E5}" dt="2021-03-30T13:27:29.330" v="100" actId="255"/>
          <ac:spMkLst>
            <pc:docMk/>
            <pc:sldMk cId="2518166937" sldId="704"/>
            <ac:spMk id="3" creationId="{E87DDF46-B07A-4183-A6C4-5CFC46E95960}"/>
          </ac:spMkLst>
        </pc:spChg>
        <pc:spChg chg="del">
          <ac:chgData name="Tomas Zednicek" userId="a1908deaf0417386" providerId="LiveId" clId="{A65BBC77-90B1-41D5-84EB-14ECEA3894E5}" dt="2021-03-30T13:25:27.378" v="57" actId="478"/>
          <ac:spMkLst>
            <pc:docMk/>
            <pc:sldMk cId="2518166937" sldId="704"/>
            <ac:spMk id="8" creationId="{77F766C4-E61A-471D-B4F4-5E32A6ACFC4F}"/>
          </ac:spMkLst>
        </pc:spChg>
        <pc:spChg chg="add mod">
          <ac:chgData name="Tomas Zednicek" userId="a1908deaf0417386" providerId="LiveId" clId="{A65BBC77-90B1-41D5-84EB-14ECEA3894E5}" dt="2021-03-30T13:25:27.933" v="58"/>
          <ac:spMkLst>
            <pc:docMk/>
            <pc:sldMk cId="2518166937" sldId="704"/>
            <ac:spMk id="9" creationId="{6FA5E35C-04C9-4D3B-9232-CBAB25D0DF00}"/>
          </ac:spMkLst>
        </pc:spChg>
        <pc:picChg chg="add mod">
          <ac:chgData name="Tomas Zednicek" userId="a1908deaf0417386" providerId="LiveId" clId="{A65BBC77-90B1-41D5-84EB-14ECEA3894E5}" dt="2021-03-30T14:37:08.259" v="121"/>
          <ac:picMkLst>
            <pc:docMk/>
            <pc:sldMk cId="2518166937" sldId="704"/>
            <ac:picMk id="2" creationId="{32F8C04A-C379-4E82-8567-C037BEE6E160}"/>
          </ac:picMkLst>
        </pc:picChg>
      </pc:sldChg>
      <pc:sldChg chg="addSp delSp modSp mod">
        <pc:chgData name="Tomas Zednicek" userId="a1908deaf0417386" providerId="LiveId" clId="{A65BBC77-90B1-41D5-84EB-14ECEA3894E5}" dt="2021-03-30T14:37:08.259" v="121"/>
        <pc:sldMkLst>
          <pc:docMk/>
          <pc:sldMk cId="352499138" sldId="705"/>
        </pc:sldMkLst>
        <pc:spChg chg="mod">
          <ac:chgData name="Tomas Zednicek" userId="a1908deaf0417386" providerId="LiveId" clId="{A65BBC77-90B1-41D5-84EB-14ECEA3894E5}" dt="2021-03-30T13:27:13.286" v="98" actId="255"/>
          <ac:spMkLst>
            <pc:docMk/>
            <pc:sldMk cId="352499138" sldId="705"/>
            <ac:spMk id="3" creationId="{E87DDF46-B07A-4183-A6C4-5CFC46E95960}"/>
          </ac:spMkLst>
        </pc:spChg>
        <pc:spChg chg="del">
          <ac:chgData name="Tomas Zednicek" userId="a1908deaf0417386" providerId="LiveId" clId="{A65BBC77-90B1-41D5-84EB-14ECEA3894E5}" dt="2021-03-30T13:25:35.890" v="61" actId="478"/>
          <ac:spMkLst>
            <pc:docMk/>
            <pc:sldMk cId="352499138" sldId="705"/>
            <ac:spMk id="11" creationId="{F4D2B00E-000F-4F1A-AD09-84971E0515FE}"/>
          </ac:spMkLst>
        </pc:spChg>
        <pc:spChg chg="add mod">
          <ac:chgData name="Tomas Zednicek" userId="a1908deaf0417386" providerId="LiveId" clId="{A65BBC77-90B1-41D5-84EB-14ECEA3894E5}" dt="2021-03-30T13:25:36.507" v="62"/>
          <ac:spMkLst>
            <pc:docMk/>
            <pc:sldMk cId="352499138" sldId="705"/>
            <ac:spMk id="12" creationId="{1BC6F848-0FC7-404D-8F7E-6F172F8A9289}"/>
          </ac:spMkLst>
        </pc:spChg>
        <pc:picChg chg="add mod">
          <ac:chgData name="Tomas Zednicek" userId="a1908deaf0417386" providerId="LiveId" clId="{A65BBC77-90B1-41D5-84EB-14ECEA3894E5}" dt="2021-03-30T14:37:08.259" v="121"/>
          <ac:picMkLst>
            <pc:docMk/>
            <pc:sldMk cId="352499138" sldId="705"/>
            <ac:picMk id="7" creationId="{F080F2AC-4571-446B-B0AD-5A85B57C40AB}"/>
          </ac:picMkLst>
        </pc:picChg>
      </pc:sldChg>
      <pc:sldChg chg="addSp delSp modSp mod">
        <pc:chgData name="Tomas Zednicek" userId="a1908deaf0417386" providerId="LiveId" clId="{A65BBC77-90B1-41D5-84EB-14ECEA3894E5}" dt="2021-03-30T14:37:08.259" v="121"/>
        <pc:sldMkLst>
          <pc:docMk/>
          <pc:sldMk cId="194738520" sldId="706"/>
        </pc:sldMkLst>
        <pc:spChg chg="mod">
          <ac:chgData name="Tomas Zednicek" userId="a1908deaf0417386" providerId="LiveId" clId="{A65BBC77-90B1-41D5-84EB-14ECEA3894E5}" dt="2021-03-30T13:27:19.587" v="99" actId="255"/>
          <ac:spMkLst>
            <pc:docMk/>
            <pc:sldMk cId="194738520" sldId="706"/>
            <ac:spMk id="3" creationId="{E87DDF46-B07A-4183-A6C4-5CFC46E95960}"/>
          </ac:spMkLst>
        </pc:spChg>
        <pc:spChg chg="del">
          <ac:chgData name="Tomas Zednicek" userId="a1908deaf0417386" providerId="LiveId" clId="{A65BBC77-90B1-41D5-84EB-14ECEA3894E5}" dt="2021-03-30T13:25:31.784" v="59" actId="478"/>
          <ac:spMkLst>
            <pc:docMk/>
            <pc:sldMk cId="194738520" sldId="706"/>
            <ac:spMk id="17" creationId="{789A19BF-FD36-4C7B-AB30-8343A4CBAC56}"/>
          </ac:spMkLst>
        </pc:spChg>
        <pc:spChg chg="add mod">
          <ac:chgData name="Tomas Zednicek" userId="a1908deaf0417386" providerId="LiveId" clId="{A65BBC77-90B1-41D5-84EB-14ECEA3894E5}" dt="2021-03-30T13:25:32.386" v="60"/>
          <ac:spMkLst>
            <pc:docMk/>
            <pc:sldMk cId="194738520" sldId="706"/>
            <ac:spMk id="18" creationId="{65FEECC2-3A4F-41DA-8141-2BEC9DCAC2BD}"/>
          </ac:spMkLst>
        </pc:spChg>
        <pc:picChg chg="add mod">
          <ac:chgData name="Tomas Zednicek" userId="a1908deaf0417386" providerId="LiveId" clId="{A65BBC77-90B1-41D5-84EB-14ECEA3894E5}" dt="2021-03-30T14:37:08.259" v="121"/>
          <ac:picMkLst>
            <pc:docMk/>
            <pc:sldMk cId="194738520" sldId="706"/>
            <ac:picMk id="7" creationId="{C29F65F6-5342-4A6B-8DE7-91BFD64318AE}"/>
          </ac:picMkLst>
        </pc:picChg>
      </pc:sldChg>
      <pc:sldChg chg="addSp delSp modSp mod">
        <pc:chgData name="Tomas Zednicek" userId="a1908deaf0417386" providerId="LiveId" clId="{A65BBC77-90B1-41D5-84EB-14ECEA3894E5}" dt="2021-03-30T14:37:08.259" v="121"/>
        <pc:sldMkLst>
          <pc:docMk/>
          <pc:sldMk cId="3229973888" sldId="707"/>
        </pc:sldMkLst>
        <pc:spChg chg="mod">
          <ac:chgData name="Tomas Zednicek" userId="a1908deaf0417386" providerId="LiveId" clId="{A65BBC77-90B1-41D5-84EB-14ECEA3894E5}" dt="2021-03-30T13:27:07.583" v="97" actId="255"/>
          <ac:spMkLst>
            <pc:docMk/>
            <pc:sldMk cId="3229973888" sldId="707"/>
            <ac:spMk id="3" creationId="{E87DDF46-B07A-4183-A6C4-5CFC46E95960}"/>
          </ac:spMkLst>
        </pc:spChg>
        <pc:spChg chg="del">
          <ac:chgData name="Tomas Zednicek" userId="a1908deaf0417386" providerId="LiveId" clId="{A65BBC77-90B1-41D5-84EB-14ECEA3894E5}" dt="2021-03-30T13:25:39.889" v="63" actId="478"/>
          <ac:spMkLst>
            <pc:docMk/>
            <pc:sldMk cId="3229973888" sldId="707"/>
            <ac:spMk id="26" creationId="{EC6BA911-9952-496A-A362-1516EC1E1C7A}"/>
          </ac:spMkLst>
        </pc:spChg>
        <pc:spChg chg="add mod">
          <ac:chgData name="Tomas Zednicek" userId="a1908deaf0417386" providerId="LiveId" clId="{A65BBC77-90B1-41D5-84EB-14ECEA3894E5}" dt="2021-03-30T13:25:40.411" v="64"/>
          <ac:spMkLst>
            <pc:docMk/>
            <pc:sldMk cId="3229973888" sldId="707"/>
            <ac:spMk id="27" creationId="{94DDCF14-195F-4526-A11D-E3472FCF687B}"/>
          </ac:spMkLst>
        </pc:spChg>
        <pc:picChg chg="add mod">
          <ac:chgData name="Tomas Zednicek" userId="a1908deaf0417386" providerId="LiveId" clId="{A65BBC77-90B1-41D5-84EB-14ECEA3894E5}" dt="2021-03-30T14:37:08.259" v="121"/>
          <ac:picMkLst>
            <pc:docMk/>
            <pc:sldMk cId="3229973888" sldId="707"/>
            <ac:picMk id="7" creationId="{8B12985A-AFDB-4A5E-981A-01B09EAF6A24}"/>
          </ac:picMkLst>
        </pc:picChg>
      </pc:sldChg>
      <pc:sldChg chg="addSp delSp modSp mod">
        <pc:chgData name="Tomas Zednicek" userId="a1908deaf0417386" providerId="LiveId" clId="{A65BBC77-90B1-41D5-84EB-14ECEA3894E5}" dt="2021-03-30T14:37:08.259" v="121"/>
        <pc:sldMkLst>
          <pc:docMk/>
          <pc:sldMk cId="1178331610" sldId="708"/>
        </pc:sldMkLst>
        <pc:spChg chg="mod">
          <ac:chgData name="Tomas Zednicek" userId="a1908deaf0417386" providerId="LiveId" clId="{A65BBC77-90B1-41D5-84EB-14ECEA3894E5}" dt="2021-03-30T13:27:01.940" v="96" actId="255"/>
          <ac:spMkLst>
            <pc:docMk/>
            <pc:sldMk cId="1178331610" sldId="708"/>
            <ac:spMk id="3" creationId="{E87DDF46-B07A-4183-A6C4-5CFC46E95960}"/>
          </ac:spMkLst>
        </pc:spChg>
        <pc:spChg chg="del">
          <ac:chgData name="Tomas Zednicek" userId="a1908deaf0417386" providerId="LiveId" clId="{A65BBC77-90B1-41D5-84EB-14ECEA3894E5}" dt="2021-03-30T13:25:44.317" v="65" actId="478"/>
          <ac:spMkLst>
            <pc:docMk/>
            <pc:sldMk cId="1178331610" sldId="708"/>
            <ac:spMk id="7" creationId="{20D9CD4B-B76B-4514-BDA0-A59977B218C3}"/>
          </ac:spMkLst>
        </pc:spChg>
        <pc:spChg chg="add mod">
          <ac:chgData name="Tomas Zednicek" userId="a1908deaf0417386" providerId="LiveId" clId="{A65BBC77-90B1-41D5-84EB-14ECEA3894E5}" dt="2021-03-30T13:25:44.877" v="66"/>
          <ac:spMkLst>
            <pc:docMk/>
            <pc:sldMk cId="1178331610" sldId="708"/>
            <ac:spMk id="8" creationId="{BDCF2DBB-6BC7-4A0B-B8A6-AC1C3921A083}"/>
          </ac:spMkLst>
        </pc:spChg>
        <pc:picChg chg="add mod">
          <ac:chgData name="Tomas Zednicek" userId="a1908deaf0417386" providerId="LiveId" clId="{A65BBC77-90B1-41D5-84EB-14ECEA3894E5}" dt="2021-03-30T14:37:08.259" v="121"/>
          <ac:picMkLst>
            <pc:docMk/>
            <pc:sldMk cId="1178331610" sldId="708"/>
            <ac:picMk id="2" creationId="{94C52379-C513-478B-9CF0-D8468FF17ADD}"/>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90E3E9-42D0-CE48-A4E2-EA75D5FBDA62}" type="datetimeFigureOut">
              <a:rPr lang="en-GB" smtClean="0"/>
              <a:t>30/03/2021</a:t>
            </a:fld>
            <a:endParaRPr lang="en-GB"/>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GB"/>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32476F-E293-DC4D-B046-E581C1FA646B}" type="slidenum">
              <a:rPr lang="en-GB" smtClean="0"/>
              <a:t>‹#›</a:t>
            </a:fld>
            <a:endParaRPr lang="en-GB"/>
          </a:p>
        </p:txBody>
      </p:sp>
    </p:spTree>
    <p:extLst>
      <p:ext uri="{BB962C8B-B14F-4D97-AF65-F5344CB8AC3E}">
        <p14:creationId xmlns:p14="http://schemas.microsoft.com/office/powerpoint/2010/main" val="9453956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en-GB" dirty="0"/>
          </a:p>
        </p:txBody>
      </p:sp>
      <p:sp>
        <p:nvSpPr>
          <p:cNvPr id="4" name="Zástupný symbol pro číslo snímku 3"/>
          <p:cNvSpPr>
            <a:spLocks noGrp="1"/>
          </p:cNvSpPr>
          <p:nvPr>
            <p:ph type="sldNum" sz="quarter" idx="5"/>
          </p:nvPr>
        </p:nvSpPr>
        <p:spPr/>
        <p:txBody>
          <a:bodyPr/>
          <a:lstStyle/>
          <a:p>
            <a:fld id="{3532476F-E293-DC4D-B046-E581C1FA646B}" type="slidenum">
              <a:rPr lang="en-GB" smtClean="0"/>
              <a:t>1</a:t>
            </a:fld>
            <a:endParaRPr lang="en-GB"/>
          </a:p>
        </p:txBody>
      </p:sp>
    </p:spTree>
    <p:extLst>
      <p:ext uri="{BB962C8B-B14F-4D97-AF65-F5344CB8AC3E}">
        <p14:creationId xmlns:p14="http://schemas.microsoft.com/office/powerpoint/2010/main" val="10940790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DBF9A18-0B55-4F48-80ED-266E2715D1F8}"/>
              </a:ext>
            </a:extLst>
          </p:cNvPr>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a:extLst>
              <a:ext uri="{FF2B5EF4-FFF2-40B4-BE49-F238E27FC236}">
                <a16:creationId xmlns:a16="http://schemas.microsoft.com/office/drawing/2014/main" id="{9A60781F-7640-40AB-B3F8-07AC15BE71B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a:extLst>
              <a:ext uri="{FF2B5EF4-FFF2-40B4-BE49-F238E27FC236}">
                <a16:creationId xmlns:a16="http://schemas.microsoft.com/office/drawing/2014/main" id="{659BF1EF-D64C-4C43-BCD3-6394F35C0AC0}"/>
              </a:ext>
            </a:extLst>
          </p:cNvPr>
          <p:cNvSpPr>
            <a:spLocks noGrp="1"/>
          </p:cNvSpPr>
          <p:nvPr>
            <p:ph type="dt" sz="half" idx="10"/>
          </p:nvPr>
        </p:nvSpPr>
        <p:spPr/>
        <p:txBody>
          <a:bodyPr/>
          <a:lstStyle/>
          <a:p>
            <a:fld id="{225E280B-2877-42FA-BBDA-60C810816B31}" type="datetime1">
              <a:rPr lang="cs-CZ" smtClean="0"/>
              <a:t>30. 3. 2021</a:t>
            </a:fld>
            <a:endParaRPr lang="cs-CZ"/>
          </a:p>
        </p:txBody>
      </p:sp>
      <p:sp>
        <p:nvSpPr>
          <p:cNvPr id="5" name="Zástupný symbol pro zápatí 4">
            <a:extLst>
              <a:ext uri="{FF2B5EF4-FFF2-40B4-BE49-F238E27FC236}">
                <a16:creationId xmlns:a16="http://schemas.microsoft.com/office/drawing/2014/main" id="{75783624-3E16-4665-9F1D-4832DD29F051}"/>
              </a:ext>
            </a:extLst>
          </p:cNvPr>
          <p:cNvSpPr>
            <a:spLocks noGrp="1"/>
          </p:cNvSpPr>
          <p:nvPr>
            <p:ph type="ftr" sz="quarter" idx="11"/>
          </p:nvPr>
        </p:nvSpPr>
        <p:spPr/>
        <p:txBody>
          <a:bodyPr/>
          <a:lstStyle/>
          <a:p>
            <a:r>
              <a:rPr lang="cs-CZ"/>
              <a:t>CMSE 2021</a:t>
            </a:r>
          </a:p>
        </p:txBody>
      </p:sp>
      <p:sp>
        <p:nvSpPr>
          <p:cNvPr id="6" name="Zástupný symbol pro číslo snímku 5">
            <a:extLst>
              <a:ext uri="{FF2B5EF4-FFF2-40B4-BE49-F238E27FC236}">
                <a16:creationId xmlns:a16="http://schemas.microsoft.com/office/drawing/2014/main" id="{86987B67-9DE2-4941-9D7B-BFACC847525B}"/>
              </a:ext>
            </a:extLst>
          </p:cNvPr>
          <p:cNvSpPr>
            <a:spLocks noGrp="1"/>
          </p:cNvSpPr>
          <p:nvPr>
            <p:ph type="sldNum" sz="quarter" idx="12"/>
          </p:nvPr>
        </p:nvSpPr>
        <p:spPr/>
        <p:txBody>
          <a:bodyPr/>
          <a:lstStyle/>
          <a:p>
            <a:fld id="{87170177-53BE-4EA4-8CC9-5D64EAB74717}" type="slidenum">
              <a:rPr lang="cs-CZ" smtClean="0"/>
              <a:t>‹#›</a:t>
            </a:fld>
            <a:endParaRPr lang="cs-CZ"/>
          </a:p>
        </p:txBody>
      </p:sp>
    </p:spTree>
    <p:extLst>
      <p:ext uri="{BB962C8B-B14F-4D97-AF65-F5344CB8AC3E}">
        <p14:creationId xmlns:p14="http://schemas.microsoft.com/office/powerpoint/2010/main" val="15843628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0DA8427-3E5C-4F26-99F4-8B2CA6EF04FE}"/>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8F157EAD-1F26-451C-A4CD-9B428397CBF9}"/>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3DE59D1E-6083-42DF-B58E-6619C0485A02}"/>
              </a:ext>
            </a:extLst>
          </p:cNvPr>
          <p:cNvSpPr>
            <a:spLocks noGrp="1"/>
          </p:cNvSpPr>
          <p:nvPr>
            <p:ph type="dt" sz="half" idx="10"/>
          </p:nvPr>
        </p:nvSpPr>
        <p:spPr/>
        <p:txBody>
          <a:bodyPr/>
          <a:lstStyle/>
          <a:p>
            <a:fld id="{12F58332-2EB2-449A-902C-AA97D26BD5A6}" type="datetime1">
              <a:rPr lang="cs-CZ" smtClean="0"/>
              <a:t>30. 3. 2021</a:t>
            </a:fld>
            <a:endParaRPr lang="cs-CZ"/>
          </a:p>
        </p:txBody>
      </p:sp>
      <p:sp>
        <p:nvSpPr>
          <p:cNvPr id="5" name="Zástupný symbol pro zápatí 4">
            <a:extLst>
              <a:ext uri="{FF2B5EF4-FFF2-40B4-BE49-F238E27FC236}">
                <a16:creationId xmlns:a16="http://schemas.microsoft.com/office/drawing/2014/main" id="{CAE06E20-40A9-4AC3-A98C-1643AD5F8D13}"/>
              </a:ext>
            </a:extLst>
          </p:cNvPr>
          <p:cNvSpPr>
            <a:spLocks noGrp="1"/>
          </p:cNvSpPr>
          <p:nvPr>
            <p:ph type="ftr" sz="quarter" idx="11"/>
          </p:nvPr>
        </p:nvSpPr>
        <p:spPr/>
        <p:txBody>
          <a:bodyPr/>
          <a:lstStyle/>
          <a:p>
            <a:r>
              <a:rPr lang="cs-CZ"/>
              <a:t>CMSE 2021</a:t>
            </a:r>
          </a:p>
        </p:txBody>
      </p:sp>
      <p:sp>
        <p:nvSpPr>
          <p:cNvPr id="6" name="Zástupný symbol pro číslo snímku 5">
            <a:extLst>
              <a:ext uri="{FF2B5EF4-FFF2-40B4-BE49-F238E27FC236}">
                <a16:creationId xmlns:a16="http://schemas.microsoft.com/office/drawing/2014/main" id="{F22B8747-96D1-4DDB-92EF-8DF487120EF7}"/>
              </a:ext>
            </a:extLst>
          </p:cNvPr>
          <p:cNvSpPr>
            <a:spLocks noGrp="1"/>
          </p:cNvSpPr>
          <p:nvPr>
            <p:ph type="sldNum" sz="quarter" idx="12"/>
          </p:nvPr>
        </p:nvSpPr>
        <p:spPr/>
        <p:txBody>
          <a:bodyPr/>
          <a:lstStyle/>
          <a:p>
            <a:fld id="{87170177-53BE-4EA4-8CC9-5D64EAB74717}" type="slidenum">
              <a:rPr lang="cs-CZ" smtClean="0"/>
              <a:t>‹#›</a:t>
            </a:fld>
            <a:endParaRPr lang="cs-CZ"/>
          </a:p>
        </p:txBody>
      </p:sp>
    </p:spTree>
    <p:extLst>
      <p:ext uri="{BB962C8B-B14F-4D97-AF65-F5344CB8AC3E}">
        <p14:creationId xmlns:p14="http://schemas.microsoft.com/office/powerpoint/2010/main" val="7676381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E2A835C5-9CFF-4F07-B1DF-FDDE12F2B92B}"/>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BC4E6A2D-2302-4568-892A-9A194F61EC40}"/>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9694C581-15E1-4359-911D-C00CC2DC6A27}"/>
              </a:ext>
            </a:extLst>
          </p:cNvPr>
          <p:cNvSpPr>
            <a:spLocks noGrp="1"/>
          </p:cNvSpPr>
          <p:nvPr>
            <p:ph type="dt" sz="half" idx="10"/>
          </p:nvPr>
        </p:nvSpPr>
        <p:spPr/>
        <p:txBody>
          <a:bodyPr/>
          <a:lstStyle/>
          <a:p>
            <a:fld id="{9CE5EE33-61A3-4CCE-8ADF-84FC5F21900B}" type="datetime1">
              <a:rPr lang="cs-CZ" smtClean="0"/>
              <a:t>30. 3. 2021</a:t>
            </a:fld>
            <a:endParaRPr lang="cs-CZ"/>
          </a:p>
        </p:txBody>
      </p:sp>
      <p:sp>
        <p:nvSpPr>
          <p:cNvPr id="5" name="Zástupný symbol pro zápatí 4">
            <a:extLst>
              <a:ext uri="{FF2B5EF4-FFF2-40B4-BE49-F238E27FC236}">
                <a16:creationId xmlns:a16="http://schemas.microsoft.com/office/drawing/2014/main" id="{14D32A2D-A193-4355-A6B5-137198A1B124}"/>
              </a:ext>
            </a:extLst>
          </p:cNvPr>
          <p:cNvSpPr>
            <a:spLocks noGrp="1"/>
          </p:cNvSpPr>
          <p:nvPr>
            <p:ph type="ftr" sz="quarter" idx="11"/>
          </p:nvPr>
        </p:nvSpPr>
        <p:spPr/>
        <p:txBody>
          <a:bodyPr/>
          <a:lstStyle/>
          <a:p>
            <a:r>
              <a:rPr lang="cs-CZ"/>
              <a:t>CMSE 2021</a:t>
            </a:r>
          </a:p>
        </p:txBody>
      </p:sp>
      <p:sp>
        <p:nvSpPr>
          <p:cNvPr id="6" name="Zástupný symbol pro číslo snímku 5">
            <a:extLst>
              <a:ext uri="{FF2B5EF4-FFF2-40B4-BE49-F238E27FC236}">
                <a16:creationId xmlns:a16="http://schemas.microsoft.com/office/drawing/2014/main" id="{CC1CDEA3-FB8F-4E74-BAE6-6DD298041675}"/>
              </a:ext>
            </a:extLst>
          </p:cNvPr>
          <p:cNvSpPr>
            <a:spLocks noGrp="1"/>
          </p:cNvSpPr>
          <p:nvPr>
            <p:ph type="sldNum" sz="quarter" idx="12"/>
          </p:nvPr>
        </p:nvSpPr>
        <p:spPr/>
        <p:txBody>
          <a:bodyPr/>
          <a:lstStyle/>
          <a:p>
            <a:fld id="{87170177-53BE-4EA4-8CC9-5D64EAB74717}" type="slidenum">
              <a:rPr lang="cs-CZ" smtClean="0"/>
              <a:t>‹#›</a:t>
            </a:fld>
            <a:endParaRPr lang="cs-CZ"/>
          </a:p>
        </p:txBody>
      </p:sp>
    </p:spTree>
    <p:extLst>
      <p:ext uri="{BB962C8B-B14F-4D97-AF65-F5344CB8AC3E}">
        <p14:creationId xmlns:p14="http://schemas.microsoft.com/office/powerpoint/2010/main" val="29385404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5138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1">
    <p:bg>
      <p:bgRef idx="1001">
        <a:schemeClr val="bg1"/>
      </p:bgRef>
    </p:bg>
    <p:spTree>
      <p:nvGrpSpPr>
        <p:cNvPr id="1" name=""/>
        <p:cNvGrpSpPr/>
        <p:nvPr/>
      </p:nvGrpSpPr>
      <p:grpSpPr>
        <a:xfrm>
          <a:off x="0" y="0"/>
          <a:ext cx="0" cy="0"/>
          <a:chOff x="0" y="0"/>
          <a:chExt cx="0" cy="0"/>
        </a:xfrm>
      </p:grpSpPr>
      <p:sp>
        <p:nvSpPr>
          <p:cNvPr id="53" name="Content Placeholder 2"/>
          <p:cNvSpPr>
            <a:spLocks noGrp="1"/>
          </p:cNvSpPr>
          <p:nvPr>
            <p:ph idx="1"/>
          </p:nvPr>
        </p:nvSpPr>
        <p:spPr>
          <a:xfrm>
            <a:off x="2475885" y="2961297"/>
            <a:ext cx="6987429" cy="1994312"/>
          </a:xfrm>
        </p:spPr>
        <p:txBody>
          <a:bodyPr>
            <a:normAutofit/>
          </a:bodyPr>
          <a:lstStyle>
            <a:lvl1pPr>
              <a:defRPr sz="24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itle Placeholder 1"/>
          <p:cNvSpPr>
            <a:spLocks noGrp="1"/>
          </p:cNvSpPr>
          <p:nvPr>
            <p:ph type="title" hasCustomPrompt="1"/>
          </p:nvPr>
        </p:nvSpPr>
        <p:spPr>
          <a:xfrm>
            <a:off x="2390749" y="1120208"/>
            <a:ext cx="7113112" cy="635939"/>
          </a:xfrm>
          <a:prstGeom prst="rect">
            <a:avLst/>
          </a:prstGeom>
        </p:spPr>
        <p:txBody>
          <a:bodyPr vert="horz" lIns="91440" tIns="45720" rIns="91440" bIns="45720" rtlCol="0" anchor="t">
            <a:noAutofit/>
          </a:bodyPr>
          <a:lstStyle>
            <a:lvl1pPr algn="l">
              <a:defRPr sz="4000"/>
            </a:lvl1pPr>
          </a:lstStyle>
          <a:p>
            <a:r>
              <a:rPr lang="en-US" dirty="0"/>
              <a:t>Click to edit master title</a:t>
            </a:r>
          </a:p>
        </p:txBody>
      </p:sp>
      <p:sp>
        <p:nvSpPr>
          <p:cNvPr id="55" name="Subtitle 2"/>
          <p:cNvSpPr>
            <a:spLocks noGrp="1"/>
          </p:cNvSpPr>
          <p:nvPr>
            <p:ph type="subTitle" idx="11" hasCustomPrompt="1"/>
          </p:nvPr>
        </p:nvSpPr>
        <p:spPr>
          <a:xfrm>
            <a:off x="2390748" y="1756147"/>
            <a:ext cx="7113112" cy="600208"/>
          </a:xfrm>
        </p:spPr>
        <p:txBody>
          <a:bodyPr>
            <a:no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a:t>
            </a:r>
          </a:p>
        </p:txBody>
      </p:sp>
      <p:grpSp>
        <p:nvGrpSpPr>
          <p:cNvPr id="13" name="Group 12"/>
          <p:cNvGrpSpPr/>
          <p:nvPr/>
        </p:nvGrpSpPr>
        <p:grpSpPr>
          <a:xfrm rot="5400000" flipH="1">
            <a:off x="7479859" y="1794768"/>
            <a:ext cx="6506909" cy="2917372"/>
            <a:chOff x="-1" y="-13"/>
            <a:chExt cx="17941856" cy="3454415"/>
          </a:xfrm>
        </p:grpSpPr>
        <p:sp>
          <p:nvSpPr>
            <p:cNvPr id="14" name="Isosceles Triangle 13"/>
            <p:cNvSpPr/>
            <p:nvPr/>
          </p:nvSpPr>
          <p:spPr>
            <a:xfrm flipV="1">
              <a:off x="6087764" y="-11"/>
              <a:ext cx="11854091" cy="1660774"/>
            </a:xfrm>
            <a:prstGeom prst="triangle">
              <a:avLst>
                <a:gd name="adj" fmla="val 10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a:p>
          </p:txBody>
        </p:sp>
        <p:grpSp>
          <p:nvGrpSpPr>
            <p:cNvPr id="15" name="Group 14"/>
            <p:cNvGrpSpPr/>
            <p:nvPr/>
          </p:nvGrpSpPr>
          <p:grpSpPr>
            <a:xfrm>
              <a:off x="-1" y="-13"/>
              <a:ext cx="10626815" cy="3454415"/>
              <a:chOff x="0" y="-7"/>
              <a:chExt cx="6104241" cy="1993564"/>
            </a:xfrm>
          </p:grpSpPr>
          <p:sp>
            <p:nvSpPr>
              <p:cNvPr id="16" name="Isosceles Triangle 15"/>
              <p:cNvSpPr/>
              <p:nvPr/>
            </p:nvSpPr>
            <p:spPr>
              <a:xfrm flipV="1">
                <a:off x="3" y="-1"/>
                <a:ext cx="6104238" cy="1993558"/>
              </a:xfrm>
              <a:prstGeom prst="triangle">
                <a:avLst>
                  <a:gd name="adj"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aseline="0"/>
              </a:p>
            </p:txBody>
          </p:sp>
          <p:sp>
            <p:nvSpPr>
              <p:cNvPr id="17" name="Isosceles Triangle 16"/>
              <p:cNvSpPr/>
              <p:nvPr/>
            </p:nvSpPr>
            <p:spPr>
              <a:xfrm flipV="1">
                <a:off x="0" y="-7"/>
                <a:ext cx="6104239" cy="1326297"/>
              </a:xfrm>
              <a:prstGeom prst="triangle">
                <a:avLst>
                  <a:gd name="adj" fmla="val 334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a:p>
            </p:txBody>
          </p:sp>
        </p:grpSp>
      </p:grpSp>
      <p:grpSp>
        <p:nvGrpSpPr>
          <p:cNvPr id="18" name="Group 17"/>
          <p:cNvGrpSpPr/>
          <p:nvPr/>
        </p:nvGrpSpPr>
        <p:grpSpPr>
          <a:xfrm rot="16200000" flipH="1">
            <a:off x="-2015509" y="2015511"/>
            <a:ext cx="6506908" cy="2475886"/>
            <a:chOff x="-1" y="-13"/>
            <a:chExt cx="17941856" cy="3454415"/>
          </a:xfrm>
        </p:grpSpPr>
        <p:sp>
          <p:nvSpPr>
            <p:cNvPr id="19" name="Isosceles Triangle 18"/>
            <p:cNvSpPr/>
            <p:nvPr/>
          </p:nvSpPr>
          <p:spPr>
            <a:xfrm flipV="1">
              <a:off x="6087764" y="-11"/>
              <a:ext cx="11854091" cy="1660774"/>
            </a:xfrm>
            <a:prstGeom prst="triangle">
              <a:avLst>
                <a:gd name="adj" fmla="val 10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a:p>
          </p:txBody>
        </p:sp>
        <p:grpSp>
          <p:nvGrpSpPr>
            <p:cNvPr id="20" name="Group 19"/>
            <p:cNvGrpSpPr/>
            <p:nvPr/>
          </p:nvGrpSpPr>
          <p:grpSpPr>
            <a:xfrm>
              <a:off x="-1" y="-13"/>
              <a:ext cx="10626815" cy="3454415"/>
              <a:chOff x="0" y="-7"/>
              <a:chExt cx="6104241" cy="1993564"/>
            </a:xfrm>
          </p:grpSpPr>
          <p:sp>
            <p:nvSpPr>
              <p:cNvPr id="21" name="Isosceles Triangle 20"/>
              <p:cNvSpPr/>
              <p:nvPr/>
            </p:nvSpPr>
            <p:spPr>
              <a:xfrm flipV="1">
                <a:off x="3" y="-1"/>
                <a:ext cx="6104238" cy="1993558"/>
              </a:xfrm>
              <a:prstGeom prst="triangle">
                <a:avLst>
                  <a:gd name="adj"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aseline="0"/>
              </a:p>
            </p:txBody>
          </p:sp>
          <p:sp>
            <p:nvSpPr>
              <p:cNvPr id="22" name="Isosceles Triangle 21"/>
              <p:cNvSpPr/>
              <p:nvPr/>
            </p:nvSpPr>
            <p:spPr>
              <a:xfrm flipV="1">
                <a:off x="0" y="-7"/>
                <a:ext cx="6104239" cy="1326297"/>
              </a:xfrm>
              <a:prstGeom prst="triangle">
                <a:avLst>
                  <a:gd name="adj" fmla="val 334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a:p>
            </p:txBody>
          </p:sp>
        </p:grpSp>
      </p:grpSp>
    </p:spTree>
    <p:extLst>
      <p:ext uri="{BB962C8B-B14F-4D97-AF65-F5344CB8AC3E}">
        <p14:creationId xmlns:p14="http://schemas.microsoft.com/office/powerpoint/2010/main" val="1524388702"/>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End-1">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957423E-045E-437F-940A-402579479410}"/>
              </a:ext>
            </a:extLst>
          </p:cNvPr>
          <p:cNvSpPr txBox="1">
            <a:spLocks/>
          </p:cNvSpPr>
          <p:nvPr userDrawn="1"/>
        </p:nvSpPr>
        <p:spPr>
          <a:xfrm>
            <a:off x="508000" y="2835275"/>
            <a:ext cx="7772400" cy="1022350"/>
          </a:xfrm>
          <a:prstGeom prst="rect">
            <a:avLst/>
          </a:prstGeom>
        </p:spPr>
        <p:txBody>
          <a:bodyPr anchor="ct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en-US" altLang="en-US" sz="6600" dirty="0"/>
              <a:t>THANK YOU.</a:t>
            </a:r>
          </a:p>
        </p:txBody>
      </p:sp>
      <p:cxnSp>
        <p:nvCxnSpPr>
          <p:cNvPr id="16" name="Straight Connector 15"/>
          <p:cNvCxnSpPr/>
          <p:nvPr userDrawn="1"/>
        </p:nvCxnSpPr>
        <p:spPr>
          <a:xfrm>
            <a:off x="635000" y="2438400"/>
            <a:ext cx="2120900" cy="0"/>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a:off x="6731001" y="-17290"/>
            <a:ext cx="5461000" cy="6461633"/>
            <a:chOff x="8258629" y="-17290"/>
            <a:chExt cx="3933371" cy="6461633"/>
          </a:xfrm>
        </p:grpSpPr>
        <p:grpSp>
          <p:nvGrpSpPr>
            <p:cNvPr id="18" name="Group 17"/>
            <p:cNvGrpSpPr/>
            <p:nvPr userDrawn="1"/>
          </p:nvGrpSpPr>
          <p:grpSpPr>
            <a:xfrm>
              <a:off x="8258629" y="-17290"/>
              <a:ext cx="3933371" cy="2974674"/>
              <a:chOff x="8258629" y="-17290"/>
              <a:chExt cx="3933371" cy="2974674"/>
            </a:xfrm>
          </p:grpSpPr>
          <p:sp>
            <p:nvSpPr>
              <p:cNvPr id="20" name="Isosceles Triangle 19"/>
              <p:cNvSpPr/>
              <p:nvPr userDrawn="1"/>
            </p:nvSpPr>
            <p:spPr>
              <a:xfrm>
                <a:off x="9102409" y="1235676"/>
                <a:ext cx="3089591" cy="1721708"/>
              </a:xfrm>
              <a:prstGeom prst="triangle">
                <a:avLst>
                  <a:gd name="adj" fmla="val 2695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Isosceles Triangle 20"/>
              <p:cNvSpPr/>
              <p:nvPr userDrawn="1"/>
            </p:nvSpPr>
            <p:spPr>
              <a:xfrm flipV="1">
                <a:off x="8258629" y="-17290"/>
                <a:ext cx="3933371" cy="2974673"/>
              </a:xfrm>
              <a:prstGeom prst="triangle">
                <a:avLst>
                  <a:gd name="adj" fmla="val 10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00"/>
              </a:p>
            </p:txBody>
          </p:sp>
        </p:grpSp>
        <p:sp>
          <p:nvSpPr>
            <p:cNvPr id="19" name="Isosceles Triangle 18"/>
            <p:cNvSpPr/>
            <p:nvPr userDrawn="1"/>
          </p:nvSpPr>
          <p:spPr>
            <a:xfrm flipV="1">
              <a:off x="9102408" y="2946401"/>
              <a:ext cx="3089592" cy="3497942"/>
            </a:xfrm>
            <a:prstGeom prst="triangle">
              <a:avLst>
                <a:gd name="adj"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Text Placeholder 3"/>
          <p:cNvSpPr>
            <a:spLocks noGrp="1"/>
          </p:cNvSpPr>
          <p:nvPr>
            <p:ph type="body" sz="quarter" idx="10" hasCustomPrompt="1"/>
          </p:nvPr>
        </p:nvSpPr>
        <p:spPr>
          <a:xfrm>
            <a:off x="736600" y="3975099"/>
            <a:ext cx="5854700" cy="558800"/>
          </a:xfrm>
        </p:spPr>
        <p:txBody>
          <a:bodyPr>
            <a:normAutofit/>
          </a:bodyPr>
          <a:lstStyle>
            <a:lvl1pPr marL="0" indent="0">
              <a:buNone/>
              <a:defRPr sz="3200"/>
            </a:lvl1pPr>
          </a:lstStyle>
          <a:p>
            <a:pPr lvl="0"/>
            <a:r>
              <a:rPr lang="en-US" dirty="0"/>
              <a:t>Edit Master subtitle style</a:t>
            </a:r>
          </a:p>
        </p:txBody>
      </p:sp>
    </p:spTree>
    <p:extLst>
      <p:ext uri="{BB962C8B-B14F-4D97-AF65-F5344CB8AC3E}">
        <p14:creationId xmlns:p14="http://schemas.microsoft.com/office/powerpoint/2010/main" val="14015442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38ABF00-289C-4BCD-B40B-ED053452A14A}"/>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46C0A08A-F3E8-434C-8D03-3BBE299C9FAB}"/>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9D932989-25D4-4F9D-B31D-396796E55A9B}"/>
              </a:ext>
            </a:extLst>
          </p:cNvPr>
          <p:cNvSpPr>
            <a:spLocks noGrp="1"/>
          </p:cNvSpPr>
          <p:nvPr>
            <p:ph type="dt" sz="half" idx="10"/>
          </p:nvPr>
        </p:nvSpPr>
        <p:spPr/>
        <p:txBody>
          <a:bodyPr/>
          <a:lstStyle/>
          <a:p>
            <a:fld id="{539C0571-BCC5-47A1-A691-6878A4B990CA}" type="datetime1">
              <a:rPr lang="cs-CZ" smtClean="0"/>
              <a:t>30. 3. 2021</a:t>
            </a:fld>
            <a:endParaRPr lang="cs-CZ"/>
          </a:p>
        </p:txBody>
      </p:sp>
      <p:sp>
        <p:nvSpPr>
          <p:cNvPr id="5" name="Zástupný symbol pro zápatí 4">
            <a:extLst>
              <a:ext uri="{FF2B5EF4-FFF2-40B4-BE49-F238E27FC236}">
                <a16:creationId xmlns:a16="http://schemas.microsoft.com/office/drawing/2014/main" id="{0557C371-2908-4A1B-948B-C176C9184FD5}"/>
              </a:ext>
            </a:extLst>
          </p:cNvPr>
          <p:cNvSpPr>
            <a:spLocks noGrp="1"/>
          </p:cNvSpPr>
          <p:nvPr>
            <p:ph type="ftr" sz="quarter" idx="11"/>
          </p:nvPr>
        </p:nvSpPr>
        <p:spPr/>
        <p:txBody>
          <a:bodyPr/>
          <a:lstStyle/>
          <a:p>
            <a:r>
              <a:rPr lang="cs-CZ"/>
              <a:t>CMSE 2021</a:t>
            </a:r>
          </a:p>
        </p:txBody>
      </p:sp>
      <p:sp>
        <p:nvSpPr>
          <p:cNvPr id="6" name="Zástupný symbol pro číslo snímku 5">
            <a:extLst>
              <a:ext uri="{FF2B5EF4-FFF2-40B4-BE49-F238E27FC236}">
                <a16:creationId xmlns:a16="http://schemas.microsoft.com/office/drawing/2014/main" id="{1393D0FD-4D33-4C1B-9937-A56F39C6575E}"/>
              </a:ext>
            </a:extLst>
          </p:cNvPr>
          <p:cNvSpPr>
            <a:spLocks noGrp="1"/>
          </p:cNvSpPr>
          <p:nvPr>
            <p:ph type="sldNum" sz="quarter" idx="12"/>
          </p:nvPr>
        </p:nvSpPr>
        <p:spPr/>
        <p:txBody>
          <a:bodyPr/>
          <a:lstStyle/>
          <a:p>
            <a:fld id="{87170177-53BE-4EA4-8CC9-5D64EAB74717}" type="slidenum">
              <a:rPr lang="cs-CZ" smtClean="0"/>
              <a:t>‹#›</a:t>
            </a:fld>
            <a:endParaRPr lang="cs-CZ"/>
          </a:p>
        </p:txBody>
      </p:sp>
    </p:spTree>
    <p:extLst>
      <p:ext uri="{BB962C8B-B14F-4D97-AF65-F5344CB8AC3E}">
        <p14:creationId xmlns:p14="http://schemas.microsoft.com/office/powerpoint/2010/main" val="12875920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áhlaví oddílu">
    <p:spTree>
      <p:nvGrpSpPr>
        <p:cNvPr id="1" name=""/>
        <p:cNvGrpSpPr/>
        <p:nvPr/>
      </p:nvGrpSpPr>
      <p:grpSpPr>
        <a:xfrm>
          <a:off x="0" y="0"/>
          <a:ext cx="0" cy="0"/>
          <a:chOff x="0" y="0"/>
          <a:chExt cx="0" cy="0"/>
        </a:xfrm>
      </p:grpSpPr>
      <p:sp>
        <p:nvSpPr>
          <p:cNvPr id="7" name="TextovéPole 6">
            <a:extLst>
              <a:ext uri="{FF2B5EF4-FFF2-40B4-BE49-F238E27FC236}">
                <a16:creationId xmlns:a16="http://schemas.microsoft.com/office/drawing/2014/main" id="{4E2EB0B2-41C9-4C7A-9C94-8DA7CC4906A7}"/>
              </a:ext>
            </a:extLst>
          </p:cNvPr>
          <p:cNvSpPr txBox="1"/>
          <p:nvPr userDrawn="1"/>
        </p:nvSpPr>
        <p:spPr>
          <a:xfrm>
            <a:off x="703685" y="6431190"/>
            <a:ext cx="702436" cy="215444"/>
          </a:xfrm>
          <a:prstGeom prst="rect">
            <a:avLst/>
          </a:prstGeom>
          <a:noFill/>
        </p:spPr>
        <p:txBody>
          <a:bodyPr wrap="none" rtlCol="0">
            <a:spAutoFit/>
          </a:bodyPr>
          <a:lstStyle/>
          <a:p>
            <a:r>
              <a:rPr lang="en-GB" sz="800" dirty="0">
                <a:solidFill>
                  <a:schemeClr val="tx1">
                    <a:lumMod val="50000"/>
                    <a:lumOff val="50000"/>
                  </a:schemeClr>
                </a:solidFill>
              </a:rPr>
              <a:t>© EPCI 2021</a:t>
            </a:r>
            <a:endParaRPr lang="cs-CZ" sz="800" dirty="0">
              <a:solidFill>
                <a:schemeClr val="tx1">
                  <a:lumMod val="50000"/>
                  <a:lumOff val="50000"/>
                </a:schemeClr>
              </a:solidFill>
            </a:endParaRPr>
          </a:p>
        </p:txBody>
      </p:sp>
    </p:spTree>
    <p:extLst>
      <p:ext uri="{BB962C8B-B14F-4D97-AF65-F5344CB8AC3E}">
        <p14:creationId xmlns:p14="http://schemas.microsoft.com/office/powerpoint/2010/main" val="5451859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421C456-52D2-4FF8-ABEC-2EE82A944479}"/>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70E2738D-1645-49BE-902F-2CF09748F9B1}"/>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EE12181C-CFAC-41E3-A496-387CA8FAC394}"/>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09544E5E-97C5-4151-9304-EE67D9EDB724}"/>
              </a:ext>
            </a:extLst>
          </p:cNvPr>
          <p:cNvSpPr>
            <a:spLocks noGrp="1"/>
          </p:cNvSpPr>
          <p:nvPr>
            <p:ph type="dt" sz="half" idx="10"/>
          </p:nvPr>
        </p:nvSpPr>
        <p:spPr/>
        <p:txBody>
          <a:bodyPr/>
          <a:lstStyle/>
          <a:p>
            <a:fld id="{8808D71B-36FF-481F-BF55-EC3F32AAD4FE}" type="datetime1">
              <a:rPr lang="cs-CZ" smtClean="0"/>
              <a:t>30. 3. 2021</a:t>
            </a:fld>
            <a:endParaRPr lang="cs-CZ"/>
          </a:p>
        </p:txBody>
      </p:sp>
      <p:sp>
        <p:nvSpPr>
          <p:cNvPr id="6" name="Zástupný symbol pro zápatí 5">
            <a:extLst>
              <a:ext uri="{FF2B5EF4-FFF2-40B4-BE49-F238E27FC236}">
                <a16:creationId xmlns:a16="http://schemas.microsoft.com/office/drawing/2014/main" id="{CB47E716-EF1B-42C6-8962-EA5EB24A72D2}"/>
              </a:ext>
            </a:extLst>
          </p:cNvPr>
          <p:cNvSpPr>
            <a:spLocks noGrp="1"/>
          </p:cNvSpPr>
          <p:nvPr>
            <p:ph type="ftr" sz="quarter" idx="11"/>
          </p:nvPr>
        </p:nvSpPr>
        <p:spPr/>
        <p:txBody>
          <a:bodyPr/>
          <a:lstStyle/>
          <a:p>
            <a:r>
              <a:rPr lang="cs-CZ"/>
              <a:t>CMSE 2021</a:t>
            </a:r>
          </a:p>
        </p:txBody>
      </p:sp>
      <p:sp>
        <p:nvSpPr>
          <p:cNvPr id="7" name="Zástupný symbol pro číslo snímku 6">
            <a:extLst>
              <a:ext uri="{FF2B5EF4-FFF2-40B4-BE49-F238E27FC236}">
                <a16:creationId xmlns:a16="http://schemas.microsoft.com/office/drawing/2014/main" id="{F7F1074C-9DB0-4F93-8554-0F1362B96D02}"/>
              </a:ext>
            </a:extLst>
          </p:cNvPr>
          <p:cNvSpPr>
            <a:spLocks noGrp="1"/>
          </p:cNvSpPr>
          <p:nvPr>
            <p:ph type="sldNum" sz="quarter" idx="12"/>
          </p:nvPr>
        </p:nvSpPr>
        <p:spPr/>
        <p:txBody>
          <a:bodyPr/>
          <a:lstStyle/>
          <a:p>
            <a:fld id="{87170177-53BE-4EA4-8CC9-5D64EAB74717}" type="slidenum">
              <a:rPr lang="cs-CZ" smtClean="0"/>
              <a:t>‹#›</a:t>
            </a:fld>
            <a:endParaRPr lang="cs-CZ"/>
          </a:p>
        </p:txBody>
      </p:sp>
    </p:spTree>
    <p:extLst>
      <p:ext uri="{BB962C8B-B14F-4D97-AF65-F5344CB8AC3E}">
        <p14:creationId xmlns:p14="http://schemas.microsoft.com/office/powerpoint/2010/main" val="33416578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55D7E3D-D465-49EA-B0C3-8958DC2C45DA}"/>
              </a:ext>
            </a:extLst>
          </p:cNvPr>
          <p:cNvSpPr>
            <a:spLocks noGrp="1"/>
          </p:cNvSpPr>
          <p:nvPr>
            <p:ph type="title"/>
          </p:nvPr>
        </p:nvSpPr>
        <p:spPr>
          <a:xfrm>
            <a:off x="839788" y="365125"/>
            <a:ext cx="10515600"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EBB3D2B4-A932-4C8B-A69E-1E8F2A0864F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52DBE566-BD55-46E9-A079-FA64494416B1}"/>
              </a:ext>
            </a:extLst>
          </p:cNvPr>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73A518CB-B903-41E6-88C6-D498721439C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0B4C9B80-DF0D-46BF-AE61-7F87FD5DBC56}"/>
              </a:ext>
            </a:extLst>
          </p:cNvPr>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C02FC337-213A-4535-A5FD-8C5016ED6F58}"/>
              </a:ext>
            </a:extLst>
          </p:cNvPr>
          <p:cNvSpPr>
            <a:spLocks noGrp="1"/>
          </p:cNvSpPr>
          <p:nvPr>
            <p:ph type="dt" sz="half" idx="10"/>
          </p:nvPr>
        </p:nvSpPr>
        <p:spPr/>
        <p:txBody>
          <a:bodyPr/>
          <a:lstStyle/>
          <a:p>
            <a:fld id="{86E3478B-D0B5-45B2-8E63-9337E2ED26B4}" type="datetime1">
              <a:rPr lang="cs-CZ" smtClean="0"/>
              <a:t>30. 3. 2021</a:t>
            </a:fld>
            <a:endParaRPr lang="cs-CZ"/>
          </a:p>
        </p:txBody>
      </p:sp>
      <p:sp>
        <p:nvSpPr>
          <p:cNvPr id="8" name="Zástupný symbol pro zápatí 7">
            <a:extLst>
              <a:ext uri="{FF2B5EF4-FFF2-40B4-BE49-F238E27FC236}">
                <a16:creationId xmlns:a16="http://schemas.microsoft.com/office/drawing/2014/main" id="{5A1898EF-8A9F-4F58-B9D4-F91B79AA50F1}"/>
              </a:ext>
            </a:extLst>
          </p:cNvPr>
          <p:cNvSpPr>
            <a:spLocks noGrp="1"/>
          </p:cNvSpPr>
          <p:nvPr>
            <p:ph type="ftr" sz="quarter" idx="11"/>
          </p:nvPr>
        </p:nvSpPr>
        <p:spPr/>
        <p:txBody>
          <a:bodyPr/>
          <a:lstStyle/>
          <a:p>
            <a:r>
              <a:rPr lang="cs-CZ"/>
              <a:t>CMSE 2021</a:t>
            </a:r>
          </a:p>
        </p:txBody>
      </p:sp>
      <p:sp>
        <p:nvSpPr>
          <p:cNvPr id="9" name="Zástupný symbol pro číslo snímku 8">
            <a:extLst>
              <a:ext uri="{FF2B5EF4-FFF2-40B4-BE49-F238E27FC236}">
                <a16:creationId xmlns:a16="http://schemas.microsoft.com/office/drawing/2014/main" id="{3DEB116E-62B0-4845-B1D9-E46E2C798EC7}"/>
              </a:ext>
            </a:extLst>
          </p:cNvPr>
          <p:cNvSpPr>
            <a:spLocks noGrp="1"/>
          </p:cNvSpPr>
          <p:nvPr>
            <p:ph type="sldNum" sz="quarter" idx="12"/>
          </p:nvPr>
        </p:nvSpPr>
        <p:spPr/>
        <p:txBody>
          <a:bodyPr/>
          <a:lstStyle/>
          <a:p>
            <a:fld id="{87170177-53BE-4EA4-8CC9-5D64EAB74717}" type="slidenum">
              <a:rPr lang="cs-CZ" smtClean="0"/>
              <a:t>‹#›</a:t>
            </a:fld>
            <a:endParaRPr lang="cs-CZ"/>
          </a:p>
        </p:txBody>
      </p:sp>
    </p:spTree>
    <p:extLst>
      <p:ext uri="{BB962C8B-B14F-4D97-AF65-F5344CB8AC3E}">
        <p14:creationId xmlns:p14="http://schemas.microsoft.com/office/powerpoint/2010/main" val="29381580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F4175C8-A2EB-482C-947B-EF406315AE81}"/>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9D216E1E-A753-42B7-9462-768BD746C875}"/>
              </a:ext>
            </a:extLst>
          </p:cNvPr>
          <p:cNvSpPr>
            <a:spLocks noGrp="1"/>
          </p:cNvSpPr>
          <p:nvPr>
            <p:ph type="dt" sz="half" idx="10"/>
          </p:nvPr>
        </p:nvSpPr>
        <p:spPr/>
        <p:txBody>
          <a:bodyPr/>
          <a:lstStyle/>
          <a:p>
            <a:fld id="{EBD75D1B-8DFB-4796-8AC7-59DF6B8AF95E}" type="datetime1">
              <a:rPr lang="cs-CZ" smtClean="0"/>
              <a:t>30. 3. 2021</a:t>
            </a:fld>
            <a:endParaRPr lang="cs-CZ"/>
          </a:p>
        </p:txBody>
      </p:sp>
      <p:sp>
        <p:nvSpPr>
          <p:cNvPr id="4" name="Zástupný symbol pro zápatí 3">
            <a:extLst>
              <a:ext uri="{FF2B5EF4-FFF2-40B4-BE49-F238E27FC236}">
                <a16:creationId xmlns:a16="http://schemas.microsoft.com/office/drawing/2014/main" id="{F7659CCC-ED76-4A1D-8DAF-FFF53730CFAC}"/>
              </a:ext>
            </a:extLst>
          </p:cNvPr>
          <p:cNvSpPr>
            <a:spLocks noGrp="1"/>
          </p:cNvSpPr>
          <p:nvPr>
            <p:ph type="ftr" sz="quarter" idx="11"/>
          </p:nvPr>
        </p:nvSpPr>
        <p:spPr/>
        <p:txBody>
          <a:bodyPr/>
          <a:lstStyle/>
          <a:p>
            <a:r>
              <a:rPr lang="cs-CZ"/>
              <a:t>CMSE 2021</a:t>
            </a:r>
          </a:p>
        </p:txBody>
      </p:sp>
      <p:sp>
        <p:nvSpPr>
          <p:cNvPr id="5" name="Zástupný symbol pro číslo snímku 4">
            <a:extLst>
              <a:ext uri="{FF2B5EF4-FFF2-40B4-BE49-F238E27FC236}">
                <a16:creationId xmlns:a16="http://schemas.microsoft.com/office/drawing/2014/main" id="{92138D46-D602-42DD-BE5A-404388177BD6}"/>
              </a:ext>
            </a:extLst>
          </p:cNvPr>
          <p:cNvSpPr>
            <a:spLocks noGrp="1"/>
          </p:cNvSpPr>
          <p:nvPr>
            <p:ph type="sldNum" sz="quarter" idx="12"/>
          </p:nvPr>
        </p:nvSpPr>
        <p:spPr/>
        <p:txBody>
          <a:bodyPr/>
          <a:lstStyle/>
          <a:p>
            <a:fld id="{87170177-53BE-4EA4-8CC9-5D64EAB74717}" type="slidenum">
              <a:rPr lang="cs-CZ" smtClean="0"/>
              <a:t>‹#›</a:t>
            </a:fld>
            <a:endParaRPr lang="cs-CZ"/>
          </a:p>
        </p:txBody>
      </p:sp>
    </p:spTree>
    <p:extLst>
      <p:ext uri="{BB962C8B-B14F-4D97-AF65-F5344CB8AC3E}">
        <p14:creationId xmlns:p14="http://schemas.microsoft.com/office/powerpoint/2010/main" val="9514336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3" name="Zástupný symbol pro zápatí 2">
            <a:extLst>
              <a:ext uri="{FF2B5EF4-FFF2-40B4-BE49-F238E27FC236}">
                <a16:creationId xmlns:a16="http://schemas.microsoft.com/office/drawing/2014/main" id="{BCFA9E0A-A751-4EA4-B4CC-C337703227DA}"/>
              </a:ext>
            </a:extLst>
          </p:cNvPr>
          <p:cNvSpPr>
            <a:spLocks noGrp="1"/>
          </p:cNvSpPr>
          <p:nvPr>
            <p:ph type="ftr" sz="quarter" idx="11"/>
          </p:nvPr>
        </p:nvSpPr>
        <p:spPr/>
        <p:txBody>
          <a:bodyPr/>
          <a:lstStyle>
            <a:lvl1pPr>
              <a:defRPr sz="900"/>
            </a:lvl1pPr>
          </a:lstStyle>
          <a:p>
            <a:r>
              <a:rPr lang="cs-CZ"/>
              <a:t>CMSE 2021</a:t>
            </a:r>
          </a:p>
        </p:txBody>
      </p:sp>
      <p:sp>
        <p:nvSpPr>
          <p:cNvPr id="4" name="Zástupný symbol pro číslo snímku 3">
            <a:extLst>
              <a:ext uri="{FF2B5EF4-FFF2-40B4-BE49-F238E27FC236}">
                <a16:creationId xmlns:a16="http://schemas.microsoft.com/office/drawing/2014/main" id="{0B9EF4B6-1E03-4E32-9D8F-370AA3EFBCED}"/>
              </a:ext>
            </a:extLst>
          </p:cNvPr>
          <p:cNvSpPr>
            <a:spLocks noGrp="1"/>
          </p:cNvSpPr>
          <p:nvPr>
            <p:ph type="sldNum" sz="quarter" idx="12"/>
          </p:nvPr>
        </p:nvSpPr>
        <p:spPr/>
        <p:txBody>
          <a:bodyPr/>
          <a:lstStyle/>
          <a:p>
            <a:fld id="{87170177-53BE-4EA4-8CC9-5D64EAB74717}" type="slidenum">
              <a:rPr lang="cs-CZ" smtClean="0"/>
              <a:t>‹#›</a:t>
            </a:fld>
            <a:endParaRPr lang="cs-CZ"/>
          </a:p>
        </p:txBody>
      </p:sp>
      <p:sp>
        <p:nvSpPr>
          <p:cNvPr id="5" name="TextovéPole 4">
            <a:extLst>
              <a:ext uri="{FF2B5EF4-FFF2-40B4-BE49-F238E27FC236}">
                <a16:creationId xmlns:a16="http://schemas.microsoft.com/office/drawing/2014/main" id="{B5879D8A-7421-4ABC-8E35-CD7F67C05743}"/>
              </a:ext>
            </a:extLst>
          </p:cNvPr>
          <p:cNvSpPr txBox="1"/>
          <p:nvPr userDrawn="1"/>
        </p:nvSpPr>
        <p:spPr>
          <a:xfrm>
            <a:off x="703685" y="6431190"/>
            <a:ext cx="702436" cy="215444"/>
          </a:xfrm>
          <a:prstGeom prst="rect">
            <a:avLst/>
          </a:prstGeom>
          <a:noFill/>
        </p:spPr>
        <p:txBody>
          <a:bodyPr wrap="none" rtlCol="0">
            <a:spAutoFit/>
          </a:bodyPr>
          <a:lstStyle/>
          <a:p>
            <a:r>
              <a:rPr lang="en-GB" sz="800" dirty="0">
                <a:solidFill>
                  <a:schemeClr val="tx1">
                    <a:lumMod val="50000"/>
                    <a:lumOff val="50000"/>
                  </a:schemeClr>
                </a:solidFill>
              </a:rPr>
              <a:t>© EPCI 2021</a:t>
            </a:r>
            <a:endParaRPr lang="cs-CZ" sz="800" dirty="0">
              <a:solidFill>
                <a:schemeClr val="tx1">
                  <a:lumMod val="50000"/>
                  <a:lumOff val="50000"/>
                </a:schemeClr>
              </a:solidFill>
            </a:endParaRPr>
          </a:p>
        </p:txBody>
      </p:sp>
    </p:spTree>
    <p:extLst>
      <p:ext uri="{BB962C8B-B14F-4D97-AF65-F5344CB8AC3E}">
        <p14:creationId xmlns:p14="http://schemas.microsoft.com/office/powerpoint/2010/main" val="18852389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D78AB99-5689-4F7B-A588-431AF0934BDB}"/>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FE396D67-DC19-4199-8923-CDE650C997A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099A22DB-55AC-4EC9-9EE5-D06C0CA3C37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E76AC4C8-7FE2-4FF2-AE9A-2E9B86BC72DF}"/>
              </a:ext>
            </a:extLst>
          </p:cNvPr>
          <p:cNvSpPr>
            <a:spLocks noGrp="1"/>
          </p:cNvSpPr>
          <p:nvPr>
            <p:ph type="dt" sz="half" idx="10"/>
          </p:nvPr>
        </p:nvSpPr>
        <p:spPr/>
        <p:txBody>
          <a:bodyPr/>
          <a:lstStyle/>
          <a:p>
            <a:fld id="{BB4B6990-8DD6-453A-ACED-C5F07586C802}" type="datetime1">
              <a:rPr lang="cs-CZ" smtClean="0"/>
              <a:t>30. 3. 2021</a:t>
            </a:fld>
            <a:endParaRPr lang="cs-CZ"/>
          </a:p>
        </p:txBody>
      </p:sp>
      <p:sp>
        <p:nvSpPr>
          <p:cNvPr id="6" name="Zástupný symbol pro zápatí 5">
            <a:extLst>
              <a:ext uri="{FF2B5EF4-FFF2-40B4-BE49-F238E27FC236}">
                <a16:creationId xmlns:a16="http://schemas.microsoft.com/office/drawing/2014/main" id="{C8BFA762-3640-46BB-B58A-1E992234951B}"/>
              </a:ext>
            </a:extLst>
          </p:cNvPr>
          <p:cNvSpPr>
            <a:spLocks noGrp="1"/>
          </p:cNvSpPr>
          <p:nvPr>
            <p:ph type="ftr" sz="quarter" idx="11"/>
          </p:nvPr>
        </p:nvSpPr>
        <p:spPr/>
        <p:txBody>
          <a:bodyPr/>
          <a:lstStyle/>
          <a:p>
            <a:r>
              <a:rPr lang="cs-CZ"/>
              <a:t>CMSE 2021</a:t>
            </a:r>
          </a:p>
        </p:txBody>
      </p:sp>
      <p:sp>
        <p:nvSpPr>
          <p:cNvPr id="7" name="Zástupný symbol pro číslo snímku 6">
            <a:extLst>
              <a:ext uri="{FF2B5EF4-FFF2-40B4-BE49-F238E27FC236}">
                <a16:creationId xmlns:a16="http://schemas.microsoft.com/office/drawing/2014/main" id="{C88FE425-0E71-4FBC-97DD-051CDA3BDCDC}"/>
              </a:ext>
            </a:extLst>
          </p:cNvPr>
          <p:cNvSpPr>
            <a:spLocks noGrp="1"/>
          </p:cNvSpPr>
          <p:nvPr>
            <p:ph type="sldNum" sz="quarter" idx="12"/>
          </p:nvPr>
        </p:nvSpPr>
        <p:spPr/>
        <p:txBody>
          <a:bodyPr/>
          <a:lstStyle/>
          <a:p>
            <a:fld id="{87170177-53BE-4EA4-8CC9-5D64EAB74717}" type="slidenum">
              <a:rPr lang="cs-CZ" smtClean="0"/>
              <a:t>‹#›</a:t>
            </a:fld>
            <a:endParaRPr lang="cs-CZ"/>
          </a:p>
        </p:txBody>
      </p:sp>
    </p:spTree>
    <p:extLst>
      <p:ext uri="{BB962C8B-B14F-4D97-AF65-F5344CB8AC3E}">
        <p14:creationId xmlns:p14="http://schemas.microsoft.com/office/powerpoint/2010/main" val="2015692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2020F6A-6F10-481D-BFAC-8B653D921B72}"/>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C95A1894-E5D1-4633-952F-F700BC55D71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71E52F68-F9C4-41AE-A711-57CB446436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08AE5E3A-546D-4DD2-94FA-BF109F222573}"/>
              </a:ext>
            </a:extLst>
          </p:cNvPr>
          <p:cNvSpPr>
            <a:spLocks noGrp="1"/>
          </p:cNvSpPr>
          <p:nvPr>
            <p:ph type="dt" sz="half" idx="10"/>
          </p:nvPr>
        </p:nvSpPr>
        <p:spPr/>
        <p:txBody>
          <a:bodyPr/>
          <a:lstStyle/>
          <a:p>
            <a:fld id="{B632F720-08FE-43D2-82F2-8800BCC4B38E}" type="datetime1">
              <a:rPr lang="cs-CZ" smtClean="0"/>
              <a:t>30. 3. 2021</a:t>
            </a:fld>
            <a:endParaRPr lang="cs-CZ"/>
          </a:p>
        </p:txBody>
      </p:sp>
      <p:sp>
        <p:nvSpPr>
          <p:cNvPr id="6" name="Zástupný symbol pro zápatí 5">
            <a:extLst>
              <a:ext uri="{FF2B5EF4-FFF2-40B4-BE49-F238E27FC236}">
                <a16:creationId xmlns:a16="http://schemas.microsoft.com/office/drawing/2014/main" id="{AE52D8E9-BB33-460A-9D11-77041F050678}"/>
              </a:ext>
            </a:extLst>
          </p:cNvPr>
          <p:cNvSpPr>
            <a:spLocks noGrp="1"/>
          </p:cNvSpPr>
          <p:nvPr>
            <p:ph type="ftr" sz="quarter" idx="11"/>
          </p:nvPr>
        </p:nvSpPr>
        <p:spPr/>
        <p:txBody>
          <a:bodyPr/>
          <a:lstStyle/>
          <a:p>
            <a:r>
              <a:rPr lang="cs-CZ"/>
              <a:t>CMSE 2021</a:t>
            </a:r>
          </a:p>
        </p:txBody>
      </p:sp>
      <p:sp>
        <p:nvSpPr>
          <p:cNvPr id="7" name="Zástupný symbol pro číslo snímku 6">
            <a:extLst>
              <a:ext uri="{FF2B5EF4-FFF2-40B4-BE49-F238E27FC236}">
                <a16:creationId xmlns:a16="http://schemas.microsoft.com/office/drawing/2014/main" id="{B042E182-A8BE-44F0-985E-4E774009FC9E}"/>
              </a:ext>
            </a:extLst>
          </p:cNvPr>
          <p:cNvSpPr>
            <a:spLocks noGrp="1"/>
          </p:cNvSpPr>
          <p:nvPr>
            <p:ph type="sldNum" sz="quarter" idx="12"/>
          </p:nvPr>
        </p:nvSpPr>
        <p:spPr/>
        <p:txBody>
          <a:bodyPr/>
          <a:lstStyle/>
          <a:p>
            <a:fld id="{87170177-53BE-4EA4-8CC9-5D64EAB74717}" type="slidenum">
              <a:rPr lang="cs-CZ" smtClean="0"/>
              <a:t>‹#›</a:t>
            </a:fld>
            <a:endParaRPr lang="cs-CZ"/>
          </a:p>
        </p:txBody>
      </p:sp>
    </p:spTree>
    <p:extLst>
      <p:ext uri="{BB962C8B-B14F-4D97-AF65-F5344CB8AC3E}">
        <p14:creationId xmlns:p14="http://schemas.microsoft.com/office/powerpoint/2010/main" val="208707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7E7E7"/>
        </a:solidFill>
        <a:effectLst/>
      </p:bgPr>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58FA4AAA-CF78-4C77-8FAC-F3B648DF95F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E79260D8-AAFD-4AE8-9F4F-BBF41C6E534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B2BF7A91-C52F-4A6F-98FC-AC6465DA27E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A0B19CF-BCDF-4321-BC2E-583C93909134}" type="datetime1">
              <a:rPr lang="cs-CZ" smtClean="0"/>
              <a:t>30. 3. 2021</a:t>
            </a:fld>
            <a:endParaRPr lang="cs-CZ"/>
          </a:p>
        </p:txBody>
      </p:sp>
      <p:sp>
        <p:nvSpPr>
          <p:cNvPr id="5" name="Zástupný symbol pro zápatí 4">
            <a:extLst>
              <a:ext uri="{FF2B5EF4-FFF2-40B4-BE49-F238E27FC236}">
                <a16:creationId xmlns:a16="http://schemas.microsoft.com/office/drawing/2014/main" id="{25BE5177-F971-4D8F-8C38-71483611389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cs-CZ"/>
              <a:t>CMSE 2021</a:t>
            </a:r>
          </a:p>
        </p:txBody>
      </p:sp>
      <p:sp>
        <p:nvSpPr>
          <p:cNvPr id="6" name="Zástupný symbol pro číslo snímku 5">
            <a:extLst>
              <a:ext uri="{FF2B5EF4-FFF2-40B4-BE49-F238E27FC236}">
                <a16:creationId xmlns:a16="http://schemas.microsoft.com/office/drawing/2014/main" id="{277B897F-2D84-477F-AC0E-0ACF78EED72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170177-53BE-4EA4-8CC9-5D64EAB74717}" type="slidenum">
              <a:rPr lang="cs-CZ" smtClean="0"/>
              <a:t>‹#›</a:t>
            </a:fld>
            <a:endParaRPr lang="cs-CZ"/>
          </a:p>
        </p:txBody>
      </p:sp>
    </p:spTree>
    <p:extLst>
      <p:ext uri="{BB962C8B-B14F-4D97-AF65-F5344CB8AC3E}">
        <p14:creationId xmlns:p14="http://schemas.microsoft.com/office/powerpoint/2010/main" val="38018798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notesSlide" Target="../notesSlides/notesSlide1.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10.m4a"/><Relationship Id="rId1" Type="http://schemas.microsoft.com/office/2007/relationships/media" Target="../media/media10.m4a"/><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image" Target="../media/image5.png"/><Relationship Id="rId5" Type="http://schemas.openxmlformats.org/officeDocument/2006/relationships/image" Target="../media/image22.jpeg"/><Relationship Id="rId4" Type="http://schemas.openxmlformats.org/officeDocument/2006/relationships/image" Target="../media/image21.jp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12.m4a"/><Relationship Id="rId1" Type="http://schemas.microsoft.com/office/2007/relationships/media" Target="../media/media12.m4a"/><Relationship Id="rId5" Type="http://schemas.openxmlformats.org/officeDocument/2006/relationships/image" Target="../media/image5.png"/><Relationship Id="rId4" Type="http://schemas.openxmlformats.org/officeDocument/2006/relationships/image" Target="../media/image23.jpeg"/></Relationships>
</file>

<file path=ppt/slides/_rels/slide13.xml.rels><?xml version="1.0" encoding="UTF-8" standalone="yes"?>
<Relationships xmlns="http://schemas.openxmlformats.org/package/2006/relationships"><Relationship Id="rId3" Type="http://schemas.microsoft.com/office/2007/relationships/media" Target="../media/media13.m4a"/><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slideLayout" Target="../slideLayouts/slideLayout7.xml"/><Relationship Id="rId4" Type="http://schemas.openxmlformats.org/officeDocument/2006/relationships/audio" Target="../media/media13.m4a"/></Relationships>
</file>

<file path=ppt/slides/_rels/slide14.xml.rels><?xml version="1.0" encoding="UTF-8" standalone="yes"?>
<Relationships xmlns="http://schemas.openxmlformats.org/package/2006/relationships"><Relationship Id="rId3" Type="http://schemas.openxmlformats.org/officeDocument/2006/relationships/audio" Target="../media/media14.m4a"/><Relationship Id="rId2" Type="http://schemas.microsoft.com/office/2007/relationships/media" Target="../media/media14.m4a"/><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audio" Target="../media/media15.m4a"/><Relationship Id="rId2" Type="http://schemas.microsoft.com/office/2007/relationships/media" Target="../media/media15.m4a"/><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24.jpeg"/><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5.png"/><Relationship Id="rId2" Type="http://schemas.openxmlformats.org/officeDocument/2006/relationships/audio" Target="../media/media16.m4a"/><Relationship Id="rId1" Type="http://schemas.microsoft.com/office/2007/relationships/media" Target="../media/media16.m4a"/><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17.m4a"/><Relationship Id="rId1" Type="http://schemas.microsoft.com/office/2007/relationships/media" Target="../media/media17.m4a"/><Relationship Id="rId5" Type="http://schemas.openxmlformats.org/officeDocument/2006/relationships/image" Target="../media/image5.png"/><Relationship Id="rId4" Type="http://schemas.openxmlformats.org/officeDocument/2006/relationships/image" Target="../media/image28.jpe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18.m4a"/><Relationship Id="rId1" Type="http://schemas.microsoft.com/office/2007/relationships/media" Target="../media/media18.m4a"/><Relationship Id="rId5" Type="http://schemas.openxmlformats.org/officeDocument/2006/relationships/image" Target="../media/image5.png"/><Relationship Id="rId4" Type="http://schemas.openxmlformats.org/officeDocument/2006/relationships/image" Target="../media/image29.jpe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19.m4a"/><Relationship Id="rId1" Type="http://schemas.microsoft.com/office/2007/relationships/media" Target="../media/media19.m4a"/><Relationship Id="rId6" Type="http://schemas.openxmlformats.org/officeDocument/2006/relationships/image" Target="../media/image5.png"/><Relationship Id="rId5" Type="http://schemas.openxmlformats.org/officeDocument/2006/relationships/image" Target="../media/image31.jpeg"/><Relationship Id="rId4" Type="http://schemas.openxmlformats.org/officeDocument/2006/relationships/image" Target="../media/image30.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2.m4a"/><Relationship Id="rId1" Type="http://schemas.microsoft.com/office/2007/relationships/media" Target="../media/media2.m4a"/><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20.m4a"/><Relationship Id="rId1" Type="http://schemas.microsoft.com/office/2007/relationships/media" Target="../media/media20.m4a"/><Relationship Id="rId6" Type="http://schemas.openxmlformats.org/officeDocument/2006/relationships/image" Target="../media/image5.png"/><Relationship Id="rId5" Type="http://schemas.openxmlformats.org/officeDocument/2006/relationships/image" Target="../media/image33.jpeg"/><Relationship Id="rId4" Type="http://schemas.openxmlformats.org/officeDocument/2006/relationships/image" Target="../media/image32.jpe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21.m4a"/><Relationship Id="rId1" Type="http://schemas.microsoft.com/office/2007/relationships/media" Target="../media/media21.m4a"/><Relationship Id="rId4" Type="http://schemas.openxmlformats.org/officeDocument/2006/relationships/image" Target="../media/image5.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22.m4a"/><Relationship Id="rId1" Type="http://schemas.microsoft.com/office/2007/relationships/media" Target="../media/media22.m4a"/><Relationship Id="rId5" Type="http://schemas.openxmlformats.org/officeDocument/2006/relationships/image" Target="../media/image5.png"/><Relationship Id="rId4" Type="http://schemas.openxmlformats.org/officeDocument/2006/relationships/image" Target="../media/image1.png"/></Relationships>
</file>

<file path=ppt/slides/_rels/slide23.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slideLayout" Target="../slideLayouts/slideLayout2.xml"/><Relationship Id="rId7" Type="http://schemas.openxmlformats.org/officeDocument/2006/relationships/hyperlink" Target="https://www.linkedin.com/showcase/pcns-events/" TargetMode="External"/><Relationship Id="rId2" Type="http://schemas.openxmlformats.org/officeDocument/2006/relationships/audio" Target="../media/media23.m4a"/><Relationship Id="rId1" Type="http://schemas.microsoft.com/office/2007/relationships/media" Target="../media/media23.m4a"/><Relationship Id="rId6" Type="http://schemas.openxmlformats.org/officeDocument/2006/relationships/hyperlink" Target="http://www.passive-components.eu/" TargetMode="External"/><Relationship Id="rId11" Type="http://schemas.openxmlformats.org/officeDocument/2006/relationships/image" Target="../media/image5.png"/><Relationship Id="rId5" Type="http://schemas.openxmlformats.org/officeDocument/2006/relationships/hyperlink" Target="http://www.pcns.events/" TargetMode="External"/><Relationship Id="rId10" Type="http://schemas.openxmlformats.org/officeDocument/2006/relationships/image" Target="../media/image36.jpeg"/><Relationship Id="rId4" Type="http://schemas.openxmlformats.org/officeDocument/2006/relationships/image" Target="../media/image1.png"/><Relationship Id="rId9" Type="http://schemas.openxmlformats.org/officeDocument/2006/relationships/image" Target="../media/image35.jpeg"/></Relationships>
</file>

<file path=ppt/slides/_rels/slide24.xml.rels><?xml version="1.0" encoding="UTF-8" standalone="yes"?>
<Relationships xmlns="http://schemas.openxmlformats.org/package/2006/relationships"><Relationship Id="rId8" Type="http://schemas.openxmlformats.org/officeDocument/2006/relationships/hyperlink" Target="https://passive-components.eu/cots-automotive-capacitors-procurement-and-evaluation-case-study-for-sme-space-hardware-manufacturer-esa-esccon-2021-epci-report/" TargetMode="External"/><Relationship Id="rId3" Type="http://schemas.openxmlformats.org/officeDocument/2006/relationships/slideLayout" Target="../slideLayouts/slideLayout7.xml"/><Relationship Id="rId7" Type="http://schemas.openxmlformats.org/officeDocument/2006/relationships/image" Target="../media/image4.png"/><Relationship Id="rId2" Type="http://schemas.openxmlformats.org/officeDocument/2006/relationships/audio" Target="../media/media24.m4a"/><Relationship Id="rId1" Type="http://schemas.microsoft.com/office/2007/relationships/media" Target="../media/media24.m4a"/><Relationship Id="rId6" Type="http://schemas.openxmlformats.org/officeDocument/2006/relationships/image" Target="../media/image3.png"/><Relationship Id="rId5" Type="http://schemas.openxmlformats.org/officeDocument/2006/relationships/image" Target="../media/image2.png"/><Relationship Id="rId10" Type="http://schemas.openxmlformats.org/officeDocument/2006/relationships/image" Target="../media/image5.png"/><Relationship Id="rId4" Type="http://schemas.openxmlformats.org/officeDocument/2006/relationships/image" Target="../media/image1.png"/><Relationship Id="rId9" Type="http://schemas.openxmlformats.org/officeDocument/2006/relationships/image" Target="../media/image37.png"/></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4.png"/><Relationship Id="rId3" Type="http://schemas.openxmlformats.org/officeDocument/2006/relationships/slideLayout" Target="../slideLayouts/slideLayout7.xml"/><Relationship Id="rId7" Type="http://schemas.openxmlformats.org/officeDocument/2006/relationships/image" Target="../media/image9.png"/><Relationship Id="rId12" Type="http://schemas.openxmlformats.org/officeDocument/2006/relationships/hyperlink" Target="http://www.passive-components.eu/" TargetMode="External"/><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5.png"/><Relationship Id="rId10" Type="http://schemas.openxmlformats.org/officeDocument/2006/relationships/image" Target="../media/image12.jpe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5.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5.png"/><Relationship Id="rId5" Type="http://schemas.openxmlformats.org/officeDocument/2006/relationships/image" Target="../media/image17.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image" Target="../media/image5.png"/><Relationship Id="rId5" Type="http://schemas.openxmlformats.org/officeDocument/2006/relationships/image" Target="../media/image19.jpeg"/><Relationship Id="rId4" Type="http://schemas.openxmlformats.org/officeDocument/2006/relationships/image" Target="../media/image18.jpe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6.m4a"/><Relationship Id="rId1" Type="http://schemas.microsoft.com/office/2007/relationships/media" Target="../media/media6.m4a"/><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7.m4a"/><Relationship Id="rId1" Type="http://schemas.microsoft.com/office/2007/relationships/media" Target="../media/media7.m4a"/><Relationship Id="rId5" Type="http://schemas.openxmlformats.org/officeDocument/2006/relationships/image" Target="../media/image5.png"/><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8.m4a"/><Relationship Id="rId1" Type="http://schemas.microsoft.com/office/2007/relationships/media" Target="../media/media8.m4a"/><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9.m4a"/><Relationship Id="rId1" Type="http://schemas.microsoft.com/office/2007/relationships/media" Target="../media/media9.m4a"/><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ovéPole 2">
            <a:extLst>
              <a:ext uri="{FF2B5EF4-FFF2-40B4-BE49-F238E27FC236}">
                <a16:creationId xmlns:a16="http://schemas.microsoft.com/office/drawing/2014/main" id="{ADAF24F0-E32E-4CEC-AC13-F220F6AFA7F4}"/>
              </a:ext>
            </a:extLst>
          </p:cNvPr>
          <p:cNvSpPr txBox="1"/>
          <p:nvPr/>
        </p:nvSpPr>
        <p:spPr>
          <a:xfrm>
            <a:off x="8179476" y="5442882"/>
            <a:ext cx="3443956" cy="800219"/>
          </a:xfrm>
          <a:prstGeom prst="rect">
            <a:avLst/>
          </a:prstGeom>
          <a:noFill/>
        </p:spPr>
        <p:txBody>
          <a:bodyPr wrap="none" rtlCol="0">
            <a:spAutoFit/>
          </a:bodyPr>
          <a:lstStyle/>
          <a:p>
            <a:r>
              <a:rPr lang="en-GB" dirty="0"/>
              <a:t>By Tomas Zednicek</a:t>
            </a:r>
            <a:r>
              <a:rPr lang="cs-CZ" dirty="0"/>
              <a:t> Ph.D.</a:t>
            </a:r>
            <a:endParaRPr lang="en-GB" dirty="0"/>
          </a:p>
          <a:p>
            <a:r>
              <a:rPr lang="en-GB" sz="1400" dirty="0"/>
              <a:t>EPCI European Passive Components Institute</a:t>
            </a:r>
          </a:p>
          <a:p>
            <a:r>
              <a:rPr lang="en-GB" sz="1400" dirty="0"/>
              <a:t>www.passive-components.eu</a:t>
            </a:r>
            <a:endParaRPr lang="cs-CZ" sz="1400" dirty="0"/>
          </a:p>
        </p:txBody>
      </p:sp>
      <p:grpSp>
        <p:nvGrpSpPr>
          <p:cNvPr id="4" name="Gruppieren 7">
            <a:extLst>
              <a:ext uri="{FF2B5EF4-FFF2-40B4-BE49-F238E27FC236}">
                <a16:creationId xmlns:a16="http://schemas.microsoft.com/office/drawing/2014/main" id="{ADE1BACA-3C31-4839-AA53-2BFB0413ABCD}"/>
              </a:ext>
            </a:extLst>
          </p:cNvPr>
          <p:cNvGrpSpPr/>
          <p:nvPr/>
        </p:nvGrpSpPr>
        <p:grpSpPr>
          <a:xfrm flipV="1">
            <a:off x="5286720" y="658146"/>
            <a:ext cx="5076181" cy="248403"/>
            <a:chOff x="-15876" y="2994005"/>
            <a:chExt cx="12891701" cy="766736"/>
          </a:xfrm>
          <a:solidFill>
            <a:schemeClr val="accent1"/>
          </a:solidFill>
        </p:grpSpPr>
        <p:sp>
          <p:nvSpPr>
            <p:cNvPr id="5" name="Freeform 7">
              <a:extLst>
                <a:ext uri="{FF2B5EF4-FFF2-40B4-BE49-F238E27FC236}">
                  <a16:creationId xmlns:a16="http://schemas.microsoft.com/office/drawing/2014/main" id="{5C6181E9-7BF8-43B3-AA4C-543CA18D738E}"/>
                </a:ext>
              </a:extLst>
            </p:cNvPr>
            <p:cNvSpPr>
              <a:spLocks/>
            </p:cNvSpPr>
            <p:nvPr/>
          </p:nvSpPr>
          <p:spPr bwMode="auto">
            <a:xfrm>
              <a:off x="-15876" y="3140102"/>
              <a:ext cx="9767637" cy="474541"/>
            </a:xfrm>
            <a:custGeom>
              <a:avLst/>
              <a:gdLst>
                <a:gd name="T0" fmla="*/ 0 w 2212"/>
                <a:gd name="T1" fmla="*/ 46 h 207"/>
                <a:gd name="T2" fmla="*/ 0 w 2212"/>
                <a:gd name="T3" fmla="*/ 58 h 207"/>
                <a:gd name="T4" fmla="*/ 281 w 2212"/>
                <a:gd name="T5" fmla="*/ 32 h 207"/>
                <a:gd name="T6" fmla="*/ 738 w 2212"/>
                <a:gd name="T7" fmla="*/ 110 h 207"/>
                <a:gd name="T8" fmla="*/ 1095 w 2212"/>
                <a:gd name="T9" fmla="*/ 179 h 207"/>
                <a:gd name="T10" fmla="*/ 1460 w 2212"/>
                <a:gd name="T11" fmla="*/ 202 h 207"/>
                <a:gd name="T12" fmla="*/ 1924 w 2212"/>
                <a:gd name="T13" fmla="*/ 137 h 207"/>
                <a:gd name="T14" fmla="*/ 2212 w 2212"/>
                <a:gd name="T15" fmla="*/ 30 h 207"/>
                <a:gd name="T16" fmla="*/ 1916 w 2212"/>
                <a:gd name="T17" fmla="*/ 107 h 207"/>
                <a:gd name="T18" fmla="*/ 1459 w 2212"/>
                <a:gd name="T19" fmla="*/ 171 h 207"/>
                <a:gd name="T20" fmla="*/ 1100 w 2212"/>
                <a:gd name="T21" fmla="*/ 148 h 207"/>
                <a:gd name="T22" fmla="*/ 744 w 2212"/>
                <a:gd name="T23" fmla="*/ 80 h 207"/>
                <a:gd name="T24" fmla="*/ 282 w 2212"/>
                <a:gd name="T25" fmla="*/ 1 h 207"/>
                <a:gd name="T26" fmla="*/ 0 w 2212"/>
                <a:gd name="T27" fmla="*/ 46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2" h="207">
                  <a:moveTo>
                    <a:pt x="0" y="46"/>
                  </a:moveTo>
                  <a:cubicBezTo>
                    <a:pt x="0" y="58"/>
                    <a:pt x="0" y="58"/>
                    <a:pt x="0" y="58"/>
                  </a:cubicBezTo>
                  <a:cubicBezTo>
                    <a:pt x="105" y="39"/>
                    <a:pt x="156" y="30"/>
                    <a:pt x="281" y="32"/>
                  </a:cubicBezTo>
                  <a:cubicBezTo>
                    <a:pt x="416" y="40"/>
                    <a:pt x="551" y="73"/>
                    <a:pt x="738" y="110"/>
                  </a:cubicBezTo>
                  <a:cubicBezTo>
                    <a:pt x="924" y="149"/>
                    <a:pt x="1095" y="179"/>
                    <a:pt x="1095" y="179"/>
                  </a:cubicBezTo>
                  <a:cubicBezTo>
                    <a:pt x="1095" y="179"/>
                    <a:pt x="1268" y="207"/>
                    <a:pt x="1460" y="202"/>
                  </a:cubicBezTo>
                  <a:cubicBezTo>
                    <a:pt x="1652" y="202"/>
                    <a:pt x="1858" y="156"/>
                    <a:pt x="1924" y="137"/>
                  </a:cubicBezTo>
                  <a:cubicBezTo>
                    <a:pt x="2048" y="104"/>
                    <a:pt x="2115" y="76"/>
                    <a:pt x="2212" y="30"/>
                  </a:cubicBezTo>
                  <a:cubicBezTo>
                    <a:pt x="2108" y="57"/>
                    <a:pt x="2039" y="75"/>
                    <a:pt x="1916" y="107"/>
                  </a:cubicBezTo>
                  <a:cubicBezTo>
                    <a:pt x="1850" y="126"/>
                    <a:pt x="1648" y="171"/>
                    <a:pt x="1459" y="171"/>
                  </a:cubicBezTo>
                  <a:cubicBezTo>
                    <a:pt x="1270" y="176"/>
                    <a:pt x="1099" y="148"/>
                    <a:pt x="1100" y="148"/>
                  </a:cubicBezTo>
                  <a:cubicBezTo>
                    <a:pt x="1100" y="148"/>
                    <a:pt x="930" y="118"/>
                    <a:pt x="744" y="80"/>
                  </a:cubicBezTo>
                  <a:cubicBezTo>
                    <a:pt x="558" y="43"/>
                    <a:pt x="388" y="6"/>
                    <a:pt x="282" y="1"/>
                  </a:cubicBezTo>
                  <a:cubicBezTo>
                    <a:pt x="189" y="0"/>
                    <a:pt x="75" y="9"/>
                    <a:pt x="0"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78" tIns="34290" rIns="68578" bIns="34290"/>
            <a:lstStyle/>
            <a:p>
              <a:pPr>
                <a:defRPr/>
              </a:pPr>
              <a:endParaRPr lang="en-US" sz="1351" dirty="0">
                <a:solidFill>
                  <a:prstClr val="black"/>
                </a:solidFill>
              </a:endParaRPr>
            </a:p>
          </p:txBody>
        </p:sp>
        <p:sp>
          <p:nvSpPr>
            <p:cNvPr id="6" name="Freeform 8">
              <a:extLst>
                <a:ext uri="{FF2B5EF4-FFF2-40B4-BE49-F238E27FC236}">
                  <a16:creationId xmlns:a16="http://schemas.microsoft.com/office/drawing/2014/main" id="{75BA676A-429F-46E8-ADED-6AEC188ADF56}"/>
                </a:ext>
              </a:extLst>
            </p:cNvPr>
            <p:cNvSpPr>
              <a:spLocks/>
            </p:cNvSpPr>
            <p:nvPr/>
          </p:nvSpPr>
          <p:spPr bwMode="auto">
            <a:xfrm>
              <a:off x="-15875" y="2994005"/>
              <a:ext cx="12891700" cy="766736"/>
            </a:xfrm>
            <a:custGeom>
              <a:avLst/>
              <a:gdLst>
                <a:gd name="T0" fmla="*/ 0 w 3260"/>
                <a:gd name="T1" fmla="*/ 181 h 257"/>
                <a:gd name="T2" fmla="*/ 0 w 3260"/>
                <a:gd name="T3" fmla="*/ 195 h 257"/>
                <a:gd name="T4" fmla="*/ 441 w 3260"/>
                <a:gd name="T5" fmla="*/ 134 h 257"/>
                <a:gd name="T6" fmla="*/ 1106 w 3260"/>
                <a:gd name="T7" fmla="*/ 44 h 257"/>
                <a:gd name="T8" fmla="*/ 1629 w 3260"/>
                <a:gd name="T9" fmla="*/ 64 h 257"/>
                <a:gd name="T10" fmla="*/ 2148 w 3260"/>
                <a:gd name="T11" fmla="*/ 136 h 257"/>
                <a:gd name="T12" fmla="*/ 2816 w 3260"/>
                <a:gd name="T13" fmla="*/ 240 h 257"/>
                <a:gd name="T14" fmla="*/ 3260 w 3260"/>
                <a:gd name="T15" fmla="*/ 221 h 257"/>
                <a:gd name="T16" fmla="*/ 2819 w 3260"/>
                <a:gd name="T17" fmla="*/ 209 h 257"/>
                <a:gd name="T18" fmla="*/ 2153 w 3260"/>
                <a:gd name="T19" fmla="*/ 105 h 257"/>
                <a:gd name="T20" fmla="*/ 1632 w 3260"/>
                <a:gd name="T21" fmla="*/ 33 h 257"/>
                <a:gd name="T22" fmla="*/ 1105 w 3260"/>
                <a:gd name="T23" fmla="*/ 12 h 257"/>
                <a:gd name="T24" fmla="*/ 434 w 3260"/>
                <a:gd name="T25" fmla="*/ 104 h 257"/>
                <a:gd name="T26" fmla="*/ 0 w 3260"/>
                <a:gd name="T27" fmla="*/ 181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60" h="257">
                  <a:moveTo>
                    <a:pt x="0" y="181"/>
                  </a:moveTo>
                  <a:cubicBezTo>
                    <a:pt x="0" y="195"/>
                    <a:pt x="0" y="195"/>
                    <a:pt x="0" y="195"/>
                  </a:cubicBezTo>
                  <a:cubicBezTo>
                    <a:pt x="114" y="194"/>
                    <a:pt x="295" y="166"/>
                    <a:pt x="441" y="134"/>
                  </a:cubicBezTo>
                  <a:cubicBezTo>
                    <a:pt x="538" y="110"/>
                    <a:pt x="832" y="51"/>
                    <a:pt x="1106" y="44"/>
                  </a:cubicBezTo>
                  <a:cubicBezTo>
                    <a:pt x="1380" y="32"/>
                    <a:pt x="1629" y="65"/>
                    <a:pt x="1629" y="64"/>
                  </a:cubicBezTo>
                  <a:cubicBezTo>
                    <a:pt x="1629" y="63"/>
                    <a:pt x="1877" y="91"/>
                    <a:pt x="2148" y="136"/>
                  </a:cubicBezTo>
                  <a:cubicBezTo>
                    <a:pt x="2420" y="177"/>
                    <a:pt x="2715" y="233"/>
                    <a:pt x="2816" y="240"/>
                  </a:cubicBezTo>
                  <a:cubicBezTo>
                    <a:pt x="3001" y="257"/>
                    <a:pt x="3108" y="250"/>
                    <a:pt x="3260" y="221"/>
                  </a:cubicBezTo>
                  <a:cubicBezTo>
                    <a:pt x="3106" y="230"/>
                    <a:pt x="3002" y="226"/>
                    <a:pt x="2819" y="209"/>
                  </a:cubicBezTo>
                  <a:cubicBezTo>
                    <a:pt x="2720" y="202"/>
                    <a:pt x="2426" y="147"/>
                    <a:pt x="2153" y="105"/>
                  </a:cubicBezTo>
                  <a:cubicBezTo>
                    <a:pt x="1882" y="60"/>
                    <a:pt x="1632" y="32"/>
                    <a:pt x="1632" y="33"/>
                  </a:cubicBezTo>
                  <a:cubicBezTo>
                    <a:pt x="1632" y="34"/>
                    <a:pt x="1382" y="0"/>
                    <a:pt x="1105" y="12"/>
                  </a:cubicBezTo>
                  <a:cubicBezTo>
                    <a:pt x="828" y="19"/>
                    <a:pt x="531" y="79"/>
                    <a:pt x="434" y="104"/>
                  </a:cubicBezTo>
                  <a:cubicBezTo>
                    <a:pt x="255" y="143"/>
                    <a:pt x="154" y="169"/>
                    <a:pt x="0" y="181"/>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78" tIns="34290" rIns="68578" bIns="34290"/>
            <a:lstStyle/>
            <a:p>
              <a:pPr>
                <a:defRPr/>
              </a:pPr>
              <a:endParaRPr lang="en-US" sz="1351" dirty="0">
                <a:solidFill>
                  <a:prstClr val="black"/>
                </a:solidFill>
              </a:endParaRPr>
            </a:p>
          </p:txBody>
        </p:sp>
      </p:grpSp>
      <p:sp>
        <p:nvSpPr>
          <p:cNvPr id="7" name="Titel 1">
            <a:extLst>
              <a:ext uri="{FF2B5EF4-FFF2-40B4-BE49-F238E27FC236}">
                <a16:creationId xmlns:a16="http://schemas.microsoft.com/office/drawing/2014/main" id="{2E394DB6-5D6A-4BBC-B532-FA8697AE3A2F}"/>
              </a:ext>
            </a:extLst>
          </p:cNvPr>
          <p:cNvSpPr txBox="1">
            <a:spLocks/>
          </p:cNvSpPr>
          <p:nvPr/>
        </p:nvSpPr>
        <p:spPr>
          <a:xfrm>
            <a:off x="5537318" y="106631"/>
            <a:ext cx="6452991" cy="46232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cs-CZ" altLang="en-US" sz="2400" dirty="0"/>
              <a:t>EPCI </a:t>
            </a:r>
            <a:r>
              <a:rPr lang="en-GB" altLang="en-US" sz="2400" dirty="0"/>
              <a:t>European Passive Components </a:t>
            </a:r>
            <a:r>
              <a:rPr lang="cs-CZ" altLang="en-US" sz="2400" dirty="0"/>
              <a:t>Institut</a:t>
            </a:r>
            <a:r>
              <a:rPr lang="en-GB" altLang="en-US" sz="2400" dirty="0"/>
              <a:t>e</a:t>
            </a:r>
          </a:p>
        </p:txBody>
      </p:sp>
      <p:pic>
        <p:nvPicPr>
          <p:cNvPr id="8" name="Obrázek 7">
            <a:extLst>
              <a:ext uri="{FF2B5EF4-FFF2-40B4-BE49-F238E27FC236}">
                <a16:creationId xmlns:a16="http://schemas.microsoft.com/office/drawing/2014/main" id="{1B24A5F9-A25A-41BF-B4B5-C3764A72C63B}"/>
              </a:ext>
            </a:extLst>
          </p:cNvPr>
          <p:cNvPicPr>
            <a:picLocks noChangeAspect="1"/>
          </p:cNvPicPr>
          <p:nvPr/>
        </p:nvPicPr>
        <p:blipFill>
          <a:blip r:embed="rId5"/>
          <a:stretch>
            <a:fillRect/>
          </a:stretch>
        </p:blipFill>
        <p:spPr>
          <a:xfrm>
            <a:off x="11153167" y="65287"/>
            <a:ext cx="837142" cy="837142"/>
          </a:xfrm>
          <a:prstGeom prst="rect">
            <a:avLst/>
          </a:prstGeom>
        </p:spPr>
      </p:pic>
      <p:pic>
        <p:nvPicPr>
          <p:cNvPr id="9" name="Picture 15">
            <a:extLst>
              <a:ext uri="{FF2B5EF4-FFF2-40B4-BE49-F238E27FC236}">
                <a16:creationId xmlns:a16="http://schemas.microsoft.com/office/drawing/2014/main" id="{0119732F-8B4F-447F-8401-C16705DD9BA9}"/>
              </a:ext>
            </a:extLst>
          </p:cNvPr>
          <p:cNvPicPr>
            <a:picLocks noChangeAspect="1"/>
          </p:cNvPicPr>
          <p:nvPr/>
        </p:nvPicPr>
        <p:blipFill>
          <a:blip r:embed="rId6" cstate="hqprint">
            <a:extLst>
              <a:ext uri="{28A0092B-C50C-407E-A947-70E740481C1C}">
                <a14:useLocalDpi xmlns:a14="http://schemas.microsoft.com/office/drawing/2010/main" val="0"/>
              </a:ext>
            </a:extLst>
          </a:blip>
          <a:srcRect b="51009"/>
          <a:stretch>
            <a:fillRect/>
          </a:stretch>
        </p:blipFill>
        <p:spPr bwMode="auto">
          <a:xfrm>
            <a:off x="2927273" y="204818"/>
            <a:ext cx="640386" cy="298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Obrázek 11">
            <a:extLst>
              <a:ext uri="{FF2B5EF4-FFF2-40B4-BE49-F238E27FC236}">
                <a16:creationId xmlns:a16="http://schemas.microsoft.com/office/drawing/2014/main" id="{66FE582C-E0B5-4B87-BF26-56080F26112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11834" y="232611"/>
            <a:ext cx="607025" cy="273305"/>
          </a:xfrm>
          <a:prstGeom prst="rect">
            <a:avLst/>
          </a:prstGeom>
        </p:spPr>
      </p:pic>
      <p:cxnSp>
        <p:nvCxnSpPr>
          <p:cNvPr id="13" name="Přímá spojnice 12">
            <a:extLst>
              <a:ext uri="{FF2B5EF4-FFF2-40B4-BE49-F238E27FC236}">
                <a16:creationId xmlns:a16="http://schemas.microsoft.com/office/drawing/2014/main" id="{13ECE204-ECE2-480F-AD83-58D5476D4C38}"/>
              </a:ext>
            </a:extLst>
          </p:cNvPr>
          <p:cNvCxnSpPr/>
          <p:nvPr/>
        </p:nvCxnSpPr>
        <p:spPr>
          <a:xfrm>
            <a:off x="2917545" y="560003"/>
            <a:ext cx="219158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Title 3">
            <a:extLst>
              <a:ext uri="{FF2B5EF4-FFF2-40B4-BE49-F238E27FC236}">
                <a16:creationId xmlns:a16="http://schemas.microsoft.com/office/drawing/2014/main" id="{1A6DBD90-3D88-49D8-AE72-C914F82C10D1}"/>
              </a:ext>
            </a:extLst>
          </p:cNvPr>
          <p:cNvSpPr txBox="1">
            <a:spLocks/>
          </p:cNvSpPr>
          <p:nvPr/>
        </p:nvSpPr>
        <p:spPr>
          <a:xfrm>
            <a:off x="745482" y="1510215"/>
            <a:ext cx="10171153" cy="179036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endParaRPr lang="cs-CZ" sz="3600" b="0" i="0" u="none" strike="noStrike" baseline="0" dirty="0">
              <a:solidFill>
                <a:srgbClr val="0070C0"/>
              </a:solidFill>
              <a:latin typeface="Calibri" panose="020F0502020204030204" pitchFamily="34" charset="0"/>
            </a:endParaRPr>
          </a:p>
          <a:p>
            <a:r>
              <a:rPr lang="en-US" sz="3600" b="1" i="0" u="none" strike="noStrike" baseline="0" dirty="0">
                <a:solidFill>
                  <a:srgbClr val="0070C0"/>
                </a:solidFill>
                <a:latin typeface="Calibri" panose="020F0502020204030204" pitchFamily="34" charset="0"/>
              </a:rPr>
              <a:t>COTS Automotive Capacitors Procurement and Evaluation Case Study for SME Space Hardware Manufacturer </a:t>
            </a:r>
          </a:p>
          <a:p>
            <a:endParaRPr lang="en-US" sz="3600" dirty="0">
              <a:solidFill>
                <a:srgbClr val="0070C0"/>
              </a:solidFill>
              <a:latin typeface="Calibri" panose="020F0502020204030204" pitchFamily="34" charset="0"/>
            </a:endParaRPr>
          </a:p>
          <a:p>
            <a:r>
              <a:rPr lang="en-US" sz="3600" i="0" u="none" strike="noStrike" baseline="0" dirty="0">
                <a:solidFill>
                  <a:schemeClr val="tx1">
                    <a:lumMod val="75000"/>
                    <a:lumOff val="25000"/>
                  </a:schemeClr>
                </a:solidFill>
                <a:latin typeface="Calibri" panose="020F0502020204030204" pitchFamily="34" charset="0"/>
              </a:rPr>
              <a:t>EPCI – ESA Case Study</a:t>
            </a:r>
            <a:r>
              <a:rPr lang="en-US" sz="3600" b="0" i="0" u="none" strike="noStrike" baseline="0" dirty="0">
                <a:solidFill>
                  <a:srgbClr val="0070C0"/>
                </a:solidFill>
                <a:latin typeface="Calibri" panose="020F0502020204030204" pitchFamily="34" charset="0"/>
              </a:rPr>
              <a:t>	</a:t>
            </a:r>
          </a:p>
        </p:txBody>
      </p:sp>
      <p:pic>
        <p:nvPicPr>
          <p:cNvPr id="18" name="Obrázek 17">
            <a:extLst>
              <a:ext uri="{FF2B5EF4-FFF2-40B4-BE49-F238E27FC236}">
                <a16:creationId xmlns:a16="http://schemas.microsoft.com/office/drawing/2014/main" id="{D27CF6C5-7677-458A-817D-78C5A6DA887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45750" y="224025"/>
            <a:ext cx="725054" cy="307947"/>
          </a:xfrm>
          <a:prstGeom prst="rect">
            <a:avLst/>
          </a:prstGeom>
        </p:spPr>
      </p:pic>
      <p:sp>
        <p:nvSpPr>
          <p:cNvPr id="20" name="TextovéPole 19">
            <a:extLst>
              <a:ext uri="{FF2B5EF4-FFF2-40B4-BE49-F238E27FC236}">
                <a16:creationId xmlns:a16="http://schemas.microsoft.com/office/drawing/2014/main" id="{6BEF1D1A-EB2D-4792-ADDA-2CA5586952EC}"/>
              </a:ext>
            </a:extLst>
          </p:cNvPr>
          <p:cNvSpPr txBox="1"/>
          <p:nvPr/>
        </p:nvSpPr>
        <p:spPr>
          <a:xfrm>
            <a:off x="2811635" y="531972"/>
            <a:ext cx="1269899" cy="253916"/>
          </a:xfrm>
          <a:prstGeom prst="rect">
            <a:avLst/>
          </a:prstGeom>
          <a:noFill/>
        </p:spPr>
        <p:txBody>
          <a:bodyPr wrap="none" rtlCol="0">
            <a:spAutoFit/>
          </a:bodyPr>
          <a:lstStyle/>
          <a:p>
            <a:r>
              <a:rPr lang="en-GB" sz="1050" dirty="0"/>
              <a:t>EPCI Gold Members</a:t>
            </a:r>
          </a:p>
        </p:txBody>
      </p:sp>
      <p:sp>
        <p:nvSpPr>
          <p:cNvPr id="21" name="TextovéPole 20">
            <a:extLst>
              <a:ext uri="{FF2B5EF4-FFF2-40B4-BE49-F238E27FC236}">
                <a16:creationId xmlns:a16="http://schemas.microsoft.com/office/drawing/2014/main" id="{47F8BAE7-94C6-4573-8C6F-E579D619C8EB}"/>
              </a:ext>
            </a:extLst>
          </p:cNvPr>
          <p:cNvSpPr txBox="1"/>
          <p:nvPr/>
        </p:nvSpPr>
        <p:spPr>
          <a:xfrm>
            <a:off x="766947" y="4590487"/>
            <a:ext cx="2273379" cy="646331"/>
          </a:xfrm>
          <a:prstGeom prst="rect">
            <a:avLst/>
          </a:prstGeom>
          <a:noFill/>
        </p:spPr>
        <p:txBody>
          <a:bodyPr wrap="none" rtlCol="0">
            <a:spAutoFit/>
          </a:bodyPr>
          <a:lstStyle/>
          <a:p>
            <a:r>
              <a:rPr lang="en-GB" b="1" dirty="0">
                <a:solidFill>
                  <a:schemeClr val="tx1">
                    <a:lumMod val="75000"/>
                    <a:lumOff val="25000"/>
                  </a:schemeClr>
                </a:solidFill>
              </a:rPr>
              <a:t>CMSE</a:t>
            </a:r>
            <a:r>
              <a:rPr lang="cs-CZ" b="1" dirty="0">
                <a:solidFill>
                  <a:schemeClr val="tx1">
                    <a:lumMod val="75000"/>
                    <a:lumOff val="25000"/>
                  </a:schemeClr>
                </a:solidFill>
              </a:rPr>
              <a:t>, </a:t>
            </a:r>
            <a:r>
              <a:rPr lang="en-GB" b="1" dirty="0">
                <a:solidFill>
                  <a:schemeClr val="tx1">
                    <a:lumMod val="75000"/>
                    <a:lumOff val="25000"/>
                  </a:schemeClr>
                </a:solidFill>
              </a:rPr>
              <a:t>22</a:t>
            </a:r>
            <a:r>
              <a:rPr lang="en-GB" b="1" baseline="30000" dirty="0">
                <a:solidFill>
                  <a:schemeClr val="tx1">
                    <a:lumMod val="75000"/>
                    <a:lumOff val="25000"/>
                  </a:schemeClr>
                </a:solidFill>
              </a:rPr>
              <a:t>nd</a:t>
            </a:r>
            <a:r>
              <a:rPr lang="en-GB" b="1" dirty="0">
                <a:solidFill>
                  <a:schemeClr val="tx1">
                    <a:lumMod val="75000"/>
                    <a:lumOff val="25000"/>
                  </a:schemeClr>
                </a:solidFill>
              </a:rPr>
              <a:t> April </a:t>
            </a:r>
            <a:r>
              <a:rPr lang="cs-CZ" b="1" dirty="0">
                <a:solidFill>
                  <a:schemeClr val="tx1">
                    <a:lumMod val="75000"/>
                    <a:lumOff val="25000"/>
                  </a:schemeClr>
                </a:solidFill>
              </a:rPr>
              <a:t>2021</a:t>
            </a:r>
          </a:p>
          <a:p>
            <a:endParaRPr lang="cs-CZ" b="1" dirty="0">
              <a:solidFill>
                <a:schemeClr val="tx1">
                  <a:lumMod val="75000"/>
                  <a:lumOff val="25000"/>
                </a:schemeClr>
              </a:solidFill>
            </a:endParaRPr>
          </a:p>
        </p:txBody>
      </p:sp>
      <p:pic>
        <p:nvPicPr>
          <p:cNvPr id="2" name="Zvuk 1">
            <a:hlinkClick r:id="" action="ppaction://media"/>
            <a:extLst>
              <a:ext uri="{FF2B5EF4-FFF2-40B4-BE49-F238E27FC236}">
                <a16:creationId xmlns:a16="http://schemas.microsoft.com/office/drawing/2014/main" id="{6535B375-06D6-49C4-B6E8-7C96380EA733}"/>
              </a:ext>
            </a:extLst>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3046749683"/>
      </p:ext>
    </p:extLst>
  </p:cSld>
  <p:clrMapOvr>
    <a:masterClrMapping/>
  </p:clrMapOvr>
  <mc:AlternateContent xmlns:mc="http://schemas.openxmlformats.org/markup-compatibility/2006">
    <mc:Choice xmlns:p14="http://schemas.microsoft.com/office/powerpoint/2010/main" Requires="p14">
      <p:transition spd="slow" p14:dur="2000" advTm="33215"/>
    </mc:Choice>
    <mc:Fallback>
      <p:transition spd="slow" advTm="3321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extLst>
    <p:ext uri="{3A86A75C-4F4B-4683-9AE1-C65F6400EC91}">
      <p14:laserTraceLst xmlns:p14="http://schemas.microsoft.com/office/powerpoint/2010/main">
        <p14:tracePtLst>
          <p14:tracePt t="32080" x="307975" y="239713"/>
          <p14:tracePt t="32081" x="376238" y="228600"/>
          <p14:tracePt t="32084" x="644525" y="160338"/>
          <p14:tracePt t="32087" x="884238" y="104775"/>
          <p14:tracePt t="32090" x="1185863" y="28575"/>
          <p14:tracePt t="32090" x="1270000" y="12700"/>
          <p14:tracePt t="32181" x="9745663" y="23813"/>
          <p14:tracePt t="32182" x="9785350" y="39688"/>
          <p14:tracePt t="32182" x="9829800" y="55563"/>
          <p14:tracePt t="32184" x="9866313" y="71438"/>
          <p14:tracePt t="32186" x="9958388" y="104775"/>
          <p14:tracePt t="32187" x="9985375" y="115888"/>
          <p14:tracePt t="32188" x="10021888" y="128588"/>
          <p14:tracePt t="32189" x="10053638" y="144463"/>
          <p14:tracePt t="32190" x="10098088" y="163513"/>
          <p14:tracePt t="32190" x="10137775" y="176213"/>
          <p14:tracePt t="32191" x="10166350" y="196850"/>
          <p14:tracePt t="32193" x="10193338" y="204788"/>
          <p14:tracePt t="32194" x="10218738" y="215900"/>
          <p14:tracePt t="32194" x="10245725" y="236538"/>
          <p14:tracePt t="32195" x="10290175" y="252413"/>
          <p14:tracePt t="32197" x="10313988" y="271463"/>
          <p14:tracePt t="32198" x="10342563" y="284163"/>
          <p14:tracePt t="32199" x="10366375" y="300038"/>
          <p14:tracePt t="32200" x="10402888" y="315913"/>
          <p14:tracePt t="32201" x="10434638" y="336550"/>
          <p14:tracePt t="32203" x="10479088" y="363538"/>
          <p14:tracePt t="32203" x="10498138" y="381000"/>
          <p14:tracePt t="32204" x="10529888" y="396875"/>
          <p14:tracePt t="32205" x="10558463" y="415925"/>
          <p14:tracePt t="32206" x="10582275" y="431800"/>
          <p14:tracePt t="32207" x="10594975" y="447675"/>
          <p14:tracePt t="32208" x="10618788" y="465138"/>
          <p14:tracePt t="32210" x="10634663" y="481013"/>
          <p14:tracePt t="32210" x="10663238" y="504825"/>
          <p14:tracePt t="32211" x="10679113" y="515938"/>
          <p14:tracePt t="32213" x="10698163" y="536575"/>
          <p14:tracePt t="32214" x="10714038" y="547688"/>
          <p14:tracePt t="32215" x="10729913" y="565150"/>
          <p14:tracePt t="32216" x="10766425" y="604838"/>
          <p14:tracePt t="32218" x="10782300" y="615950"/>
          <p14:tracePt t="32221" x="10829925" y="668338"/>
          <p14:tracePt t="32222" x="10842625" y="684213"/>
          <p14:tracePt t="32222" x="10858500" y="700088"/>
          <p14:tracePt t="32224" x="10866438" y="712788"/>
          <p14:tracePt t="32225" x="10882313" y="728663"/>
          <p14:tracePt t="32225" x="10898188" y="749300"/>
          <p14:tracePt t="32226" x="10910888" y="765175"/>
          <p14:tracePt t="32227" x="10922000" y="781050"/>
          <p14:tracePt t="32229" x="10934700" y="800100"/>
          <p14:tracePt t="32234" x="10990263" y="881063"/>
          <p14:tracePt t="32235" x="10998200" y="892175"/>
          <p14:tracePt t="32238" x="11034713" y="944563"/>
          <p14:tracePt t="32239" x="11039475" y="957263"/>
          <p14:tracePt t="32240" x="11047413" y="973138"/>
          <p14:tracePt t="32240" x="11058525" y="984250"/>
          <p14:tracePt t="32241" x="11066463" y="1004888"/>
          <p14:tracePt t="32242" x="11079163" y="1028700"/>
          <p14:tracePt t="32243" x="11082338" y="1041400"/>
          <p14:tracePt t="32244" x="11090275" y="1057275"/>
          <p14:tracePt t="32245" x="11098213" y="1068388"/>
          <p14:tracePt t="32246" x="11102975" y="1089025"/>
          <p14:tracePt t="32247" x="11110913" y="1104900"/>
          <p14:tracePt t="32248" x="11115675" y="1117600"/>
          <p14:tracePt t="32250" x="11123613" y="1136650"/>
          <p14:tracePt t="32250" x="11126788" y="1152525"/>
          <p14:tracePt t="32252" x="11131550" y="1173163"/>
          <p14:tracePt t="32253" x="11134725" y="1184275"/>
          <p14:tracePt t="32254" x="11139488" y="1201738"/>
          <p14:tracePt t="32255" x="11147425" y="1212850"/>
          <p14:tracePt t="32255" x="11150600" y="1228725"/>
          <p14:tracePt t="32256" x="11150600" y="1249363"/>
          <p14:tracePt t="32257" x="11155363" y="1260475"/>
          <p14:tracePt t="32258" x="11155363" y="1273175"/>
          <p14:tracePt t="32259" x="11155363" y="1289050"/>
          <p14:tracePt t="32261" x="11158538" y="1301750"/>
          <p14:tracePt t="32261" x="11158538" y="1320800"/>
          <p14:tracePt t="32262" x="11158538" y="1336675"/>
          <p14:tracePt t="32263" x="11158538" y="1349375"/>
          <p14:tracePt t="32264" x="11158538" y="1360488"/>
          <p14:tracePt t="32266" x="11158538" y="1377950"/>
          <p14:tracePt t="32267" x="11158538" y="1385888"/>
          <p14:tracePt t="32268" x="11158538" y="1417638"/>
          <p14:tracePt t="32270" x="11158538" y="1433513"/>
          <p14:tracePt t="32270" x="11158538" y="1444625"/>
          <p14:tracePt t="32272" x="11158538" y="1465263"/>
          <p14:tracePt t="32272" x="11158538" y="1477963"/>
          <p14:tracePt t="32273" x="11158538" y="1493838"/>
          <p14:tracePt t="32274" x="11158538" y="1504950"/>
          <p14:tracePt t="32275" x="11158538" y="1517650"/>
          <p14:tracePt t="32276" x="11158538" y="1533525"/>
          <p14:tracePt t="32277" x="11155363" y="1552575"/>
          <p14:tracePt t="32278" x="11155363" y="1565275"/>
          <p14:tracePt t="32280" x="11150600" y="1573213"/>
          <p14:tracePt t="32280" x="11150600" y="1589088"/>
          <p14:tracePt t="32281" x="11142663" y="1601788"/>
          <p14:tracePt t="32283" x="11139488" y="1617663"/>
          <p14:tracePt t="32284" x="11139488" y="1628775"/>
          <p14:tracePt t="32285" x="11139488" y="1636713"/>
          <p14:tracePt t="32286" x="11134725" y="1649413"/>
          <p14:tracePt t="32287" x="11134725" y="1657350"/>
          <p14:tracePt t="32288" x="11134725" y="1670050"/>
          <p14:tracePt t="32288" x="11134725" y="1677988"/>
          <p14:tracePt t="32289" x="11131550" y="1685925"/>
          <p14:tracePt t="32290" x="11131550" y="1693863"/>
          <p14:tracePt t="32291" x="11131550" y="1697038"/>
          <p14:tracePt t="32293" x="11131550" y="1704975"/>
          <p14:tracePt t="32294" x="11131550" y="1712913"/>
          <p14:tracePt t="32294" x="11131550" y="1717675"/>
          <p14:tracePt t="32295" x="11131550" y="1725613"/>
          <p14:tracePt t="32296" x="11131550" y="1728788"/>
          <p14:tracePt t="32297" x="11131550" y="1733550"/>
          <p14:tracePt t="32298" x="11131550" y="1738313"/>
          <p14:tracePt t="32300" x="11131550" y="1746250"/>
          <p14:tracePt t="32302" x="11131550" y="1749425"/>
          <p14:tracePt t="32304" x="11131550" y="1754188"/>
          <p14:tracePt t="32305" x="11131550" y="1757363"/>
          <p14:tracePt t="32307" x="11131550" y="1762125"/>
          <p14:tracePt t="32309" x="11131550" y="1765300"/>
          <p14:tracePt t="32310" x="11131550" y="1770063"/>
          <p14:tracePt t="32312" x="11126788" y="1773238"/>
          <p14:tracePt t="32314" x="11126788" y="1778000"/>
          <p14:tracePt t="32317" x="11126788" y="1781175"/>
          <p14:tracePt t="32319" x="11123613" y="1785938"/>
          <p14:tracePt t="32320" x="11123613" y="1789113"/>
          <p14:tracePt t="32320" x="11123613" y="1793875"/>
          <p14:tracePt t="32321" x="11118850" y="1793875"/>
          <p14:tracePt t="32322" x="11118850" y="1797050"/>
          <p14:tracePt t="32323" x="11118850" y="1804988"/>
          <p14:tracePt t="32324" x="11115675" y="1809750"/>
          <p14:tracePt t="32325" x="11115675" y="1812925"/>
          <p14:tracePt t="32326" x="11110913" y="1817688"/>
          <p14:tracePt t="32327" x="11110913" y="1825625"/>
          <p14:tracePt t="32328" x="11106150" y="1833563"/>
          <p14:tracePt t="32329" x="11102975" y="1841500"/>
          <p14:tracePt t="32330" x="11098213" y="1846263"/>
          <p14:tracePt t="32332" x="11098213" y="1854200"/>
          <p14:tracePt t="32333" x="11095038" y="1862138"/>
          <p14:tracePt t="32335" x="11082338" y="1893888"/>
          <p14:tracePt t="32336" x="11079163" y="1901825"/>
          <p14:tracePt t="32337" x="11071225" y="1912938"/>
          <p14:tracePt t="32338" x="11063288" y="1925638"/>
          <p14:tracePt t="32339" x="11058525" y="1941513"/>
          <p14:tracePt t="32340" x="11050588" y="1949450"/>
          <p14:tracePt t="32342" x="11047413" y="1962150"/>
          <p14:tracePt t="32342" x="11034713" y="1973263"/>
          <p14:tracePt t="32343" x="11031538" y="1985963"/>
          <p14:tracePt t="32344" x="11023600" y="2001838"/>
          <p14:tracePt t="32345" x="11018838" y="2009775"/>
          <p14:tracePt t="32346" x="11006138" y="2025650"/>
          <p14:tracePt t="32347" x="11002963" y="2038350"/>
          <p14:tracePt t="32349" x="10987088" y="2057400"/>
          <p14:tracePt t="32350" x="10979150" y="2070100"/>
          <p14:tracePt t="32351" x="10974388" y="2081213"/>
          <p14:tracePt t="32352" x="10963275" y="2097088"/>
          <p14:tracePt t="32354" x="10939463" y="2133600"/>
          <p14:tracePt t="32355" x="10931525" y="2146300"/>
          <p14:tracePt t="32355" x="10914063" y="2162175"/>
          <p14:tracePt t="32356" x="10902950" y="2181225"/>
          <p14:tracePt t="32358" x="10895013" y="2198688"/>
          <p14:tracePt t="32358" x="10887075" y="2209800"/>
          <p14:tracePt t="32359" x="10863263" y="2238375"/>
          <p14:tracePt t="32360" x="10850563" y="2262188"/>
          <p14:tracePt t="32361" x="10842625" y="2273300"/>
          <p14:tracePt t="32362" x="10826750" y="2298700"/>
          <p14:tracePt t="32363" x="10814050" y="2317750"/>
          <p14:tracePt t="32364" x="10790238" y="2349500"/>
          <p14:tracePt t="32366" x="10782300" y="2370138"/>
          <p14:tracePt t="32367" x="10771188" y="2390775"/>
          <p14:tracePt t="32368" x="10755313" y="2414588"/>
          <p14:tracePt t="32369" x="10750550" y="2425700"/>
          <p14:tracePt t="32371" x="10726738" y="2474913"/>
          <p14:tracePt t="32371" x="10726738" y="2486025"/>
          <p14:tracePt t="32372" x="10721975" y="2501900"/>
          <p14:tracePt t="32373" x="10721975" y="2514600"/>
          <p14:tracePt t="32374" x="10721975" y="2530475"/>
          <p14:tracePt t="32375" x="10721975" y="2541588"/>
          <p14:tracePt t="32376" x="10721975" y="2549525"/>
          <p14:tracePt t="32377" x="10726738" y="2562225"/>
          <p14:tracePt t="32378" x="10729913" y="2570163"/>
          <p14:tracePt t="32380" x="10737850" y="2582863"/>
          <p14:tracePt t="32380" x="10742613" y="2590800"/>
          <p14:tracePt t="32381" x="10745788" y="2601913"/>
          <p14:tracePt t="32383" x="10750550" y="2609850"/>
          <p14:tracePt t="32383" x="10758488" y="2617788"/>
          <p14:tracePt t="32385" x="10766425" y="2625725"/>
          <p14:tracePt t="32386" x="10779125" y="2630488"/>
          <p14:tracePt t="32387" x="10787063" y="2641600"/>
          <p14:tracePt t="32387" x="10790238" y="2646363"/>
          <p14:tracePt t="32388" x="10798175" y="2654300"/>
          <p14:tracePt t="32389" x="10810875" y="2662238"/>
          <p14:tracePt t="32390" x="10814050" y="2667000"/>
          <p14:tracePt t="32391" x="10821988" y="2674938"/>
          <p14:tracePt t="32392" x="10834688" y="2678113"/>
          <p14:tracePt t="32393" x="10842625" y="2682875"/>
          <p14:tracePt t="32394" x="10850563" y="2686050"/>
          <p14:tracePt t="32395" x="10858500" y="2690813"/>
          <p14:tracePt t="32396" x="10866438" y="2701925"/>
          <p14:tracePt t="32397" x="10879138" y="2706688"/>
          <p14:tracePt t="32398" x="10887075" y="2709863"/>
          <p14:tracePt t="32400" x="10895013" y="2714625"/>
          <p14:tracePt t="32401" x="10902950" y="2717800"/>
          <p14:tracePt t="32402" x="10910888" y="2722563"/>
          <p14:tracePt t="32404" x="10934700" y="2730500"/>
          <p14:tracePt t="32405" x="10942638" y="2738438"/>
          <p14:tracePt t="32405" x="10958513" y="2741613"/>
          <p14:tracePt t="32406" x="10966450" y="2746375"/>
          <p14:tracePt t="32407" x="10974388" y="2751138"/>
          <p14:tracePt t="32408" x="10990263" y="2754313"/>
          <p14:tracePt t="32409" x="10998200" y="2759075"/>
          <p14:tracePt t="32410" x="11010900" y="2770188"/>
          <p14:tracePt t="32411" x="11026775" y="2774950"/>
          <p14:tracePt t="32413" x="11034713" y="2778125"/>
          <p14:tracePt t="32413" x="11047413" y="2778125"/>
          <p14:tracePt t="32414" x="11058525" y="2782888"/>
          <p14:tracePt t="32416" x="11079163" y="2786063"/>
          <p14:tracePt t="32417" x="11087100" y="2790825"/>
          <p14:tracePt t="32418" x="11098213" y="2794000"/>
          <p14:tracePt t="32419" x="11106150" y="2798763"/>
          <p14:tracePt t="32420" x="11123613" y="2806700"/>
          <p14:tracePt t="32421" x="11134725" y="2806700"/>
          <p14:tracePt t="32421" x="11147425" y="2809875"/>
          <p14:tracePt t="32422" x="11158538" y="2809875"/>
          <p14:tracePt t="32423" x="11166475" y="2809875"/>
          <p14:tracePt t="32424" x="11182350" y="2814638"/>
          <p14:tracePt t="32425" x="11195050" y="2814638"/>
          <p14:tracePt t="32426" x="11202988" y="2817813"/>
          <p14:tracePt t="32427" x="11210925" y="2817813"/>
          <p14:tracePt t="32428" x="11226800" y="2817813"/>
          <p14:tracePt t="32429" x="11234738" y="2822575"/>
          <p14:tracePt t="32430" x="11242675" y="2822575"/>
          <p14:tracePt t="32431" x="11255375" y="2822575"/>
          <p14:tracePt t="32433" x="11263313" y="2822575"/>
          <p14:tracePt t="32434" x="11271250" y="2825750"/>
          <p14:tracePt t="32435" x="11282363" y="2825750"/>
          <p14:tracePt t="32436" x="11295063" y="2825750"/>
          <p14:tracePt t="32436" x="11303000" y="2825750"/>
          <p14:tracePt t="32438" x="11310938" y="2825750"/>
          <p14:tracePt t="32439" x="11318875" y="2825750"/>
          <p14:tracePt t="32439" x="11323638" y="2825750"/>
          <p14:tracePt t="32440" x="11331575" y="2830513"/>
          <p14:tracePt t="32441" x="11342688" y="2830513"/>
          <p14:tracePt t="32442" x="11350625" y="2830513"/>
          <p14:tracePt t="32444" x="11363325" y="2830513"/>
          <p14:tracePt t="32445" x="11379200" y="2830513"/>
          <p14:tracePt t="32447" x="11387138" y="2830513"/>
          <p14:tracePt t="32448" x="11399838" y="2833688"/>
          <p14:tracePt t="32450" x="11407775" y="2833688"/>
          <p14:tracePt t="32452" x="11423650" y="2833688"/>
          <p14:tracePt t="32452" x="11431588" y="2833688"/>
          <p14:tracePt t="32454" x="11439525" y="2833688"/>
          <p14:tracePt t="32455" x="11447463" y="2833688"/>
          <p14:tracePt t="32455" x="11455400" y="2833688"/>
          <p14:tracePt t="32456" x="11463338" y="2833688"/>
          <p14:tracePt t="32457" x="11471275" y="2833688"/>
          <p14:tracePt t="32458" x="11479213" y="2833688"/>
          <p14:tracePt t="32460" x="11491913" y="2833688"/>
          <p14:tracePt t="32461" x="11503025" y="2838450"/>
          <p14:tracePt t="32461" x="11510963" y="2838450"/>
          <p14:tracePt t="32462" x="11518900" y="2838450"/>
          <p14:tracePt t="32464" x="11531600" y="2838450"/>
          <p14:tracePt t="32464" x="11539538" y="2838450"/>
          <p14:tracePt t="32466" x="11547475" y="2838450"/>
          <p14:tracePt t="32467" x="11563350" y="2838450"/>
          <p14:tracePt t="32468" x="11571288" y="2838450"/>
          <p14:tracePt t="32468" x="11579225" y="2843213"/>
          <p14:tracePt t="32469" x="11587163" y="2843213"/>
          <p14:tracePt t="32471" x="11595100" y="2843213"/>
          <p14:tracePt t="32471" x="11607800" y="2851150"/>
          <p14:tracePt t="32472" x="11615738" y="2851150"/>
          <p14:tracePt t="32474" x="11623675" y="2851150"/>
          <p14:tracePt t="32475" x="11634788" y="2854325"/>
          <p14:tracePt t="32476" x="11642725" y="2854325"/>
          <p14:tracePt t="32476" x="11655425" y="2859088"/>
          <p14:tracePt t="32477" x="11671300" y="2859088"/>
          <p14:tracePt t="32478" x="11679238" y="2859088"/>
          <p14:tracePt t="32479" x="11687175" y="2862263"/>
          <p14:tracePt t="32480" x="11695113" y="2862263"/>
          <p14:tracePt t="32481" x="11707813" y="2867025"/>
          <p14:tracePt t="32483" x="11715750" y="2867025"/>
          <p14:tracePt t="32484" x="11726863" y="2870200"/>
          <p14:tracePt t="32484" x="11734800" y="2870200"/>
          <p14:tracePt t="32486" x="11739563" y="2874963"/>
          <p14:tracePt t="32486" x="11747500" y="2874963"/>
          <p14:tracePt t="32487" x="11760200" y="2874963"/>
          <p14:tracePt t="32488" x="11768138" y="2878138"/>
          <p14:tracePt t="32489" x="11776075" y="2878138"/>
          <p14:tracePt t="32491" x="11784013" y="2882900"/>
          <p14:tracePt t="32491" x="11791950" y="2882900"/>
          <p14:tracePt t="32492" x="11799888" y="2882900"/>
          <p14:tracePt t="32493" x="11811000" y="2886075"/>
          <p14:tracePt t="32494" x="11818938" y="2886075"/>
          <p14:tracePt t="32495" x="11823700" y="2886075"/>
          <p14:tracePt t="32496" x="11831638" y="2890838"/>
          <p14:tracePt t="32497" x="11836400" y="2890838"/>
          <p14:tracePt t="32499" x="11844338" y="2894013"/>
          <p14:tracePt t="32502" x="11855450" y="2898775"/>
          <p14:tracePt t="32502" x="11863388" y="2898775"/>
          <p14:tracePt t="32504" x="11868150" y="2901950"/>
          <p14:tracePt t="32504" x="11871325" y="2901950"/>
          <p14:tracePt t="32505" x="11879263" y="2906713"/>
          <p14:tracePt t="32506" x="11884025" y="2906713"/>
          <p14:tracePt t="32507" x="11887200" y="2909888"/>
          <p14:tracePt t="32508" x="11891963" y="2909888"/>
          <p14:tracePt t="32509" x="11895138" y="2909888"/>
          <p14:tracePt t="32510" x="11899900" y="2914650"/>
          <p14:tracePt t="32511" x="11903075" y="2914650"/>
          <p14:tracePt t="32512" x="11911013" y="2917825"/>
          <p14:tracePt t="32515" x="11915775" y="2922588"/>
          <p14:tracePt t="32516" x="11918950" y="2927350"/>
          <p14:tracePt t="32517" x="11928475" y="2927350"/>
          <p14:tracePt t="32518" x="11931650" y="2930525"/>
          <p14:tracePt t="32519" x="11936413" y="2935288"/>
          <p14:tracePt t="32520" x="11939588" y="2935288"/>
          <p14:tracePt t="32520" x="11944350" y="2938463"/>
          <p14:tracePt t="32522" x="11947525" y="2943225"/>
          <p14:tracePt t="32523" x="11955463" y="2943225"/>
          <p14:tracePt t="32523" x="11960225" y="2951163"/>
          <p14:tracePt t="32524" x="11963400" y="2951163"/>
          <p14:tracePt t="32525" x="11971338" y="2954338"/>
          <p14:tracePt t="32526" x="11976100" y="2959100"/>
          <p14:tracePt t="32527" x="11979275" y="2962275"/>
          <p14:tracePt t="32529" x="11987213" y="2970213"/>
          <p14:tracePt t="32530" x="11987213" y="2974975"/>
          <p14:tracePt t="32531" x="11991975" y="2974975"/>
          <p14:tracePt t="32532" x="11995150" y="2978150"/>
          <p14:tracePt t="32533" x="12003088" y="2982913"/>
          <p14:tracePt t="32533" x="12007850" y="2986088"/>
          <p14:tracePt t="32536" x="12020550" y="2994025"/>
          <p14:tracePt t="32536" x="12023725" y="2998788"/>
          <p14:tracePt t="32539" x="12036425" y="3009900"/>
          <p14:tracePt t="32540" x="12039600" y="3014663"/>
          <p14:tracePt t="32540" x="12047538" y="3019425"/>
          <p14:tracePt t="32541" x="12052300" y="3022600"/>
          <p14:tracePt t="32542" x="12055475" y="3030538"/>
          <p14:tracePt t="32544" x="12063413" y="3035300"/>
          <p14:tracePt t="32545" x="12068175" y="3043238"/>
          <p14:tracePt t="32545" x="12071350" y="3046413"/>
          <p14:tracePt t="32546" x="12079288" y="3051175"/>
          <p14:tracePt t="32547" x="12084050" y="3054350"/>
          <p14:tracePt t="32548" x="12087225" y="3059113"/>
          <p14:tracePt t="32550" x="12095163" y="3067050"/>
          <p14:tracePt t="32551" x="12099925" y="3070225"/>
          <p14:tracePt t="32553" x="12115800" y="3086100"/>
          <p14:tracePt t="32554" x="12120563" y="3090863"/>
          <p14:tracePt t="32555" x="12120563" y="3094038"/>
          <p14:tracePt t="32557" x="12123738" y="3098800"/>
          <p14:tracePt t="32558" x="12131675" y="3101975"/>
          <p14:tracePt t="32560" x="12136438" y="3114675"/>
          <p14:tracePt t="32560" x="12139613" y="3114675"/>
          <p14:tracePt t="32561" x="12144375" y="3119438"/>
          <p14:tracePt t="32562" x="12147550" y="3122613"/>
          <p14:tracePt t="32563" x="12152313" y="3130550"/>
          <p14:tracePt t="32564" x="12160250" y="3135313"/>
          <p14:tracePt t="32566" x="12163425" y="3138488"/>
          <p14:tracePt t="32567" x="12163425" y="3146425"/>
          <p14:tracePt t="32568" x="12168188" y="3151188"/>
          <p14:tracePt t="32570" x="12179300" y="3162300"/>
          <p14:tracePt t="32571" x="12184063" y="3167063"/>
          <p14:tracePt t="32572" x="12187238" y="3175000"/>
        </p14:tracePtLst>
      </p14:laserTraceLst>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E87DDF46-B07A-4183-A6C4-5CFC46E95960}"/>
              </a:ext>
            </a:extLst>
          </p:cNvPr>
          <p:cNvSpPr>
            <a:spLocks noGrp="1"/>
          </p:cNvSpPr>
          <p:nvPr>
            <p:ph type="sldNum" sz="quarter" idx="12"/>
          </p:nvPr>
        </p:nvSpPr>
        <p:spPr/>
        <p:txBody>
          <a:bodyPr/>
          <a:lstStyle/>
          <a:p>
            <a:fld id="{87170177-53BE-4EA4-8CC9-5D64EAB74717}" type="slidenum">
              <a:rPr lang="cs-CZ" sz="900" smtClean="0"/>
              <a:t>10</a:t>
            </a:fld>
            <a:endParaRPr lang="cs-CZ" sz="900" dirty="0"/>
          </a:p>
        </p:txBody>
      </p:sp>
      <p:sp>
        <p:nvSpPr>
          <p:cNvPr id="4" name="Rectangle 94">
            <a:extLst>
              <a:ext uri="{FF2B5EF4-FFF2-40B4-BE49-F238E27FC236}">
                <a16:creationId xmlns:a16="http://schemas.microsoft.com/office/drawing/2014/main" id="{32C0964D-8390-4CE7-85AE-760E74072C20}"/>
              </a:ext>
            </a:extLst>
          </p:cNvPr>
          <p:cNvSpPr/>
          <p:nvPr/>
        </p:nvSpPr>
        <p:spPr>
          <a:xfrm>
            <a:off x="0" y="-17702"/>
            <a:ext cx="12192001" cy="10800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82">
            <a:extLst>
              <a:ext uri="{FF2B5EF4-FFF2-40B4-BE49-F238E27FC236}">
                <a16:creationId xmlns:a16="http://schemas.microsoft.com/office/drawing/2014/main" id="{D0E75087-D62C-461B-B63C-582B2042EDFC}"/>
              </a:ext>
            </a:extLst>
          </p:cNvPr>
          <p:cNvSpPr txBox="1"/>
          <p:nvPr/>
        </p:nvSpPr>
        <p:spPr>
          <a:xfrm>
            <a:off x="304263" y="200887"/>
            <a:ext cx="11583472" cy="584775"/>
          </a:xfrm>
          <a:prstGeom prst="rect">
            <a:avLst/>
          </a:prstGeom>
          <a:noFill/>
        </p:spPr>
        <p:txBody>
          <a:bodyPr wrap="square" rtlCol="0">
            <a:spAutoFit/>
          </a:bodyPr>
          <a:lstStyle/>
          <a:p>
            <a:r>
              <a:rPr lang="cs-CZ" sz="3200" b="1" dirty="0" err="1">
                <a:solidFill>
                  <a:schemeClr val="bg2"/>
                </a:solidFill>
                <a:latin typeface="+mj-lt"/>
              </a:rPr>
              <a:t>Procurement</a:t>
            </a:r>
            <a:r>
              <a:rPr lang="cs-CZ" sz="3200" b="1" dirty="0">
                <a:solidFill>
                  <a:schemeClr val="bg2"/>
                </a:solidFill>
                <a:latin typeface="+mj-lt"/>
              </a:rPr>
              <a:t> </a:t>
            </a:r>
            <a:r>
              <a:rPr lang="en-GB" sz="3200" b="1" dirty="0">
                <a:solidFill>
                  <a:schemeClr val="bg2"/>
                </a:solidFill>
                <a:latin typeface="+mj-lt"/>
              </a:rPr>
              <a:t>&amp; Purchasing</a:t>
            </a:r>
            <a:endParaRPr lang="en-US" sz="3200" dirty="0">
              <a:solidFill>
                <a:schemeClr val="tx2"/>
              </a:solidFill>
            </a:endParaRPr>
          </a:p>
        </p:txBody>
      </p:sp>
      <p:sp>
        <p:nvSpPr>
          <p:cNvPr id="8" name="TextovéPole 7">
            <a:extLst>
              <a:ext uri="{FF2B5EF4-FFF2-40B4-BE49-F238E27FC236}">
                <a16:creationId xmlns:a16="http://schemas.microsoft.com/office/drawing/2014/main" id="{60F9672A-58D6-4EEB-8577-2D9CD44D60FD}"/>
              </a:ext>
            </a:extLst>
          </p:cNvPr>
          <p:cNvSpPr txBox="1"/>
          <p:nvPr/>
        </p:nvSpPr>
        <p:spPr>
          <a:xfrm>
            <a:off x="8890480" y="554648"/>
            <a:ext cx="3149388" cy="369332"/>
          </a:xfrm>
          <a:prstGeom prst="rect">
            <a:avLst/>
          </a:prstGeom>
          <a:noFill/>
        </p:spPr>
        <p:txBody>
          <a:bodyPr wrap="none" rtlCol="0">
            <a:spAutoFit/>
          </a:bodyPr>
          <a:lstStyle/>
          <a:p>
            <a:r>
              <a:rPr lang="en-GB" b="1" dirty="0">
                <a:solidFill>
                  <a:schemeClr val="bg1">
                    <a:lumMod val="85000"/>
                  </a:schemeClr>
                </a:solidFill>
              </a:rPr>
              <a:t>Summary &amp; Recommendations</a:t>
            </a:r>
            <a:endParaRPr lang="cs-CZ" b="1" dirty="0">
              <a:solidFill>
                <a:schemeClr val="bg1">
                  <a:lumMod val="85000"/>
                </a:schemeClr>
              </a:solidFill>
            </a:endParaRPr>
          </a:p>
        </p:txBody>
      </p:sp>
      <p:sp>
        <p:nvSpPr>
          <p:cNvPr id="15" name="TextovéPole 14">
            <a:extLst>
              <a:ext uri="{FF2B5EF4-FFF2-40B4-BE49-F238E27FC236}">
                <a16:creationId xmlns:a16="http://schemas.microsoft.com/office/drawing/2014/main" id="{351A13C3-8C54-43C0-8A39-49034ECFE253}"/>
              </a:ext>
            </a:extLst>
          </p:cNvPr>
          <p:cNvSpPr txBox="1"/>
          <p:nvPr/>
        </p:nvSpPr>
        <p:spPr>
          <a:xfrm>
            <a:off x="253284" y="1209425"/>
            <a:ext cx="11685430" cy="5324535"/>
          </a:xfrm>
          <a:prstGeom prst="rect">
            <a:avLst/>
          </a:prstGeom>
          <a:noFill/>
        </p:spPr>
        <p:txBody>
          <a:bodyPr wrap="square">
            <a:spAutoFit/>
          </a:bodyPr>
          <a:lstStyle/>
          <a:p>
            <a:pPr marL="285750" indent="-285750">
              <a:buFont typeface="Arial" panose="020B0604020202020204" pitchFamily="34" charset="0"/>
              <a:buChar char="•"/>
            </a:pPr>
            <a:r>
              <a:rPr lang="en-US" b="1" dirty="0"/>
              <a:t>Manufacturers are not willing in general to support orders for small, non-modular quantities </a:t>
            </a:r>
            <a:r>
              <a:rPr lang="en-US" dirty="0"/>
              <a:t>on automotive parts as a direct business (in difference to space grade component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dirty="0"/>
              <a:t>On the other hand, they can be interested to discuss use of their parts in space to get a space heritage of commercial automotive parts (in current market conditions) and in this case to provide extra support (technical assistance, direct shipment of parts and free sample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b="1" dirty="0"/>
              <a:t>The small quantities </a:t>
            </a:r>
            <a:r>
              <a:rPr lang="en-US" dirty="0"/>
              <a:t>can be ordered from </a:t>
            </a:r>
            <a:r>
              <a:rPr lang="en-US" b="1" dirty="0"/>
              <a:t>all distributors </a:t>
            </a:r>
            <a:r>
              <a:rPr lang="en-US" dirty="0"/>
              <a:t>within </a:t>
            </a:r>
            <a:r>
              <a:rPr lang="en-US" b="1" dirty="0"/>
              <a:t>3 workdays </a:t>
            </a:r>
            <a:r>
              <a:rPr lang="en-US" dirty="0"/>
              <a:t>with clear identification of automotive parts. Attention must be paid for ordering of small quantities of </a:t>
            </a:r>
            <a:r>
              <a:rPr lang="en-US" b="1" dirty="0"/>
              <a:t>MSL sensitive parts </a:t>
            </a:r>
            <a:r>
              <a:rPr lang="en-US" dirty="0"/>
              <a:t>as the distributor has to open/cut/re-tape the originally sealed dry pack components inhouse OR full reel purchase has to be made.</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b="1" dirty="0"/>
              <a:t>AECQ-200 documentation </a:t>
            </a:r>
            <a:r>
              <a:rPr lang="en-US" dirty="0"/>
              <a:t>is not generally published/downloadable, but </a:t>
            </a:r>
            <a:r>
              <a:rPr lang="en-US" b="1" dirty="0"/>
              <a:t>available upon request mostly free of charge</a:t>
            </a:r>
            <a:r>
              <a:rPr lang="en-US" dirty="0"/>
              <a:t>. The documentation control may however raise some concerns on issue control, a direct request to the manufacturer through their dedicated contact on their website/online is also sometimes possible.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b="1" dirty="0"/>
              <a:t>For technical support and asking for specific data it may be better to contact the original manufacturers directly </a:t>
            </a:r>
            <a:r>
              <a:rPr lang="en-US" dirty="0"/>
              <a:t>- if they have a dedicated contact on their web or even live chat support.</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b="1" dirty="0"/>
              <a:t>COTS</a:t>
            </a:r>
            <a:r>
              <a:rPr lang="en-US" dirty="0"/>
              <a:t> dedicated parts are available with long details ~ </a:t>
            </a:r>
            <a:r>
              <a:rPr lang="en-US" b="1" dirty="0"/>
              <a:t>17week</a:t>
            </a:r>
            <a:r>
              <a:rPr lang="en-US" dirty="0"/>
              <a:t>s, but clear communication, traceability and </a:t>
            </a:r>
            <a:r>
              <a:rPr lang="en-US" b="1" dirty="0"/>
              <a:t>certificate</a:t>
            </a:r>
            <a:r>
              <a:rPr lang="en-US" dirty="0"/>
              <a:t> </a:t>
            </a:r>
          </a:p>
          <a:p>
            <a:pPr marL="285750" indent="-285750">
              <a:buFont typeface="Arial" panose="020B0604020202020204" pitchFamily="34" charset="0"/>
              <a:buChar char="•"/>
            </a:pPr>
            <a:endParaRPr lang="en-US" dirty="0"/>
          </a:p>
        </p:txBody>
      </p:sp>
      <p:sp>
        <p:nvSpPr>
          <p:cNvPr id="10" name="Zástupný symbol pro zápatí 2">
            <a:extLst>
              <a:ext uri="{FF2B5EF4-FFF2-40B4-BE49-F238E27FC236}">
                <a16:creationId xmlns:a16="http://schemas.microsoft.com/office/drawing/2014/main" id="{3B74D116-C194-491D-8FBA-4830BB49B985}"/>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2" name="Zvuk 1">
            <a:hlinkClick r:id="" action="ppaction://media"/>
            <a:extLst>
              <a:ext uri="{FF2B5EF4-FFF2-40B4-BE49-F238E27FC236}">
                <a16:creationId xmlns:a16="http://schemas.microsoft.com/office/drawing/2014/main" id="{6374D2C4-0B34-4AF9-8F74-61492997E155}"/>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3070436806"/>
      </p:ext>
    </p:extLst>
  </p:cSld>
  <p:clrMapOvr>
    <a:masterClrMapping/>
  </p:clrMapOvr>
  <mc:AlternateContent xmlns:mc="http://schemas.openxmlformats.org/markup-compatibility/2006">
    <mc:Choice xmlns:p14="http://schemas.microsoft.com/office/powerpoint/2010/main" Requires="p14">
      <p:transition spd="slow" p14:dur="2000" advTm="80815"/>
    </mc:Choice>
    <mc:Fallback>
      <p:transition spd="slow" advTm="8081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E87DDF46-B07A-4183-A6C4-5CFC46E95960}"/>
              </a:ext>
            </a:extLst>
          </p:cNvPr>
          <p:cNvSpPr>
            <a:spLocks noGrp="1"/>
          </p:cNvSpPr>
          <p:nvPr>
            <p:ph type="sldNum" sz="quarter" idx="12"/>
          </p:nvPr>
        </p:nvSpPr>
        <p:spPr/>
        <p:txBody>
          <a:bodyPr/>
          <a:lstStyle/>
          <a:p>
            <a:fld id="{87170177-53BE-4EA4-8CC9-5D64EAB74717}" type="slidenum">
              <a:rPr lang="cs-CZ" sz="900" smtClean="0"/>
              <a:t>11</a:t>
            </a:fld>
            <a:endParaRPr lang="cs-CZ" sz="900" dirty="0"/>
          </a:p>
        </p:txBody>
      </p:sp>
      <p:sp>
        <p:nvSpPr>
          <p:cNvPr id="4" name="Rectangle 94">
            <a:extLst>
              <a:ext uri="{FF2B5EF4-FFF2-40B4-BE49-F238E27FC236}">
                <a16:creationId xmlns:a16="http://schemas.microsoft.com/office/drawing/2014/main" id="{32C0964D-8390-4CE7-85AE-760E74072C20}"/>
              </a:ext>
            </a:extLst>
          </p:cNvPr>
          <p:cNvSpPr/>
          <p:nvPr/>
        </p:nvSpPr>
        <p:spPr>
          <a:xfrm>
            <a:off x="0" y="-17702"/>
            <a:ext cx="12192001" cy="10800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82">
            <a:extLst>
              <a:ext uri="{FF2B5EF4-FFF2-40B4-BE49-F238E27FC236}">
                <a16:creationId xmlns:a16="http://schemas.microsoft.com/office/drawing/2014/main" id="{D0E75087-D62C-461B-B63C-582B2042EDFC}"/>
              </a:ext>
            </a:extLst>
          </p:cNvPr>
          <p:cNvSpPr txBox="1"/>
          <p:nvPr/>
        </p:nvSpPr>
        <p:spPr>
          <a:xfrm>
            <a:off x="253284" y="123942"/>
            <a:ext cx="11583472" cy="584775"/>
          </a:xfrm>
          <a:prstGeom prst="rect">
            <a:avLst/>
          </a:prstGeom>
          <a:noFill/>
        </p:spPr>
        <p:txBody>
          <a:bodyPr wrap="square" rtlCol="0">
            <a:spAutoFit/>
          </a:bodyPr>
          <a:lstStyle/>
          <a:p>
            <a:r>
              <a:rPr lang="cs-CZ" sz="3200" b="1" dirty="0" err="1">
                <a:solidFill>
                  <a:schemeClr val="bg2"/>
                </a:solidFill>
                <a:latin typeface="+mj-lt"/>
              </a:rPr>
              <a:t>Procurement</a:t>
            </a:r>
            <a:r>
              <a:rPr lang="cs-CZ" sz="3200" b="1" dirty="0">
                <a:solidFill>
                  <a:schemeClr val="bg2"/>
                </a:solidFill>
                <a:latin typeface="+mj-lt"/>
              </a:rPr>
              <a:t> </a:t>
            </a:r>
            <a:r>
              <a:rPr lang="en-GB" sz="3200" b="1" dirty="0">
                <a:solidFill>
                  <a:schemeClr val="bg2"/>
                </a:solidFill>
                <a:latin typeface="+mj-lt"/>
              </a:rPr>
              <a:t>&amp; Purchasing</a:t>
            </a:r>
            <a:endParaRPr lang="en-US" sz="3200" dirty="0">
              <a:solidFill>
                <a:schemeClr val="tx2"/>
              </a:solidFill>
            </a:endParaRPr>
          </a:p>
        </p:txBody>
      </p:sp>
      <p:sp>
        <p:nvSpPr>
          <p:cNvPr id="8" name="TextovéPole 7">
            <a:extLst>
              <a:ext uri="{FF2B5EF4-FFF2-40B4-BE49-F238E27FC236}">
                <a16:creationId xmlns:a16="http://schemas.microsoft.com/office/drawing/2014/main" id="{60F9672A-58D6-4EEB-8577-2D9CD44D60FD}"/>
              </a:ext>
            </a:extLst>
          </p:cNvPr>
          <p:cNvSpPr txBox="1"/>
          <p:nvPr/>
        </p:nvSpPr>
        <p:spPr>
          <a:xfrm>
            <a:off x="8534449" y="524051"/>
            <a:ext cx="3404265" cy="369332"/>
          </a:xfrm>
          <a:prstGeom prst="rect">
            <a:avLst/>
          </a:prstGeom>
          <a:noFill/>
        </p:spPr>
        <p:txBody>
          <a:bodyPr wrap="none" rtlCol="0">
            <a:spAutoFit/>
          </a:bodyPr>
          <a:lstStyle/>
          <a:p>
            <a:r>
              <a:rPr lang="cs-CZ" b="1" dirty="0">
                <a:solidFill>
                  <a:schemeClr val="bg1">
                    <a:lumMod val="85000"/>
                  </a:schemeClr>
                </a:solidFill>
              </a:rPr>
              <a:t>Test </a:t>
            </a:r>
            <a:r>
              <a:rPr lang="cs-CZ" b="1" dirty="0" err="1">
                <a:solidFill>
                  <a:schemeClr val="bg1">
                    <a:lumMod val="85000"/>
                  </a:schemeClr>
                </a:solidFill>
              </a:rPr>
              <a:t>Procurement</a:t>
            </a:r>
            <a:r>
              <a:rPr lang="cs-CZ" b="1" dirty="0">
                <a:solidFill>
                  <a:schemeClr val="bg1">
                    <a:lumMod val="85000"/>
                  </a:schemeClr>
                </a:solidFill>
              </a:rPr>
              <a:t> – Part </a:t>
            </a:r>
            <a:r>
              <a:rPr lang="cs-CZ" b="1" dirty="0" err="1">
                <a:solidFill>
                  <a:schemeClr val="bg1">
                    <a:lumMod val="85000"/>
                  </a:schemeClr>
                </a:solidFill>
              </a:rPr>
              <a:t>Selection</a:t>
            </a:r>
            <a:endParaRPr lang="cs-CZ" b="1" dirty="0">
              <a:solidFill>
                <a:schemeClr val="bg1">
                  <a:lumMod val="85000"/>
                </a:schemeClr>
              </a:solidFill>
            </a:endParaRPr>
          </a:p>
        </p:txBody>
      </p:sp>
      <p:sp>
        <p:nvSpPr>
          <p:cNvPr id="6" name="TextovéPole 5">
            <a:extLst>
              <a:ext uri="{FF2B5EF4-FFF2-40B4-BE49-F238E27FC236}">
                <a16:creationId xmlns:a16="http://schemas.microsoft.com/office/drawing/2014/main" id="{1454EA93-B8FE-4EB1-ACC4-A23077A32BAB}"/>
              </a:ext>
            </a:extLst>
          </p:cNvPr>
          <p:cNvSpPr txBox="1"/>
          <p:nvPr/>
        </p:nvSpPr>
        <p:spPr>
          <a:xfrm>
            <a:off x="210355" y="1259281"/>
            <a:ext cx="3736279" cy="369332"/>
          </a:xfrm>
          <a:prstGeom prst="rect">
            <a:avLst/>
          </a:prstGeom>
          <a:noFill/>
        </p:spPr>
        <p:txBody>
          <a:bodyPr wrap="none" rtlCol="0">
            <a:spAutoFit/>
          </a:bodyPr>
          <a:lstStyle/>
          <a:p>
            <a:r>
              <a:rPr lang="cs-CZ" dirty="0"/>
              <a:t>T</a:t>
            </a:r>
            <a:r>
              <a:rPr lang="en-US" dirty="0" err="1"/>
              <a:t>ypes</a:t>
            </a:r>
            <a:r>
              <a:rPr lang="en-US" dirty="0"/>
              <a:t> select</a:t>
            </a:r>
            <a:r>
              <a:rPr lang="cs-CZ" dirty="0" err="1"/>
              <a:t>ed</a:t>
            </a:r>
            <a:r>
              <a:rPr lang="en-US" dirty="0"/>
              <a:t> for </a:t>
            </a:r>
            <a:r>
              <a:rPr lang="cs-CZ" dirty="0" err="1"/>
              <a:t>purchas</a:t>
            </a:r>
            <a:r>
              <a:rPr lang="en-GB" dirty="0"/>
              <a:t>e</a:t>
            </a:r>
            <a:r>
              <a:rPr lang="cs-CZ" dirty="0"/>
              <a:t> </a:t>
            </a:r>
            <a:r>
              <a:rPr lang="en-GB" dirty="0"/>
              <a:t>&amp; </a:t>
            </a:r>
            <a:r>
              <a:rPr lang="en-US" dirty="0"/>
              <a:t>testing </a:t>
            </a:r>
            <a:endParaRPr lang="cs-CZ" dirty="0"/>
          </a:p>
        </p:txBody>
      </p:sp>
      <p:sp>
        <p:nvSpPr>
          <p:cNvPr id="7" name="TextovéPole 6">
            <a:extLst>
              <a:ext uri="{FF2B5EF4-FFF2-40B4-BE49-F238E27FC236}">
                <a16:creationId xmlns:a16="http://schemas.microsoft.com/office/drawing/2014/main" id="{BDDE13F5-C2A9-4C11-B678-970783075880}"/>
              </a:ext>
            </a:extLst>
          </p:cNvPr>
          <p:cNvSpPr txBox="1"/>
          <p:nvPr/>
        </p:nvSpPr>
        <p:spPr>
          <a:xfrm>
            <a:off x="772733" y="1820914"/>
            <a:ext cx="4086896" cy="1477328"/>
          </a:xfrm>
          <a:prstGeom prst="rect">
            <a:avLst/>
          </a:prstGeom>
          <a:noFill/>
        </p:spPr>
        <p:txBody>
          <a:bodyPr wrap="square" rtlCol="0">
            <a:spAutoFit/>
          </a:bodyPr>
          <a:lstStyle/>
          <a:p>
            <a:r>
              <a:rPr lang="cs-CZ" b="1" dirty="0" err="1">
                <a:solidFill>
                  <a:srgbClr val="0070C0"/>
                </a:solidFill>
              </a:rPr>
              <a:t>Tantalum</a:t>
            </a:r>
            <a:r>
              <a:rPr lang="cs-CZ" b="1" dirty="0">
                <a:solidFill>
                  <a:srgbClr val="0070C0"/>
                </a:solidFill>
              </a:rPr>
              <a:t> </a:t>
            </a:r>
            <a:r>
              <a:rPr lang="cs-CZ" b="1" dirty="0" err="1">
                <a:solidFill>
                  <a:srgbClr val="0070C0"/>
                </a:solidFill>
              </a:rPr>
              <a:t>capacitor</a:t>
            </a:r>
            <a:r>
              <a:rPr lang="cs-CZ" b="1" dirty="0">
                <a:solidFill>
                  <a:srgbClr val="0070C0"/>
                </a:solidFill>
              </a:rPr>
              <a:t>:</a:t>
            </a:r>
          </a:p>
          <a:p>
            <a:endParaRPr lang="en-GB" dirty="0">
              <a:solidFill>
                <a:srgbClr val="0070C0"/>
              </a:solidFill>
            </a:endParaRPr>
          </a:p>
          <a:p>
            <a:r>
              <a:rPr lang="cs-CZ" dirty="0">
                <a:solidFill>
                  <a:srgbClr val="0070C0"/>
                </a:solidFill>
              </a:rPr>
              <a:t>A case 1206, 10uF, 10V</a:t>
            </a:r>
            <a:r>
              <a:rPr lang="en-GB" dirty="0">
                <a:solidFill>
                  <a:srgbClr val="0070C0"/>
                </a:solidFill>
              </a:rPr>
              <a:t> (max CV available in both Auto and COTS)</a:t>
            </a:r>
            <a:endParaRPr lang="cs-CZ" dirty="0">
              <a:solidFill>
                <a:srgbClr val="0070C0"/>
              </a:solidFill>
            </a:endParaRPr>
          </a:p>
          <a:p>
            <a:endParaRPr lang="cs-CZ" dirty="0">
              <a:solidFill>
                <a:srgbClr val="0070C0"/>
              </a:solidFill>
            </a:endParaRPr>
          </a:p>
        </p:txBody>
      </p:sp>
      <p:sp>
        <p:nvSpPr>
          <p:cNvPr id="13" name="TextovéPole 12">
            <a:extLst>
              <a:ext uri="{FF2B5EF4-FFF2-40B4-BE49-F238E27FC236}">
                <a16:creationId xmlns:a16="http://schemas.microsoft.com/office/drawing/2014/main" id="{AF81EA69-3BBF-424A-A11C-C0388AE5B5EA}"/>
              </a:ext>
            </a:extLst>
          </p:cNvPr>
          <p:cNvSpPr txBox="1"/>
          <p:nvPr/>
        </p:nvSpPr>
        <p:spPr>
          <a:xfrm>
            <a:off x="1083716" y="3207651"/>
            <a:ext cx="4018209" cy="1384995"/>
          </a:xfrm>
          <a:prstGeom prst="rect">
            <a:avLst/>
          </a:prstGeom>
          <a:noFill/>
        </p:spPr>
        <p:txBody>
          <a:bodyPr wrap="square">
            <a:spAutoFit/>
          </a:bodyPr>
          <a:lstStyle/>
          <a:p>
            <a:r>
              <a:rPr lang="en-GB" sz="1400" b="1" dirty="0"/>
              <a:t>Test Sample 	</a:t>
            </a:r>
            <a:r>
              <a:rPr lang="cs-CZ" sz="1400" b="1" dirty="0"/>
              <a:t>MFG	GRADE</a:t>
            </a:r>
          </a:p>
          <a:p>
            <a:r>
              <a:rPr lang="en-GB" sz="1400" dirty="0"/>
              <a:t>#1		Supplier 1</a:t>
            </a:r>
            <a:r>
              <a:rPr lang="cs-CZ" sz="1400" dirty="0"/>
              <a:t>	</a:t>
            </a:r>
            <a:r>
              <a:rPr lang="cs-CZ" sz="1400" dirty="0" err="1"/>
              <a:t>Automotive</a:t>
            </a:r>
            <a:endParaRPr lang="cs-CZ" sz="1400" dirty="0"/>
          </a:p>
          <a:p>
            <a:r>
              <a:rPr lang="en-GB" sz="1400" dirty="0"/>
              <a:t>#2		Supplier 2</a:t>
            </a:r>
            <a:r>
              <a:rPr lang="cs-CZ" sz="1400" dirty="0"/>
              <a:t>	</a:t>
            </a:r>
            <a:r>
              <a:rPr lang="cs-CZ" sz="1400" dirty="0" err="1"/>
              <a:t>Automotive</a:t>
            </a:r>
            <a:endParaRPr lang="cs-CZ" sz="1400" dirty="0"/>
          </a:p>
          <a:p>
            <a:r>
              <a:rPr lang="en-GB" sz="1400" dirty="0"/>
              <a:t>#3		Supplier 3</a:t>
            </a:r>
            <a:r>
              <a:rPr lang="cs-CZ" sz="1400" dirty="0"/>
              <a:t>	</a:t>
            </a:r>
            <a:r>
              <a:rPr lang="cs-CZ" sz="1400" dirty="0" err="1"/>
              <a:t>Automotive</a:t>
            </a:r>
            <a:endParaRPr lang="en-GB" sz="1400" dirty="0"/>
          </a:p>
          <a:p>
            <a:r>
              <a:rPr lang="en-GB" sz="1400" dirty="0"/>
              <a:t>#4		Supplier 1	COTS</a:t>
            </a:r>
          </a:p>
          <a:p>
            <a:endParaRPr lang="cs-CZ" sz="1400" dirty="0"/>
          </a:p>
        </p:txBody>
      </p:sp>
      <p:sp>
        <p:nvSpPr>
          <p:cNvPr id="18" name="TextovéPole 17">
            <a:extLst>
              <a:ext uri="{FF2B5EF4-FFF2-40B4-BE49-F238E27FC236}">
                <a16:creationId xmlns:a16="http://schemas.microsoft.com/office/drawing/2014/main" id="{8A2DDD93-7D83-4006-BAD9-196C7BDC783C}"/>
              </a:ext>
            </a:extLst>
          </p:cNvPr>
          <p:cNvSpPr txBox="1"/>
          <p:nvPr/>
        </p:nvSpPr>
        <p:spPr>
          <a:xfrm>
            <a:off x="5945746" y="1819335"/>
            <a:ext cx="5221045" cy="1200329"/>
          </a:xfrm>
          <a:prstGeom prst="rect">
            <a:avLst/>
          </a:prstGeom>
          <a:noFill/>
        </p:spPr>
        <p:txBody>
          <a:bodyPr wrap="none" rtlCol="0">
            <a:spAutoFit/>
          </a:bodyPr>
          <a:lstStyle/>
          <a:p>
            <a:r>
              <a:rPr lang="cs-CZ" b="1" dirty="0">
                <a:solidFill>
                  <a:srgbClr val="0070C0"/>
                </a:solidFill>
              </a:rPr>
              <a:t>MLCC </a:t>
            </a:r>
            <a:r>
              <a:rPr lang="cs-CZ" b="1" dirty="0" err="1">
                <a:solidFill>
                  <a:srgbClr val="0070C0"/>
                </a:solidFill>
              </a:rPr>
              <a:t>capacitor</a:t>
            </a:r>
            <a:r>
              <a:rPr lang="cs-CZ" b="1" dirty="0">
                <a:solidFill>
                  <a:srgbClr val="0070C0"/>
                </a:solidFill>
              </a:rPr>
              <a:t>:</a:t>
            </a:r>
          </a:p>
          <a:p>
            <a:endParaRPr lang="en-GB" dirty="0">
              <a:solidFill>
                <a:srgbClr val="0070C0"/>
              </a:solidFill>
            </a:endParaRPr>
          </a:p>
          <a:p>
            <a:r>
              <a:rPr lang="cs-CZ" dirty="0">
                <a:solidFill>
                  <a:srgbClr val="0070C0"/>
                </a:solidFill>
              </a:rPr>
              <a:t>10uF 25V, X7R, 1210 case</a:t>
            </a:r>
            <a:r>
              <a:rPr lang="en-GB" dirty="0">
                <a:solidFill>
                  <a:srgbClr val="0070C0"/>
                </a:solidFill>
              </a:rPr>
              <a:t> (max CV available for Auto)</a:t>
            </a:r>
            <a:endParaRPr lang="cs-CZ" dirty="0">
              <a:solidFill>
                <a:srgbClr val="0070C0"/>
              </a:solidFill>
            </a:endParaRPr>
          </a:p>
          <a:p>
            <a:endParaRPr lang="cs-CZ" dirty="0">
              <a:solidFill>
                <a:srgbClr val="0070C0"/>
              </a:solidFill>
            </a:endParaRPr>
          </a:p>
        </p:txBody>
      </p:sp>
      <p:sp>
        <p:nvSpPr>
          <p:cNvPr id="19" name="TextovéPole 18">
            <a:extLst>
              <a:ext uri="{FF2B5EF4-FFF2-40B4-BE49-F238E27FC236}">
                <a16:creationId xmlns:a16="http://schemas.microsoft.com/office/drawing/2014/main" id="{CAA2F7B7-1B71-4E5E-AC52-C5A5B9113C12}"/>
              </a:ext>
            </a:extLst>
          </p:cNvPr>
          <p:cNvSpPr txBox="1"/>
          <p:nvPr/>
        </p:nvSpPr>
        <p:spPr>
          <a:xfrm>
            <a:off x="6095999" y="3048247"/>
            <a:ext cx="4018209" cy="954107"/>
          </a:xfrm>
          <a:prstGeom prst="rect">
            <a:avLst/>
          </a:prstGeom>
          <a:noFill/>
        </p:spPr>
        <p:txBody>
          <a:bodyPr wrap="square">
            <a:spAutoFit/>
          </a:bodyPr>
          <a:lstStyle/>
          <a:p>
            <a:r>
              <a:rPr lang="en-GB" sz="1400" b="1" dirty="0"/>
              <a:t>Test Sample 	</a:t>
            </a:r>
            <a:r>
              <a:rPr lang="cs-CZ" sz="1400" b="1" dirty="0"/>
              <a:t>MFG	GRADE</a:t>
            </a:r>
          </a:p>
          <a:p>
            <a:r>
              <a:rPr lang="en-GB" sz="1400" dirty="0"/>
              <a:t>#1		Supplier 4</a:t>
            </a:r>
            <a:r>
              <a:rPr lang="cs-CZ" sz="1400" dirty="0"/>
              <a:t>	</a:t>
            </a:r>
            <a:r>
              <a:rPr lang="cs-CZ" sz="1400" dirty="0" err="1"/>
              <a:t>Automotive</a:t>
            </a:r>
            <a:endParaRPr lang="cs-CZ" sz="1400" dirty="0"/>
          </a:p>
          <a:p>
            <a:r>
              <a:rPr lang="en-GB" sz="1400" dirty="0"/>
              <a:t>#2		Supplier 5</a:t>
            </a:r>
            <a:r>
              <a:rPr lang="cs-CZ" sz="1400" dirty="0"/>
              <a:t>	</a:t>
            </a:r>
            <a:r>
              <a:rPr lang="cs-CZ" sz="1400" dirty="0" err="1"/>
              <a:t>Automotive</a:t>
            </a:r>
            <a:endParaRPr lang="cs-CZ" sz="1400" dirty="0"/>
          </a:p>
          <a:p>
            <a:r>
              <a:rPr lang="en-GB" sz="1400" dirty="0"/>
              <a:t>#3		Supplier 6</a:t>
            </a:r>
            <a:r>
              <a:rPr lang="cs-CZ" sz="1400" dirty="0"/>
              <a:t>	</a:t>
            </a:r>
            <a:r>
              <a:rPr lang="cs-CZ" sz="1400" dirty="0" err="1"/>
              <a:t>Automotive</a:t>
            </a:r>
            <a:endParaRPr lang="en-GB" sz="1400" dirty="0"/>
          </a:p>
        </p:txBody>
      </p:sp>
      <p:sp>
        <p:nvSpPr>
          <p:cNvPr id="21" name="TextovéPole 20">
            <a:extLst>
              <a:ext uri="{FF2B5EF4-FFF2-40B4-BE49-F238E27FC236}">
                <a16:creationId xmlns:a16="http://schemas.microsoft.com/office/drawing/2014/main" id="{247D1B1A-C258-4191-B7C8-EE5A680EEC92}"/>
              </a:ext>
            </a:extLst>
          </p:cNvPr>
          <p:cNvSpPr txBox="1"/>
          <p:nvPr/>
        </p:nvSpPr>
        <p:spPr>
          <a:xfrm>
            <a:off x="6002628" y="4553515"/>
            <a:ext cx="5536842" cy="369332"/>
          </a:xfrm>
          <a:prstGeom prst="rect">
            <a:avLst/>
          </a:prstGeom>
          <a:noFill/>
        </p:spPr>
        <p:txBody>
          <a:bodyPr wrap="square">
            <a:spAutoFit/>
          </a:bodyPr>
          <a:lstStyle/>
          <a:p>
            <a:r>
              <a:rPr lang="cs-CZ" dirty="0">
                <a:solidFill>
                  <a:srgbClr val="0070C0"/>
                </a:solidFill>
              </a:rPr>
              <a:t>470nF 25V X7R 1210</a:t>
            </a:r>
            <a:r>
              <a:rPr lang="en-GB" dirty="0">
                <a:solidFill>
                  <a:srgbClr val="0070C0"/>
                </a:solidFill>
              </a:rPr>
              <a:t> (low CV, max available for COTS)</a:t>
            </a:r>
            <a:endParaRPr lang="cs-CZ" dirty="0">
              <a:solidFill>
                <a:srgbClr val="0070C0"/>
              </a:solidFill>
            </a:endParaRPr>
          </a:p>
        </p:txBody>
      </p:sp>
      <p:sp>
        <p:nvSpPr>
          <p:cNvPr id="23" name="TextovéPole 22">
            <a:extLst>
              <a:ext uri="{FF2B5EF4-FFF2-40B4-BE49-F238E27FC236}">
                <a16:creationId xmlns:a16="http://schemas.microsoft.com/office/drawing/2014/main" id="{50F29B14-D840-43F0-A544-4E8C2FE238B8}"/>
              </a:ext>
            </a:extLst>
          </p:cNvPr>
          <p:cNvSpPr txBox="1"/>
          <p:nvPr/>
        </p:nvSpPr>
        <p:spPr>
          <a:xfrm>
            <a:off x="6096000" y="5066525"/>
            <a:ext cx="4018209" cy="738664"/>
          </a:xfrm>
          <a:prstGeom prst="rect">
            <a:avLst/>
          </a:prstGeom>
          <a:noFill/>
        </p:spPr>
        <p:txBody>
          <a:bodyPr wrap="square">
            <a:spAutoFit/>
          </a:bodyPr>
          <a:lstStyle/>
          <a:p>
            <a:r>
              <a:rPr lang="en-GB" sz="1400" b="1" dirty="0"/>
              <a:t>Test Sample 	</a:t>
            </a:r>
            <a:r>
              <a:rPr lang="cs-CZ" sz="1400" b="1" dirty="0"/>
              <a:t>MFG	GRADE</a:t>
            </a:r>
          </a:p>
          <a:p>
            <a:r>
              <a:rPr lang="en-GB" sz="1400" dirty="0"/>
              <a:t>#4		Supplier 1</a:t>
            </a:r>
            <a:r>
              <a:rPr lang="cs-CZ" sz="1400" dirty="0"/>
              <a:t>	</a:t>
            </a:r>
            <a:r>
              <a:rPr lang="cs-CZ" sz="1400" dirty="0" err="1"/>
              <a:t>Automotive</a:t>
            </a:r>
            <a:endParaRPr lang="cs-CZ" sz="1400" dirty="0"/>
          </a:p>
          <a:p>
            <a:r>
              <a:rPr lang="en-GB" sz="1400" dirty="0"/>
              <a:t>#5		Supplier 1</a:t>
            </a:r>
            <a:r>
              <a:rPr lang="cs-CZ" sz="1400" dirty="0"/>
              <a:t>	</a:t>
            </a:r>
            <a:r>
              <a:rPr lang="en-GB" sz="1400" dirty="0"/>
              <a:t>CECC/COTS</a:t>
            </a:r>
            <a:endParaRPr lang="cs-CZ" sz="1400" dirty="0"/>
          </a:p>
        </p:txBody>
      </p:sp>
      <p:sp>
        <p:nvSpPr>
          <p:cNvPr id="24" name="TextovéPole 23">
            <a:extLst>
              <a:ext uri="{FF2B5EF4-FFF2-40B4-BE49-F238E27FC236}">
                <a16:creationId xmlns:a16="http://schemas.microsoft.com/office/drawing/2014/main" id="{0C832039-14B2-41FC-BC55-A5699618DEE7}"/>
              </a:ext>
            </a:extLst>
          </p:cNvPr>
          <p:cNvSpPr txBox="1"/>
          <p:nvPr/>
        </p:nvSpPr>
        <p:spPr>
          <a:xfrm>
            <a:off x="6095999" y="4064029"/>
            <a:ext cx="5033750" cy="253916"/>
          </a:xfrm>
          <a:prstGeom prst="rect">
            <a:avLst/>
          </a:prstGeom>
          <a:noFill/>
        </p:spPr>
        <p:txBody>
          <a:bodyPr wrap="none" rtlCol="0">
            <a:spAutoFit/>
          </a:bodyPr>
          <a:lstStyle/>
          <a:p>
            <a:r>
              <a:rPr lang="en-GB" sz="1050" dirty="0"/>
              <a:t>Note: there is no 10uF 25 1210 case COTS grade MLCC available, lower CV available only</a:t>
            </a:r>
            <a:endParaRPr lang="cs-CZ" sz="1050" dirty="0"/>
          </a:p>
        </p:txBody>
      </p:sp>
      <p:pic>
        <p:nvPicPr>
          <p:cNvPr id="10" name="Obrázek 9" descr="Obsah obrázku měřicí tyč&#10;&#10;Popis byl vytvořen automaticky">
            <a:extLst>
              <a:ext uri="{FF2B5EF4-FFF2-40B4-BE49-F238E27FC236}">
                <a16:creationId xmlns:a16="http://schemas.microsoft.com/office/drawing/2014/main" id="{B58B9C4E-5FAA-484F-8E19-90DC115C5BA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77291" y="1224789"/>
            <a:ext cx="1662179" cy="1102097"/>
          </a:xfrm>
          <a:prstGeom prst="rect">
            <a:avLst/>
          </a:prstGeom>
        </p:spPr>
      </p:pic>
      <p:pic>
        <p:nvPicPr>
          <p:cNvPr id="1026" name="Picture 2" descr="TCJY227M006R0015 | AVX Tantalum Capacitor 220μF 6.3V dc Polymer Solid ±20%  Tolerance , TCJ | RS Components">
            <a:extLst>
              <a:ext uri="{FF2B5EF4-FFF2-40B4-BE49-F238E27FC236}">
                <a16:creationId xmlns:a16="http://schemas.microsoft.com/office/drawing/2014/main" id="{716D270D-EB6E-4768-8AC4-9F0CFBEDAB8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03142" y="4779105"/>
            <a:ext cx="2172185" cy="1223664"/>
          </a:xfrm>
          <a:prstGeom prst="rect">
            <a:avLst/>
          </a:prstGeom>
          <a:noFill/>
          <a:extLst>
            <a:ext uri="{909E8E84-426E-40DD-AFC4-6F175D3DCCD1}">
              <a14:hiddenFill xmlns:a14="http://schemas.microsoft.com/office/drawing/2010/main">
                <a:solidFill>
                  <a:srgbClr val="FFFFFF"/>
                </a:solidFill>
              </a14:hiddenFill>
            </a:ext>
          </a:extLst>
        </p:spPr>
      </p:pic>
      <p:sp>
        <p:nvSpPr>
          <p:cNvPr id="17" name="Zástupný symbol pro zápatí 2">
            <a:extLst>
              <a:ext uri="{FF2B5EF4-FFF2-40B4-BE49-F238E27FC236}">
                <a16:creationId xmlns:a16="http://schemas.microsoft.com/office/drawing/2014/main" id="{1941A2CF-8580-4C64-B407-C86931E75D86}"/>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2" name="Zvuk 1">
            <a:hlinkClick r:id="" action="ppaction://media"/>
            <a:extLst>
              <a:ext uri="{FF2B5EF4-FFF2-40B4-BE49-F238E27FC236}">
                <a16:creationId xmlns:a16="http://schemas.microsoft.com/office/drawing/2014/main" id="{F4706439-20C7-4F12-B208-664CA2A8CBF4}"/>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2226195617"/>
      </p:ext>
    </p:extLst>
  </p:cSld>
  <p:clrMapOvr>
    <a:masterClrMapping/>
  </p:clrMapOvr>
  <mc:AlternateContent xmlns:mc="http://schemas.openxmlformats.org/markup-compatibility/2006">
    <mc:Choice xmlns:p14="http://schemas.microsoft.com/office/powerpoint/2010/main" Requires="p14">
      <p:transition spd="slow" p14:dur="2000" advTm="42200"/>
    </mc:Choice>
    <mc:Fallback>
      <p:transition spd="slow" advTm="422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extLst>
    <p:ext uri="{3A86A75C-4F4B-4683-9AE1-C65F6400EC91}">
      <p14:laserTraceLst xmlns:p14="http://schemas.microsoft.com/office/powerpoint/2010/main">
        <p14:tracePtLst>
          <p14:tracePt t="625" x="12144375" y="3587750"/>
          <p14:tracePt t="626" x="12115800" y="3590925"/>
          <p14:tracePt t="629" x="12031663" y="3611563"/>
          <p14:tracePt t="630" x="12012613" y="3614738"/>
          <p14:tracePt t="631" x="11984038" y="3619500"/>
          <p14:tracePt t="633" x="11944350" y="3630613"/>
          <p14:tracePt t="634" x="11907838" y="3635375"/>
          <p14:tracePt t="635" x="11879263" y="3643313"/>
          <p14:tracePt t="636" x="11860213" y="3646488"/>
          <p14:tracePt t="637" x="11831638" y="3651250"/>
          <p14:tracePt t="638" x="11811000" y="3654425"/>
          <p14:tracePt t="639" x="11776075" y="3667125"/>
          <p14:tracePt t="641" x="11726863" y="3675063"/>
          <p14:tracePt t="642" x="11707813" y="3683000"/>
          <p14:tracePt t="643" x="11684000" y="3683000"/>
          <p14:tracePt t="644" x="11642725" y="3695700"/>
          <p14:tracePt t="645" x="11623675" y="3703638"/>
          <p14:tracePt t="646" x="11599863" y="3703638"/>
          <p14:tracePt t="647" x="11579225" y="3706813"/>
          <p14:tracePt t="648" x="11550650" y="3711575"/>
          <p14:tracePt t="649" x="11515725" y="3722688"/>
          <p14:tracePt t="650" x="11495088" y="3722688"/>
          <p14:tracePt t="651" x="11466513" y="3730625"/>
          <p14:tracePt t="652" x="11447463" y="3735388"/>
          <p14:tracePt t="653" x="11418888" y="3738563"/>
          <p14:tracePt t="654" x="11383963" y="3746500"/>
          <p14:tracePt t="655" x="11355388" y="3751263"/>
          <p14:tracePt t="656" x="11331575" y="3759200"/>
          <p14:tracePt t="657" x="11310938" y="3759200"/>
          <p14:tracePt t="658" x="11282363" y="3763963"/>
          <p14:tracePt t="659" x="11247438" y="3767138"/>
          <p14:tracePt t="660" x="11218863" y="3775075"/>
          <p14:tracePt t="661" x="11190288" y="3779838"/>
          <p14:tracePt t="663" x="11126788" y="3790950"/>
          <p14:tracePt t="664" x="11102975" y="3790950"/>
          <p14:tracePt t="665" x="11074400" y="3798888"/>
          <p14:tracePt t="666" x="11055350" y="3803650"/>
          <p14:tracePt t="667" x="11026775" y="3806825"/>
          <p14:tracePt t="668" x="10998200" y="3806825"/>
          <p14:tracePt t="669" x="10963275" y="3814763"/>
          <p14:tracePt t="670" x="10934700" y="3819525"/>
          <p14:tracePt t="671" x="10906125" y="3822700"/>
          <p14:tracePt t="673" x="10847388" y="3830638"/>
          <p14:tracePt t="674" x="10818813" y="3835400"/>
          <p14:tracePt t="675" x="10798175" y="3835400"/>
          <p14:tracePt t="676" x="10774363" y="3838575"/>
          <p14:tracePt t="677" x="10745788" y="3848100"/>
          <p14:tracePt t="678" x="10718800" y="3851275"/>
          <p14:tracePt t="679" x="10682288" y="3859213"/>
          <p14:tracePt t="680" x="10653713" y="3859213"/>
          <p14:tracePt t="681" x="10634663" y="3863975"/>
          <p14:tracePt t="682" x="10610850" y="3863975"/>
          <p14:tracePt t="683" x="10574338" y="3871913"/>
          <p14:tracePt t="684" x="10545763" y="3875088"/>
          <p14:tracePt t="685" x="10526713" y="3879850"/>
          <p14:tracePt t="686" x="10506075" y="3879850"/>
          <p14:tracePt t="687" x="10479088" y="3883025"/>
          <p14:tracePt t="688" x="10458450" y="3890963"/>
          <p14:tracePt t="689" x="10434638" y="3890963"/>
          <p14:tracePt t="690" x="10414000" y="3895725"/>
          <p14:tracePt t="691" x="10394950" y="3895725"/>
          <p14:tracePt t="692" x="10366375" y="3898900"/>
          <p14:tracePt t="693" x="10342563" y="3906838"/>
          <p14:tracePt t="694" x="10321925" y="3906838"/>
          <p14:tracePt t="695" x="10306050" y="3911600"/>
          <p14:tracePt t="696" x="10285413" y="3911600"/>
          <p14:tracePt t="697" x="10269538" y="3914775"/>
          <p14:tracePt t="698" x="10250488" y="3914775"/>
          <p14:tracePt t="699" x="10229850" y="3914775"/>
          <p14:tracePt t="700" x="10210800" y="3919538"/>
          <p14:tracePt t="701" x="10190163" y="3919538"/>
          <p14:tracePt t="702" x="10177463" y="3919538"/>
          <p14:tracePt t="703" x="10158413" y="3922713"/>
          <p14:tracePt t="704" x="10137775" y="3922713"/>
          <p14:tracePt t="705" x="10126663" y="3922713"/>
          <p14:tracePt t="706" x="10109200" y="3930650"/>
          <p14:tracePt t="707" x="10098088" y="3930650"/>
          <p14:tracePt t="708" x="10082213" y="3930650"/>
          <p14:tracePt t="709" x="10058400" y="3930650"/>
          <p14:tracePt t="710" x="10045700" y="3930650"/>
          <p14:tracePt t="711" x="10029825" y="3930650"/>
          <p14:tracePt t="712" x="10017125" y="3930650"/>
          <p14:tracePt t="713" x="9998075" y="3930650"/>
          <p14:tracePt t="714" x="9990138" y="3930650"/>
          <p14:tracePt t="715" x="9977438" y="3930650"/>
          <p14:tracePt t="716" x="9958388" y="3930650"/>
          <p14:tracePt t="717" x="9942513" y="3930650"/>
          <p14:tracePt t="718" x="9932988" y="3935413"/>
          <p14:tracePt t="719" x="9913938" y="3935413"/>
          <p14:tracePt t="720" x="9901238" y="3935413"/>
          <p14:tracePt t="721" x="9890125" y="3935413"/>
          <p14:tracePt t="723" x="9853613" y="3935413"/>
          <p14:tracePt t="724" x="9840913" y="3935413"/>
          <p14:tracePt t="725" x="9825038" y="3935413"/>
          <p14:tracePt t="726" x="9813925" y="3935413"/>
          <p14:tracePt t="727" x="9801225" y="3935413"/>
          <p14:tracePt t="728" x="9782175" y="3935413"/>
          <p14:tracePt t="729" x="9761538" y="3927475"/>
          <p14:tracePt t="730" x="9745663" y="3927475"/>
          <p14:tracePt t="731" x="9729788" y="3927475"/>
          <p14:tracePt t="732" x="9713913" y="3922713"/>
          <p14:tracePt t="733" x="9690100" y="3922713"/>
          <p14:tracePt t="734" x="9674225" y="3922713"/>
          <p14:tracePt t="735" x="9653588" y="3919538"/>
          <p14:tracePt t="736" x="9640888" y="3919538"/>
          <p14:tracePt t="737" x="9621838" y="3914775"/>
          <p14:tracePt t="738" x="9601200" y="3906838"/>
          <p14:tracePt t="739" x="9577388" y="3906838"/>
          <p14:tracePt t="740" x="9561513" y="3903663"/>
          <p14:tracePt t="741" x="9540875" y="3903663"/>
          <p14:tracePt t="742" x="9521825" y="3898900"/>
          <p14:tracePt t="743" x="9493250" y="3895725"/>
          <p14:tracePt t="744" x="9477375" y="3895725"/>
          <p14:tracePt t="745" x="9456738" y="3887788"/>
          <p14:tracePt t="746" x="9429750" y="3883025"/>
          <p14:tracePt t="747" x="9409113" y="3883025"/>
          <p14:tracePt t="748" x="9388475" y="3879850"/>
          <p14:tracePt t="749" x="9353550" y="3871913"/>
          <p14:tracePt t="750" x="9332913" y="3871913"/>
          <p14:tracePt t="751" x="9309100" y="3867150"/>
          <p14:tracePt t="752" x="9288463" y="3863975"/>
          <p14:tracePt t="753" x="9253538" y="3856038"/>
          <p14:tracePt t="754" x="9224963" y="3851275"/>
          <p14:tracePt t="755" x="9196388" y="3848100"/>
          <p14:tracePt t="756" x="9177338" y="3838575"/>
          <p14:tracePt t="757" x="9148763" y="3838575"/>
          <p14:tracePt t="759" x="9085263" y="3827463"/>
          <p14:tracePt t="760" x="9048750" y="3822700"/>
          <p14:tracePt t="760" x="9024938" y="3819525"/>
          <p14:tracePt t="762" x="8996363" y="3819525"/>
          <p14:tracePt t="763" x="8953500" y="3811588"/>
          <p14:tracePt t="764" x="8924925" y="3806825"/>
          <p14:tracePt t="765" x="8896350" y="3806825"/>
          <p14:tracePt t="766" x="8869363" y="3798888"/>
          <p14:tracePt t="767" x="8832850" y="3795713"/>
          <p14:tracePt t="768" x="8793163" y="3795713"/>
          <p14:tracePt t="769" x="8764588" y="3787775"/>
          <p14:tracePt t="770" x="8736013" y="3787775"/>
          <p14:tracePt t="771" x="8709025" y="3783013"/>
          <p14:tracePt t="773" x="8640763" y="3775075"/>
          <p14:tracePt t="774" x="8604250" y="3775075"/>
          <p14:tracePt t="775" x="8575675" y="3775075"/>
          <p14:tracePt t="776" x="8551863" y="3775075"/>
          <p14:tracePt t="777" x="8516938" y="3771900"/>
          <p14:tracePt t="778" x="8472488" y="3771900"/>
          <p14:tracePt t="779" x="8435975" y="3771900"/>
          <p14:tracePt t="780" x="8412163" y="3771900"/>
          <p14:tracePt t="781" x="8383588" y="3771900"/>
          <p14:tracePt t="782" x="8359775" y="3771900"/>
          <p14:tracePt t="783" x="8316913" y="3771900"/>
          <p14:tracePt t="784" x="8288338" y="3771900"/>
          <p14:tracePt t="785" x="8251825" y="3771900"/>
          <p14:tracePt t="786" x="8228013" y="3771900"/>
          <p14:tracePt t="787" x="8199438" y="3771900"/>
          <p14:tracePt t="788" x="8156575" y="3771900"/>
          <p14:tracePt t="789" x="8132763" y="3771900"/>
          <p14:tracePt t="790" x="8096250" y="3771900"/>
          <p14:tracePt t="791" x="8067675" y="3771900"/>
          <p14:tracePt t="792" x="8040688" y="3779838"/>
          <p14:tracePt t="793" x="7999413" y="3779838"/>
          <p14:tracePt t="794" x="7972425" y="3779838"/>
          <p14:tracePt t="795" x="7943850" y="3783013"/>
          <p14:tracePt t="796" x="7920038" y="3783013"/>
          <p14:tracePt t="797" x="7891463" y="3783013"/>
          <p14:tracePt t="798" x="7847013" y="3790950"/>
          <p14:tracePt t="799" x="7820025" y="3790950"/>
          <p14:tracePt t="800" x="7791450" y="3795713"/>
          <p14:tracePt t="801" x="7762875" y="3803650"/>
          <p14:tracePt t="802" x="7739063" y="3803650"/>
          <p14:tracePt t="803" x="7704138" y="3806825"/>
          <p14:tracePt t="804" x="7675563" y="3806825"/>
          <p14:tracePt t="805" x="7654925" y="3811588"/>
          <p14:tracePt t="806" x="7627938" y="3819525"/>
          <p14:tracePt t="807" x="7604125" y="3819525"/>
          <p14:tracePt t="808" x="7567613" y="3822700"/>
          <p14:tracePt t="809" x="7546975" y="3827463"/>
          <p14:tracePt t="810" x="7519988" y="3835400"/>
          <p14:tracePt t="811" x="7499350" y="3835400"/>
          <p14:tracePt t="812" x="7478713" y="3838575"/>
          <p14:tracePt t="813" x="7443788" y="3848100"/>
          <p14:tracePt t="814" x="7423150" y="3851275"/>
          <p14:tracePt t="815" x="7407275" y="3851275"/>
          <p14:tracePt t="816" x="7386638" y="3856038"/>
          <p14:tracePt t="817" x="7359650" y="3859213"/>
          <p14:tracePt t="818" x="7339013" y="3867150"/>
          <p14:tracePt t="819" x="7319963" y="3867150"/>
          <p14:tracePt t="820" x="7299325" y="3871913"/>
          <p14:tracePt t="821" x="7278688" y="3875088"/>
          <p14:tracePt t="823" x="7231063" y="3887788"/>
          <p14:tracePt t="824" x="7218363" y="3890963"/>
          <p14:tracePt t="826" x="7183438" y="3898900"/>
          <p14:tracePt t="827" x="7159625" y="3906838"/>
          <p14:tracePt t="828" x="7138988" y="3911600"/>
          <p14:tracePt t="829" x="7123113" y="3914775"/>
          <p14:tracePt t="830" x="7102475" y="3919538"/>
          <p14:tracePt t="831" x="7091363" y="3922713"/>
          <p14:tracePt t="832" x="7070725" y="3930650"/>
          <p14:tracePt t="833" x="7042150" y="3935413"/>
          <p14:tracePt t="834" x="7031038" y="3940175"/>
          <p14:tracePt t="835" x="7007225" y="3951288"/>
          <p14:tracePt t="836" x="6994525" y="3956050"/>
          <p14:tracePt t="837" x="6967538" y="3959225"/>
          <p14:tracePt t="838" x="6946900" y="3971925"/>
          <p14:tracePt t="839" x="6926263" y="3975100"/>
          <p14:tracePt t="840" x="6907213" y="3979863"/>
          <p14:tracePt t="841" x="6894513" y="3990975"/>
          <p14:tracePt t="842" x="6875463" y="3995738"/>
          <p14:tracePt t="844" x="6831013" y="4011613"/>
          <p14:tracePt t="845" x="6810375" y="4024313"/>
          <p14:tracePt t="846" x="6791325" y="4027488"/>
          <p14:tracePt t="847" x="6762750" y="4040188"/>
          <p14:tracePt t="848" x="6738938" y="4048125"/>
          <p14:tracePt t="849" x="6726238" y="4059238"/>
          <p14:tracePt t="850" x="6707188" y="4064000"/>
          <p14:tracePt t="851" x="6686550" y="4075113"/>
          <p14:tracePt t="852" x="6662738" y="4083050"/>
          <p14:tracePt t="853" x="6634163" y="4095750"/>
          <p14:tracePt t="854" x="6615113" y="4106863"/>
          <p14:tracePt t="855" x="6594475" y="4116388"/>
          <p14:tracePt t="856" x="6570663" y="4127500"/>
          <p14:tracePt t="857" x="6534150" y="4140200"/>
          <p14:tracePt t="858" x="6515100" y="4151313"/>
          <p14:tracePt t="859" x="6489700" y="4159250"/>
          <p14:tracePt t="861" x="6442075" y="4183063"/>
          <p14:tracePt t="862" x="6423025" y="4195763"/>
          <p14:tracePt t="863" x="6381750" y="4219575"/>
          <p14:tracePt t="864" x="6354763" y="4232275"/>
          <p14:tracePt t="865" x="6326188" y="4243388"/>
          <p14:tracePt t="866" x="6302375" y="4251325"/>
          <p14:tracePt t="867" x="6257925" y="4279900"/>
          <p14:tracePt t="868" x="6226175" y="4291013"/>
          <p14:tracePt t="869" x="6197600" y="4308475"/>
          <p14:tracePt t="870" x="6170613" y="4319588"/>
          <p14:tracePt t="871" x="6137275" y="4340225"/>
          <p14:tracePt t="873" x="6062663" y="4375150"/>
          <p14:tracePt t="874" x="6034088" y="4395788"/>
          <p14:tracePt t="875" x="5997575" y="4416425"/>
          <p14:tracePt t="877" x="5921375" y="4451350"/>
          <p14:tracePt t="878" x="5889625" y="4467225"/>
          <p14:tracePt t="879" x="5861050" y="4487863"/>
          <p14:tracePt t="880" x="5821363" y="4508500"/>
          <p14:tracePt t="881" x="5794375" y="4516438"/>
          <p14:tracePt t="882" x="5745163" y="4543425"/>
          <p14:tracePt t="883" x="5710238" y="4564063"/>
          <p14:tracePt t="884" x="5676900" y="4579938"/>
          <p14:tracePt t="885" x="5641975" y="4600575"/>
          <p14:tracePt t="886" x="5613400" y="4619625"/>
          <p14:tracePt t="887" x="5565775" y="4643438"/>
          <p14:tracePt t="888" x="5529263" y="4664075"/>
          <p14:tracePt t="889" x="5497513" y="4679950"/>
          <p14:tracePt t="891" x="5429250" y="4719638"/>
          <p14:tracePt t="892" x="5376863" y="4740275"/>
          <p14:tracePt t="893" x="5345113" y="4756150"/>
          <p14:tracePt t="894" x="5308600" y="4776788"/>
          <p14:tracePt t="895" x="5276850" y="4792663"/>
          <p14:tracePt t="896" x="5241925" y="4811713"/>
          <p14:tracePt t="897" x="5192713" y="4840288"/>
          <p14:tracePt t="898" x="5157788" y="4856163"/>
          <p14:tracePt t="899" x="5124450" y="4876800"/>
          <p14:tracePt t="900" x="5089525" y="4887913"/>
          <p14:tracePt t="901" x="5060950" y="4903788"/>
          <p14:tracePt t="902" x="5005388" y="4932363"/>
          <p14:tracePt t="903" x="4976813" y="4953000"/>
          <p14:tracePt t="904" x="4945063" y="4968875"/>
          <p14:tracePt t="905" x="4908550" y="4979988"/>
          <p14:tracePt t="906" x="4876800" y="5000625"/>
          <p14:tracePt t="907" x="4832350" y="5024438"/>
          <p14:tracePt t="908" x="4792663" y="5045075"/>
          <p14:tracePt t="909" x="4764088" y="5056188"/>
          <p14:tracePt t="910" x="4729163" y="5076825"/>
          <p14:tracePt t="911" x="4697413" y="5092700"/>
          <p14:tracePt t="912" x="4652963" y="5111750"/>
          <p14:tracePt t="913" x="4613275" y="5132388"/>
          <p14:tracePt t="914" x="4584700" y="5148263"/>
          <p14:tracePt t="915" x="4556125" y="5160963"/>
          <p14:tracePt t="916" x="4516438" y="5180013"/>
          <p14:tracePt t="917" x="4471988" y="5200650"/>
          <p14:tracePt t="918" x="4445000" y="5213350"/>
          <p14:tracePt t="919" x="4411663" y="5229225"/>
          <p14:tracePt t="920" x="4376738" y="5240338"/>
          <p14:tracePt t="921" x="4348163" y="5253038"/>
          <p14:tracePt t="922" x="4300538" y="5272088"/>
          <p14:tracePt t="923" x="4271963" y="5292725"/>
          <p14:tracePt t="924" x="4232275" y="5305425"/>
          <p14:tracePt t="925" x="4203700" y="5316538"/>
          <p14:tracePt t="926" x="4168775" y="5329238"/>
          <p14:tracePt t="927" x="4124325" y="5345113"/>
          <p14:tracePt t="928" x="4092575" y="5356225"/>
          <p14:tracePt t="929" x="4064000" y="5368925"/>
          <p14:tracePt t="930" x="4035425" y="5380038"/>
          <p14:tracePt t="931" x="3984625" y="5392738"/>
          <p14:tracePt t="932" x="3951288" y="5405438"/>
          <p14:tracePt t="933" x="3924300" y="5413375"/>
          <p14:tracePt t="934" x="3887788" y="5424488"/>
          <p14:tracePt t="935" x="3859213" y="5437188"/>
          <p14:tracePt t="936" x="3832225" y="5440363"/>
          <p14:tracePt t="937" x="3779838" y="5453063"/>
          <p14:tracePt t="938" x="3751263" y="5461000"/>
          <p14:tracePt t="939" x="3716338" y="5472113"/>
          <p14:tracePt t="940" x="3687763" y="5476875"/>
          <p14:tracePt t="941" x="3648075" y="5489575"/>
          <p14:tracePt t="942" x="3603625" y="5505450"/>
          <p14:tracePt t="943" x="3567113" y="5508625"/>
          <p14:tracePt t="944" x="3540125" y="5513388"/>
          <p14:tracePt t="945" x="3503613" y="5521325"/>
          <p14:tracePt t="946" x="3475038" y="5524500"/>
          <p14:tracePt t="947" x="3422650" y="5540375"/>
          <p14:tracePt t="948" x="3395663" y="5545138"/>
          <p14:tracePt t="949" x="3359150" y="5553075"/>
          <p14:tracePt t="950" x="3335338" y="5553075"/>
          <p14:tracePt t="951" x="3279775" y="5564188"/>
          <p14:tracePt t="952" x="3246438" y="5564188"/>
          <p14:tracePt t="953" x="3219450" y="5568950"/>
          <p14:tracePt t="954" x="3182938" y="5576888"/>
          <p14:tracePt t="955" x="3146425" y="5576888"/>
          <p14:tracePt t="956" x="3111500" y="5581650"/>
          <p14:tracePt t="957" x="3067050" y="5581650"/>
          <p14:tracePt t="958" x="3030538" y="5589588"/>
          <p14:tracePt t="959" x="3006725" y="5589588"/>
          <p14:tracePt t="960" x="2970213" y="5589588"/>
          <p14:tracePt t="961" x="2927350" y="5589588"/>
          <p14:tracePt t="962" x="2890838" y="5592763"/>
          <p14:tracePt t="963" x="2867025" y="5592763"/>
          <p14:tracePt t="964" x="2830513" y="5592763"/>
          <p14:tracePt t="965" x="2803525" y="5600700"/>
          <p14:tracePt t="966" x="2767013" y="5600700"/>
          <p14:tracePt t="967" x="2727325" y="5600700"/>
          <p14:tracePt t="968" x="2690813" y="5600700"/>
          <p14:tracePt t="969" x="2662238" y="5600700"/>
          <p14:tracePt t="970" x="2630488" y="5600700"/>
          <p14:tracePt t="971" x="2586038" y="5600700"/>
          <p14:tracePt t="973" x="2525713" y="5600700"/>
          <p14:tracePt t="974" x="2498725" y="5600700"/>
          <p14:tracePt t="975" x="2462213" y="5600700"/>
          <p14:tracePt t="976" x="2438400" y="5600700"/>
          <p14:tracePt t="977" x="2386013" y="5600700"/>
          <p14:tracePt t="978" x="2351088" y="5600700"/>
          <p14:tracePt t="979" x="2322513" y="5597525"/>
          <p14:tracePt t="980" x="2290763" y="5597525"/>
          <p14:tracePt t="981" x="2246313" y="5592763"/>
          <p14:tracePt t="982" x="2209800" y="5592763"/>
          <p14:tracePt t="983" x="2174875" y="5584825"/>
          <p14:tracePt t="984" x="2146300" y="5581650"/>
          <p14:tracePt t="985" x="2109788" y="5572125"/>
          <p14:tracePt t="986" x="2073275" y="5568950"/>
          <p14:tracePt t="987" x="2022475" y="5561013"/>
          <p14:tracePt t="988" x="1985963" y="5556250"/>
          <p14:tracePt t="989" x="1949450" y="5548313"/>
          <p14:tracePt t="990" x="1914525" y="5545138"/>
          <p14:tracePt t="991" x="1854200" y="5537200"/>
          <p14:tracePt t="992" x="1817688" y="5529263"/>
          <p14:tracePt t="993" x="1781175" y="5516563"/>
          <p14:tracePt t="994" x="1738313" y="5513388"/>
          <p14:tracePt t="995" x="1701800" y="5505450"/>
          <p14:tracePt t="996" x="1657350" y="5492750"/>
          <p14:tracePt t="997" x="1593850" y="5480050"/>
          <p14:tracePt t="998" x="1549400" y="5468938"/>
          <p14:tracePt t="999" x="1504950" y="5461000"/>
          <p14:tracePt t="1000" x="1462088" y="5448300"/>
          <p14:tracePt t="1001" x="1389063" y="5424488"/>
          <p14:tracePt t="1002" x="1344613" y="5413375"/>
          <p14:tracePt t="1003" x="1301750" y="5400675"/>
          <p14:tracePt t="1004" x="1249363" y="5387975"/>
          <p14:tracePt t="1005" x="1201738" y="5376863"/>
          <p14:tracePt t="1006" x="1133475" y="5353050"/>
          <p14:tracePt t="1007" x="1076325" y="5332413"/>
          <p14:tracePt t="1008" x="1025525" y="5321300"/>
          <p14:tracePt t="1009" x="973138" y="5300663"/>
          <p14:tracePt t="1010" x="917575" y="5280025"/>
          <p14:tracePt t="1011" x="841375" y="5260975"/>
          <p14:tracePt t="1012" x="784225" y="5237163"/>
          <p14:tracePt t="1013" x="733425" y="5216525"/>
          <p14:tracePt t="1014" x="681038" y="5203825"/>
          <p14:tracePt t="1015" x="623888" y="5184775"/>
          <p14:tracePt t="1016" x="544513" y="5156200"/>
          <p14:tracePt t="1017" x="484188" y="5137150"/>
          <p14:tracePt t="1018" x="431800" y="5116513"/>
          <p14:tracePt t="1019" x="368300" y="5095875"/>
          <p14:tracePt t="1020" x="315913" y="5068888"/>
          <p14:tracePt t="1021" x="223838" y="5037138"/>
          <p14:tracePt t="1022" x="163513" y="5008563"/>
          <p14:tracePt t="1023" x="107950" y="4987925"/>
          <p14:tracePt t="1024" x="47625" y="4960938"/>
          <p14:tracePt t="40217" x="60325" y="560388"/>
          <p14:tracePt t="40219" x="152400" y="581025"/>
          <p14:tracePt t="40220" x="196850" y="592138"/>
          <p14:tracePt t="40221" x="247650" y="600075"/>
          <p14:tracePt t="40222" x="307975" y="612775"/>
          <p14:tracePt t="40224" x="415925" y="641350"/>
          <p14:tracePt t="40225" x="460375" y="644525"/>
          <p14:tracePt t="40226" x="512763" y="652463"/>
          <p14:tracePt t="40227" x="588963" y="673100"/>
          <p14:tracePt t="40228" x="641350" y="681038"/>
          <p14:tracePt t="40229" x="696913" y="692150"/>
          <p14:tracePt t="40230" x="749300" y="704850"/>
          <p14:tracePt t="40232" x="884238" y="733425"/>
          <p14:tracePt t="40234" x="949325" y="749300"/>
          <p14:tracePt t="40234" x="1001713" y="760413"/>
          <p14:tracePt t="40235" x="1060450" y="776288"/>
          <p14:tracePt t="40236" x="1117600" y="788988"/>
          <p14:tracePt t="40237" x="1201738" y="808038"/>
          <p14:tracePt t="40238" x="1260475" y="825500"/>
          <p14:tracePt t="40239" x="1333500" y="836613"/>
          <p14:tracePt t="40240" x="1393825" y="852488"/>
          <p14:tracePt t="40241" x="1454150" y="865188"/>
          <p14:tracePt t="40242" x="1554163" y="889000"/>
          <p14:tracePt t="40243" x="1612900" y="900113"/>
          <p14:tracePt t="40244" x="1685925" y="912813"/>
          <p14:tracePt t="40245" x="1746250" y="928688"/>
          <p14:tracePt t="40246" x="1814513" y="941388"/>
          <p14:tracePt t="40247" x="1914525" y="965200"/>
          <p14:tracePt t="40249" x="1973263" y="976313"/>
          <p14:tracePt t="40249" x="2046288" y="1000125"/>
          <p14:tracePt t="40250" x="2114550" y="1012825"/>
          <p14:tracePt t="40252" x="2293938" y="1052513"/>
          <p14:tracePt t="40253" x="2374900" y="1073150"/>
          <p14:tracePt t="40254" x="2443163" y="1084263"/>
          <p14:tracePt t="40255" x="2522538" y="1109663"/>
          <p14:tracePt t="40256" x="2598738" y="1120775"/>
          <p14:tracePt t="40257" x="2711450" y="1144588"/>
          <p14:tracePt t="40258" x="2786063" y="1165225"/>
          <p14:tracePt t="40259" x="2854325" y="1181100"/>
          <p14:tracePt t="40260" x="2935288" y="1201738"/>
          <p14:tracePt t="40261" x="3014663" y="1225550"/>
          <p14:tracePt t="40262" x="3135313" y="1249363"/>
          <p14:tracePt t="40263" x="3222625" y="1260475"/>
          <p14:tracePt t="40264" x="3298825" y="1285875"/>
          <p14:tracePt t="40265" x="3379788" y="1296988"/>
          <p14:tracePt t="40266" x="3463925" y="1320800"/>
          <p14:tracePt t="40267" x="3587750" y="1344613"/>
          <p14:tracePt t="40269" x="3751263" y="1381125"/>
          <p14:tracePt t="40270" x="3835400" y="1393825"/>
          <p14:tracePt t="40271" x="3916363" y="1409700"/>
          <p14:tracePt t="40272" x="4051300" y="1433513"/>
          <p14:tracePt t="40273" x="4135438" y="1452563"/>
          <p14:tracePt t="40274" x="4224338" y="1470025"/>
          <p14:tracePt t="40275" x="4308475" y="1485900"/>
          <p14:tracePt t="40276" x="4387850" y="1504950"/>
          <p14:tracePt t="40277" x="4537075" y="1528763"/>
          <p14:tracePt t="40278" x="4621213" y="1544638"/>
          <p14:tracePt t="40279" x="4708525" y="1562100"/>
          <p14:tracePt t="40280" x="4792663" y="1573213"/>
          <p14:tracePt t="40282" x="5024438" y="1612900"/>
          <p14:tracePt t="40283" x="5113338" y="1628775"/>
          <p14:tracePt t="40285" x="5276850" y="1657350"/>
          <p14:tracePt t="40286" x="5360988" y="1673225"/>
          <p14:tracePt t="40287" x="5484813" y="1697038"/>
          <p14:tracePt t="40288" x="5568950" y="1709738"/>
          <p14:tracePt t="40289" x="5649913" y="1725613"/>
          <p14:tracePt t="40290" x="5734050" y="1738313"/>
          <p14:tracePt t="40291" x="5853113" y="1754188"/>
          <p14:tracePt t="40292" x="5934075" y="1770063"/>
          <p14:tracePt t="40293" x="6010275" y="1781175"/>
          <p14:tracePt t="40294" x="6089650" y="1797050"/>
          <p14:tracePt t="40295" x="6165850" y="1812925"/>
          <p14:tracePt t="40296" x="6242050" y="1825625"/>
          <p14:tracePt t="40297" x="6354763" y="1841500"/>
          <p14:tracePt t="40298" x="6430963" y="1854200"/>
          <p14:tracePt t="40299" x="6497638" y="1870075"/>
          <p14:tracePt t="40301" x="6578600" y="1878013"/>
          <p14:tracePt t="40303" x="6823075" y="1922463"/>
          <p14:tracePt t="40304" x="6891338" y="1933575"/>
          <p14:tracePt t="40305" x="6959600" y="1941513"/>
          <p14:tracePt t="40306" x="7059613" y="1962150"/>
          <p14:tracePt t="40307" x="7126288" y="1970088"/>
          <p14:tracePt t="40308" x="7186613" y="1985963"/>
          <p14:tracePt t="40309" x="7259638" y="1997075"/>
          <p14:tracePt t="40310" x="7319963" y="2009775"/>
          <p14:tracePt t="40311" x="7402513" y="2025650"/>
          <p14:tracePt t="40312" x="7467600" y="2033588"/>
          <p14:tracePt t="40313" x="7527925" y="2046288"/>
          <p14:tracePt t="40314" x="7578725" y="2057400"/>
          <p14:tracePt t="40315" x="7639050" y="2065338"/>
          <p14:tracePt t="40316" x="7720013" y="2081213"/>
          <p14:tracePt t="40317" x="7772400" y="2085975"/>
          <p14:tracePt t="40319" x="7875588" y="2106613"/>
          <p14:tracePt t="40320" x="7927975" y="2117725"/>
          <p14:tracePt t="40321" x="7999413" y="2133600"/>
          <p14:tracePt t="40322" x="8051800" y="2141538"/>
          <p14:tracePt t="40323" x="8096250" y="2154238"/>
          <p14:tracePt t="40324" x="8148638" y="2157413"/>
          <p14:tracePt t="40325" x="8191500" y="2173288"/>
          <p14:tracePt t="40326" x="8256588" y="2185988"/>
          <p14:tracePt t="40327" x="8299450" y="2193925"/>
          <p14:tracePt t="40328" x="8335963" y="2206625"/>
          <p14:tracePt t="40329" x="8380413" y="2217738"/>
          <p14:tracePt t="40330" x="8416925" y="2222500"/>
          <p14:tracePt t="40331" x="8467725" y="2238375"/>
          <p14:tracePt t="40332" x="8512175" y="2241550"/>
          <p14:tracePt t="40333" x="8543925" y="2254250"/>
          <p14:tracePt t="40334" x="8580438" y="2265363"/>
          <p14:tracePt t="40337" x="8696325" y="2298700"/>
          <p14:tracePt t="40338" x="8732838" y="2301875"/>
          <p14:tracePt t="40339" x="8769350" y="2317750"/>
          <p14:tracePt t="40340" x="8796338" y="2322513"/>
          <p14:tracePt t="40341" x="8843963" y="2333625"/>
          <p14:tracePt t="40342" x="8880475" y="2346325"/>
          <p14:tracePt t="40343" x="8909050" y="2354263"/>
          <p14:tracePt t="40344" x="8936038" y="2362200"/>
          <p14:tracePt t="40345" x="8980488" y="2378075"/>
          <p14:tracePt t="40346" x="9017000" y="2390775"/>
          <p14:tracePt t="40347" x="9045575" y="2393950"/>
          <p14:tracePt t="40348" x="9077325" y="2406650"/>
          <p14:tracePt t="40349" x="9104313" y="2409825"/>
          <p14:tracePt t="40350" x="9124950" y="2422525"/>
          <p14:tracePt t="40352" x="9169400" y="2433638"/>
          <p14:tracePt t="40354" x="9245600" y="2457450"/>
          <p14:tracePt t="40355" x="9285288" y="2478088"/>
          <p14:tracePt t="40356" x="9313863" y="2482850"/>
          <p14:tracePt t="40357" x="9332913" y="2493963"/>
          <p14:tracePt t="40358" x="9361488" y="2498725"/>
          <p14:tracePt t="40359" x="9388475" y="2509838"/>
          <p14:tracePt t="40360" x="9409113" y="2517775"/>
          <p14:tracePt t="40361" x="9448800" y="2533650"/>
          <p14:tracePt t="40362" x="9477375" y="2541588"/>
          <p14:tracePt t="40363" x="9498013" y="2549525"/>
          <p14:tracePt t="40364" x="9517063" y="2557463"/>
          <p14:tracePt t="40365" x="9553575" y="2578100"/>
          <p14:tracePt t="40366" x="9574213" y="2582863"/>
          <p14:tracePt t="40367" x="9598025" y="2593975"/>
          <p14:tracePt t="40370" x="9666288" y="2625725"/>
          <p14:tracePt t="40371" x="9690100" y="2638425"/>
          <p14:tracePt t="40372" x="9709150" y="2646363"/>
          <p14:tracePt t="40373" x="9729788" y="2659063"/>
          <p14:tracePt t="40374" x="9753600" y="2670175"/>
          <p14:tracePt t="40375" x="9790113" y="2682875"/>
          <p14:tracePt t="40376" x="9809163" y="2690813"/>
          <p14:tracePt t="40377" x="9829800" y="2701925"/>
          <p14:tracePt t="40378" x="9853613" y="2714625"/>
          <p14:tracePt t="40379" x="9866313" y="2722563"/>
          <p14:tracePt t="40380" x="9893300" y="2738438"/>
          <p14:tracePt t="40382" x="9937750" y="2767013"/>
          <p14:tracePt t="40383" x="9958388" y="2778125"/>
          <p14:tracePt t="40387" x="10026650" y="2825750"/>
          <p14:tracePt t="40387" x="10045700" y="2838450"/>
          <p14:tracePt t="40388" x="10069513" y="2854325"/>
          <p14:tracePt t="40389" x="10090150" y="2870200"/>
          <p14:tracePt t="40390" x="10113963" y="2882900"/>
          <p14:tracePt t="40391" x="10142538" y="2906713"/>
          <p14:tracePt t="40392" x="10158413" y="2917825"/>
          <p14:tracePt t="40393" x="10177463" y="2930525"/>
          <p14:tracePt t="40394" x="10193338" y="2946400"/>
          <p14:tracePt t="40395" x="10226675" y="2970213"/>
          <p14:tracePt t="40396" x="10245725" y="2986088"/>
          <p14:tracePt t="40397" x="10261600" y="2994025"/>
          <p14:tracePt t="40398" x="10282238" y="3009900"/>
          <p14:tracePt t="40399" x="10298113" y="3027363"/>
          <p14:tracePt t="40400" x="10326688" y="3046413"/>
          <p14:tracePt t="40402" x="10342563" y="3059113"/>
          <p14:tracePt t="40403" x="10377488" y="3086100"/>
          <p14:tracePt t="40404" x="10394950" y="3101975"/>
          <p14:tracePt t="40405" x="10421938" y="3119438"/>
          <p14:tracePt t="40406" x="10437813" y="3127375"/>
          <p14:tracePt t="40407" x="10453688" y="3143250"/>
          <p14:tracePt t="40408" x="10466388" y="3154363"/>
          <p14:tracePt t="40409" x="10482263" y="3167063"/>
          <p14:tracePt t="40410" x="10502900" y="3182938"/>
          <p14:tracePt t="40411" x="10514013" y="3194050"/>
          <p14:tracePt t="40412" x="10526713" y="3203575"/>
          <p14:tracePt t="40413" x="10537825" y="3211513"/>
          <p14:tracePt t="40414" x="10550525" y="3222625"/>
          <p14:tracePt t="40415" x="10566400" y="3235325"/>
          <p14:tracePt t="40416" x="10579100" y="3246438"/>
          <p14:tracePt t="40418" x="10602913" y="3262313"/>
          <p14:tracePt t="40419" x="10618788" y="3278188"/>
          <p14:tracePt t="40420" x="10634663" y="3290888"/>
          <p14:tracePt t="40421" x="10642600" y="3298825"/>
          <p14:tracePt t="40422" x="10650538" y="3306763"/>
          <p14:tracePt t="40423" x="10658475" y="3314700"/>
          <p14:tracePt t="40424" x="10674350" y="3327400"/>
          <p14:tracePt t="40425" x="10690225" y="3335338"/>
          <p14:tracePt t="40426" x="10698163" y="3343275"/>
          <p14:tracePt t="40433" x="10774363" y="3403600"/>
          <p14:tracePt t="40433" x="10787063" y="3411538"/>
          <p14:tracePt t="40436" x="10829925" y="3443288"/>
          <p14:tracePt t="40437" x="10847388" y="3454400"/>
          <p14:tracePt t="40438" x="10858500" y="3462338"/>
          <p14:tracePt t="40439" x="10879138" y="3475038"/>
          <p14:tracePt t="40440" x="10890250" y="3482975"/>
          <p14:tracePt t="40441" x="10902950" y="3490913"/>
          <p14:tracePt t="40442" x="10918825" y="3503613"/>
          <p14:tracePt t="40443" x="10934700" y="3511550"/>
          <p14:tracePt t="40444" x="10947400" y="3522663"/>
          <p14:tracePt t="40445" x="10966450" y="3538538"/>
          <p14:tracePt t="40446" x="10982325" y="3546475"/>
          <p14:tracePt t="40447" x="11002963" y="3559175"/>
          <p14:tracePt t="40449" x="11018838" y="3567113"/>
          <p14:tracePt t="40449" x="11039475" y="3582988"/>
          <p14:tracePt t="40451" x="11055350" y="3590925"/>
          <p14:tracePt t="40452" x="11087100" y="3611563"/>
          <p14:tracePt t="40453" x="11106150" y="3622675"/>
          <p14:tracePt t="40454" x="11123613" y="3630613"/>
          <p14:tracePt t="40455" x="11150600" y="3643313"/>
          <p14:tracePt t="40456" x="11171238" y="3654425"/>
          <p14:tracePt t="40457" x="11187113" y="3663950"/>
          <p14:tracePt t="40458" x="11207750" y="3671888"/>
          <p14:tracePt t="40459" x="11234738" y="3690938"/>
          <p14:tracePt t="40460" x="11255375" y="3703638"/>
          <p14:tracePt t="40461" x="11279188" y="3711575"/>
          <p14:tracePt t="40462" x="11299825" y="3722688"/>
          <p14:tracePt t="40463" x="11318875" y="3735388"/>
          <p14:tracePt t="40464" x="11342688" y="3743325"/>
          <p14:tracePt t="40466" x="11379200" y="3756025"/>
          <p14:tracePt t="40466" x="11399838" y="3767138"/>
          <p14:tracePt t="40467" x="11418888" y="3775075"/>
          <p14:tracePt t="40469" x="11471275" y="3798888"/>
          <p14:tracePt t="40471" x="11518900" y="3822700"/>
          <p14:tracePt t="40472" x="11542713" y="3830638"/>
          <p14:tracePt t="40473" x="11563350" y="3835400"/>
          <p14:tracePt t="40474" x="11583988" y="3848100"/>
          <p14:tracePt t="40475" x="11618913" y="3859213"/>
          <p14:tracePt t="40476" x="11639550" y="3871913"/>
          <p14:tracePt t="40477" x="11663363" y="3879850"/>
          <p14:tracePt t="40478" x="11691938" y="3887788"/>
          <p14:tracePt t="40479" x="11718925" y="3903663"/>
          <p14:tracePt t="40480" x="11739563" y="3911600"/>
          <p14:tracePt t="40482" x="11760200" y="3919538"/>
          <p14:tracePt t="40482" x="11787188" y="3930650"/>
          <p14:tracePt t="40483" x="11807825" y="3935413"/>
          <p14:tracePt t="40485" x="11847513" y="3948113"/>
          <p14:tracePt t="40486" x="11895138" y="3971925"/>
          <p14:tracePt t="40487" x="11915775" y="3975100"/>
          <p14:tracePt t="40488" x="11936413" y="3987800"/>
          <p14:tracePt t="40489" x="11976100" y="3998913"/>
          <p14:tracePt t="40490" x="12003088" y="4011613"/>
          <p14:tracePt t="40491" x="12023725" y="4014788"/>
          <p14:tracePt t="40492" x="12052300" y="4027488"/>
          <p14:tracePt t="40493" x="12071350" y="4040188"/>
          <p14:tracePt t="40494" x="12112625" y="4051300"/>
          <p14:tracePt t="40495" x="12128500" y="4056063"/>
          <p14:tracePt t="40496" x="12160250" y="4067175"/>
          <p14:tracePt t="40497" x="12179300" y="4071938"/>
        </p14:tracePtLst>
      </p14:laserTraceLst>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E87DDF46-B07A-4183-A6C4-5CFC46E95960}"/>
              </a:ext>
            </a:extLst>
          </p:cNvPr>
          <p:cNvSpPr>
            <a:spLocks noGrp="1"/>
          </p:cNvSpPr>
          <p:nvPr>
            <p:ph type="sldNum" sz="quarter" idx="12"/>
          </p:nvPr>
        </p:nvSpPr>
        <p:spPr/>
        <p:txBody>
          <a:bodyPr/>
          <a:lstStyle/>
          <a:p>
            <a:fld id="{87170177-53BE-4EA4-8CC9-5D64EAB74717}" type="slidenum">
              <a:rPr lang="cs-CZ" sz="900" smtClean="0"/>
              <a:t>12</a:t>
            </a:fld>
            <a:endParaRPr lang="cs-CZ" sz="900" dirty="0"/>
          </a:p>
        </p:txBody>
      </p:sp>
      <p:sp>
        <p:nvSpPr>
          <p:cNvPr id="4" name="Rectangle 94">
            <a:extLst>
              <a:ext uri="{FF2B5EF4-FFF2-40B4-BE49-F238E27FC236}">
                <a16:creationId xmlns:a16="http://schemas.microsoft.com/office/drawing/2014/main" id="{32C0964D-8390-4CE7-85AE-760E74072C20}"/>
              </a:ext>
            </a:extLst>
          </p:cNvPr>
          <p:cNvSpPr/>
          <p:nvPr/>
        </p:nvSpPr>
        <p:spPr>
          <a:xfrm>
            <a:off x="0" y="-17702"/>
            <a:ext cx="12192001" cy="10800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82">
            <a:extLst>
              <a:ext uri="{FF2B5EF4-FFF2-40B4-BE49-F238E27FC236}">
                <a16:creationId xmlns:a16="http://schemas.microsoft.com/office/drawing/2014/main" id="{D0E75087-D62C-461B-B63C-582B2042EDFC}"/>
              </a:ext>
            </a:extLst>
          </p:cNvPr>
          <p:cNvSpPr txBox="1"/>
          <p:nvPr/>
        </p:nvSpPr>
        <p:spPr>
          <a:xfrm>
            <a:off x="304263" y="200887"/>
            <a:ext cx="11583472" cy="584775"/>
          </a:xfrm>
          <a:prstGeom prst="rect">
            <a:avLst/>
          </a:prstGeom>
          <a:noFill/>
        </p:spPr>
        <p:txBody>
          <a:bodyPr wrap="square" rtlCol="0">
            <a:spAutoFit/>
          </a:bodyPr>
          <a:lstStyle/>
          <a:p>
            <a:r>
              <a:rPr lang="cs-CZ" sz="3200" b="1" dirty="0" err="1">
                <a:solidFill>
                  <a:schemeClr val="bg2"/>
                </a:solidFill>
                <a:latin typeface="+mj-lt"/>
              </a:rPr>
              <a:t>Procurement</a:t>
            </a:r>
            <a:r>
              <a:rPr lang="cs-CZ" sz="3200" b="1" dirty="0">
                <a:solidFill>
                  <a:schemeClr val="bg2"/>
                </a:solidFill>
                <a:latin typeface="+mj-lt"/>
              </a:rPr>
              <a:t> </a:t>
            </a:r>
            <a:r>
              <a:rPr lang="en-GB" sz="3200" b="1" dirty="0">
                <a:solidFill>
                  <a:schemeClr val="bg2"/>
                </a:solidFill>
                <a:latin typeface="+mj-lt"/>
              </a:rPr>
              <a:t>&amp; Purchasing</a:t>
            </a:r>
            <a:endParaRPr lang="en-US" sz="3200" dirty="0">
              <a:solidFill>
                <a:schemeClr val="tx2"/>
              </a:solidFill>
            </a:endParaRPr>
          </a:p>
        </p:txBody>
      </p:sp>
      <p:sp>
        <p:nvSpPr>
          <p:cNvPr id="8" name="TextovéPole 7">
            <a:extLst>
              <a:ext uri="{FF2B5EF4-FFF2-40B4-BE49-F238E27FC236}">
                <a16:creationId xmlns:a16="http://schemas.microsoft.com/office/drawing/2014/main" id="{60F9672A-58D6-4EEB-8577-2D9CD44D60FD}"/>
              </a:ext>
            </a:extLst>
          </p:cNvPr>
          <p:cNvSpPr txBox="1"/>
          <p:nvPr/>
        </p:nvSpPr>
        <p:spPr>
          <a:xfrm>
            <a:off x="7686613" y="644347"/>
            <a:ext cx="4436664" cy="369332"/>
          </a:xfrm>
          <a:prstGeom prst="rect">
            <a:avLst/>
          </a:prstGeom>
          <a:noFill/>
        </p:spPr>
        <p:txBody>
          <a:bodyPr wrap="none" rtlCol="0">
            <a:spAutoFit/>
          </a:bodyPr>
          <a:lstStyle/>
          <a:p>
            <a:r>
              <a:rPr lang="en-GB" b="1" dirty="0">
                <a:solidFill>
                  <a:schemeClr val="bg1">
                    <a:lumMod val="85000"/>
                  </a:schemeClr>
                </a:solidFill>
              </a:rPr>
              <a:t>Parts Ordering Distributors - Communication</a:t>
            </a:r>
            <a:endParaRPr lang="cs-CZ" b="1" dirty="0">
              <a:solidFill>
                <a:schemeClr val="bg1">
                  <a:lumMod val="85000"/>
                </a:schemeClr>
              </a:solidFill>
            </a:endParaRPr>
          </a:p>
        </p:txBody>
      </p:sp>
      <p:sp>
        <p:nvSpPr>
          <p:cNvPr id="12" name="TextovéPole 11">
            <a:extLst>
              <a:ext uri="{FF2B5EF4-FFF2-40B4-BE49-F238E27FC236}">
                <a16:creationId xmlns:a16="http://schemas.microsoft.com/office/drawing/2014/main" id="{0E9820E6-122D-4962-9B46-910B379B8DB7}"/>
              </a:ext>
            </a:extLst>
          </p:cNvPr>
          <p:cNvSpPr txBox="1"/>
          <p:nvPr/>
        </p:nvSpPr>
        <p:spPr>
          <a:xfrm>
            <a:off x="389586" y="1149877"/>
            <a:ext cx="10608972" cy="369332"/>
          </a:xfrm>
          <a:prstGeom prst="rect">
            <a:avLst/>
          </a:prstGeom>
          <a:noFill/>
        </p:spPr>
        <p:txBody>
          <a:bodyPr wrap="square">
            <a:spAutoFit/>
          </a:bodyPr>
          <a:lstStyle/>
          <a:p>
            <a:r>
              <a:rPr lang="en-US" b="1" dirty="0"/>
              <a:t>DISTRIBUTORS</a:t>
            </a:r>
            <a:r>
              <a:rPr lang="en-US" dirty="0"/>
              <a:t>  PARTS Online Database search issues</a:t>
            </a:r>
          </a:p>
        </p:txBody>
      </p:sp>
      <p:sp>
        <p:nvSpPr>
          <p:cNvPr id="15" name="TextovéPole 14">
            <a:extLst>
              <a:ext uri="{FF2B5EF4-FFF2-40B4-BE49-F238E27FC236}">
                <a16:creationId xmlns:a16="http://schemas.microsoft.com/office/drawing/2014/main" id="{09C3B6E2-9D99-4092-B5F9-09C705B50CB4}"/>
              </a:ext>
            </a:extLst>
          </p:cNvPr>
          <p:cNvSpPr txBox="1"/>
          <p:nvPr/>
        </p:nvSpPr>
        <p:spPr>
          <a:xfrm>
            <a:off x="349338" y="1931233"/>
            <a:ext cx="11493322" cy="1754326"/>
          </a:xfrm>
          <a:prstGeom prst="rect">
            <a:avLst/>
          </a:prstGeom>
          <a:noFill/>
        </p:spPr>
        <p:txBody>
          <a:bodyPr wrap="square">
            <a:spAutoFit/>
          </a:bodyPr>
          <a:lstStyle/>
          <a:p>
            <a:pPr marL="285750" indent="-285750">
              <a:buFont typeface="Arial" panose="020B0604020202020204" pitchFamily="34" charset="0"/>
              <a:buChar char="•"/>
            </a:pPr>
            <a:r>
              <a:rPr lang="en-US" b="1" dirty="0"/>
              <a:t>“special” low ESR tantalum or surge robust series is not in stock, </a:t>
            </a:r>
            <a:r>
              <a:rPr lang="en-US" b="1" u="sng" dirty="0"/>
              <a:t>full reel orders </a:t>
            </a:r>
            <a:r>
              <a:rPr lang="en-US" b="1" dirty="0"/>
              <a:t>are accepted only</a:t>
            </a:r>
          </a:p>
          <a:p>
            <a:pPr marL="285750" indent="-285750">
              <a:buFont typeface="Arial" panose="020B0604020202020204" pitchFamily="34" charset="0"/>
              <a:buChar char="•"/>
            </a:pPr>
            <a:r>
              <a:rPr lang="en-US" b="1" dirty="0"/>
              <a:t>Distributors’ database is showing </a:t>
            </a:r>
            <a:r>
              <a:rPr lang="en-US" b="1" u="sng" dirty="0"/>
              <a:t>incorrect search results</a:t>
            </a:r>
            <a:r>
              <a:rPr lang="en-US" dirty="0"/>
              <a:t>: Supplier 3 part in distributor database was </a:t>
            </a:r>
            <a:r>
              <a:rPr lang="en-US" b="1" dirty="0"/>
              <a:t>not marked as AEC-Q200 qualified </a:t>
            </a:r>
            <a:r>
              <a:rPr lang="en-US" dirty="0"/>
              <a:t>while manufacturer datasheet state the series is  AEC-Q200. This degraded search filter results not showing supplier 3 parts as automotive part. </a:t>
            </a:r>
          </a:p>
          <a:p>
            <a:pPr marL="285750" indent="-285750">
              <a:buFont typeface="Arial" panose="020B0604020202020204" pitchFamily="34" charset="0"/>
              <a:buChar char="•"/>
            </a:pPr>
            <a:r>
              <a:rPr lang="en-US" b="1" dirty="0"/>
              <a:t>wrong presentation materials in link </a:t>
            </a:r>
            <a:r>
              <a:rPr lang="en-US" dirty="0"/>
              <a:t>– tantalum wet capacitors on SMD part</a:t>
            </a:r>
          </a:p>
          <a:p>
            <a:pPr marL="285750" indent="-285750">
              <a:buFont typeface="Arial" panose="020B0604020202020204" pitchFamily="34" charset="0"/>
              <a:buChar char="•"/>
            </a:pPr>
            <a:r>
              <a:rPr lang="en-US" b="1" dirty="0"/>
              <a:t>wrong capacitor value in PN description</a:t>
            </a:r>
            <a:r>
              <a:rPr lang="en-US" dirty="0"/>
              <a:t> – 470nF 25V MLCC described as 206uF </a:t>
            </a:r>
          </a:p>
        </p:txBody>
      </p:sp>
      <p:sp>
        <p:nvSpPr>
          <p:cNvPr id="19" name="TextovéPole 18">
            <a:extLst>
              <a:ext uri="{FF2B5EF4-FFF2-40B4-BE49-F238E27FC236}">
                <a16:creationId xmlns:a16="http://schemas.microsoft.com/office/drawing/2014/main" id="{D551CD95-3693-4580-8EB0-6A85407302AF}"/>
              </a:ext>
            </a:extLst>
          </p:cNvPr>
          <p:cNvSpPr txBox="1"/>
          <p:nvPr/>
        </p:nvSpPr>
        <p:spPr>
          <a:xfrm>
            <a:off x="389586" y="4408779"/>
            <a:ext cx="10677658" cy="923330"/>
          </a:xfrm>
          <a:prstGeom prst="rect">
            <a:avLst/>
          </a:prstGeom>
          <a:noFill/>
        </p:spPr>
        <p:txBody>
          <a:bodyPr wrap="square">
            <a:spAutoFit/>
          </a:bodyPr>
          <a:lstStyle/>
          <a:p>
            <a:r>
              <a:rPr lang="en-US" b="1" dirty="0" err="1"/>
              <a:t>Datapack</a:t>
            </a:r>
            <a:r>
              <a:rPr lang="en-US" b="1" dirty="0"/>
              <a:t> request:</a:t>
            </a:r>
          </a:p>
          <a:p>
            <a:r>
              <a:rPr lang="en-US" dirty="0"/>
              <a:t>•	Manufacturer product datasheets are available in pdf to download from distributor website. </a:t>
            </a:r>
          </a:p>
          <a:p>
            <a:r>
              <a:rPr lang="en-US" dirty="0"/>
              <a:t>•	Request for AECQ-200 data on the capacitors was actioned after placement of order</a:t>
            </a:r>
          </a:p>
        </p:txBody>
      </p:sp>
      <p:pic>
        <p:nvPicPr>
          <p:cNvPr id="2" name="Obrázek 1">
            <a:extLst>
              <a:ext uri="{FF2B5EF4-FFF2-40B4-BE49-F238E27FC236}">
                <a16:creationId xmlns:a16="http://schemas.microsoft.com/office/drawing/2014/main" id="{D5F96AA4-0C41-473E-88F8-63EFE83F3481}"/>
              </a:ext>
            </a:extLst>
          </p:cNvPr>
          <p:cNvPicPr>
            <a:picLocks noChangeAspect="1"/>
          </p:cNvPicPr>
          <p:nvPr/>
        </p:nvPicPr>
        <p:blipFill>
          <a:blip r:embed="rId4"/>
          <a:stretch>
            <a:fillRect/>
          </a:stretch>
        </p:blipFill>
        <p:spPr>
          <a:xfrm>
            <a:off x="7256709" y="3743253"/>
            <a:ext cx="4495800" cy="708660"/>
          </a:xfrm>
          <a:prstGeom prst="rect">
            <a:avLst/>
          </a:prstGeom>
        </p:spPr>
      </p:pic>
      <p:sp>
        <p:nvSpPr>
          <p:cNvPr id="13" name="Zástupný symbol pro zápatí 2">
            <a:extLst>
              <a:ext uri="{FF2B5EF4-FFF2-40B4-BE49-F238E27FC236}">
                <a16:creationId xmlns:a16="http://schemas.microsoft.com/office/drawing/2014/main" id="{306522C3-29BF-4A6C-9943-667C0EE47AFA}"/>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6" name="Zvuk 5">
            <a:hlinkClick r:id="" action="ppaction://media"/>
            <a:extLst>
              <a:ext uri="{FF2B5EF4-FFF2-40B4-BE49-F238E27FC236}">
                <a16:creationId xmlns:a16="http://schemas.microsoft.com/office/drawing/2014/main" id="{4C93F7D1-7A58-4DA3-8396-912C7FEA53C9}"/>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673483643"/>
      </p:ext>
    </p:extLst>
  </p:cSld>
  <p:clrMapOvr>
    <a:masterClrMapping/>
  </p:clrMapOvr>
  <mc:AlternateContent xmlns:mc="http://schemas.openxmlformats.org/markup-compatibility/2006">
    <mc:Choice xmlns:p14="http://schemas.microsoft.com/office/powerpoint/2010/main" Requires="p14">
      <p:transition spd="slow" p14:dur="2000" advTm="44452"/>
    </mc:Choice>
    <mc:Fallback>
      <p:transition spd="slow" advTm="4445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E87DDF46-B07A-4183-A6C4-5CFC46E95960}"/>
              </a:ext>
            </a:extLst>
          </p:cNvPr>
          <p:cNvSpPr>
            <a:spLocks noGrp="1"/>
          </p:cNvSpPr>
          <p:nvPr>
            <p:ph type="sldNum" sz="quarter" idx="12"/>
          </p:nvPr>
        </p:nvSpPr>
        <p:spPr/>
        <p:txBody>
          <a:bodyPr/>
          <a:lstStyle/>
          <a:p>
            <a:fld id="{87170177-53BE-4EA4-8CC9-5D64EAB74717}" type="slidenum">
              <a:rPr lang="cs-CZ" sz="900" smtClean="0"/>
              <a:t>13</a:t>
            </a:fld>
            <a:endParaRPr lang="cs-CZ" sz="900" dirty="0"/>
          </a:p>
        </p:txBody>
      </p:sp>
      <p:sp>
        <p:nvSpPr>
          <p:cNvPr id="4" name="Rectangle 94">
            <a:extLst>
              <a:ext uri="{FF2B5EF4-FFF2-40B4-BE49-F238E27FC236}">
                <a16:creationId xmlns:a16="http://schemas.microsoft.com/office/drawing/2014/main" id="{32C0964D-8390-4CE7-85AE-760E74072C20}"/>
              </a:ext>
            </a:extLst>
          </p:cNvPr>
          <p:cNvSpPr/>
          <p:nvPr/>
        </p:nvSpPr>
        <p:spPr>
          <a:xfrm>
            <a:off x="0" y="-17702"/>
            <a:ext cx="12192001" cy="10800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82">
            <a:extLst>
              <a:ext uri="{FF2B5EF4-FFF2-40B4-BE49-F238E27FC236}">
                <a16:creationId xmlns:a16="http://schemas.microsoft.com/office/drawing/2014/main" id="{D0E75087-D62C-461B-B63C-582B2042EDFC}"/>
              </a:ext>
            </a:extLst>
          </p:cNvPr>
          <p:cNvSpPr txBox="1"/>
          <p:nvPr/>
        </p:nvSpPr>
        <p:spPr>
          <a:xfrm>
            <a:off x="304263" y="200887"/>
            <a:ext cx="11583472" cy="584775"/>
          </a:xfrm>
          <a:prstGeom prst="rect">
            <a:avLst/>
          </a:prstGeom>
          <a:noFill/>
        </p:spPr>
        <p:txBody>
          <a:bodyPr wrap="square" rtlCol="0">
            <a:spAutoFit/>
          </a:bodyPr>
          <a:lstStyle/>
          <a:p>
            <a:r>
              <a:rPr lang="cs-CZ" sz="3200" b="1" dirty="0" err="1">
                <a:solidFill>
                  <a:schemeClr val="bg2"/>
                </a:solidFill>
                <a:latin typeface="+mj-lt"/>
              </a:rPr>
              <a:t>Procurement</a:t>
            </a:r>
            <a:r>
              <a:rPr lang="cs-CZ" sz="3200" b="1" dirty="0">
                <a:solidFill>
                  <a:schemeClr val="bg2"/>
                </a:solidFill>
                <a:latin typeface="+mj-lt"/>
              </a:rPr>
              <a:t> </a:t>
            </a:r>
            <a:r>
              <a:rPr lang="en-GB" sz="3200" b="1" dirty="0">
                <a:solidFill>
                  <a:schemeClr val="bg2"/>
                </a:solidFill>
                <a:latin typeface="+mj-lt"/>
              </a:rPr>
              <a:t>&amp; Purchasing</a:t>
            </a:r>
            <a:endParaRPr lang="en-US" sz="3200" dirty="0">
              <a:solidFill>
                <a:schemeClr val="tx2"/>
              </a:solidFill>
            </a:endParaRPr>
          </a:p>
        </p:txBody>
      </p:sp>
      <p:sp>
        <p:nvSpPr>
          <p:cNvPr id="8" name="TextovéPole 7">
            <a:extLst>
              <a:ext uri="{FF2B5EF4-FFF2-40B4-BE49-F238E27FC236}">
                <a16:creationId xmlns:a16="http://schemas.microsoft.com/office/drawing/2014/main" id="{60F9672A-58D6-4EEB-8577-2D9CD44D60FD}"/>
              </a:ext>
            </a:extLst>
          </p:cNvPr>
          <p:cNvSpPr txBox="1"/>
          <p:nvPr/>
        </p:nvSpPr>
        <p:spPr>
          <a:xfrm>
            <a:off x="5769919" y="623663"/>
            <a:ext cx="6422079" cy="369332"/>
          </a:xfrm>
          <a:prstGeom prst="rect">
            <a:avLst/>
          </a:prstGeom>
          <a:noFill/>
        </p:spPr>
        <p:txBody>
          <a:bodyPr wrap="none" rtlCol="0">
            <a:spAutoFit/>
          </a:bodyPr>
          <a:lstStyle/>
          <a:p>
            <a:r>
              <a:rPr lang="en-GB" b="1" dirty="0">
                <a:solidFill>
                  <a:schemeClr val="bg1">
                    <a:lumMod val="85000"/>
                  </a:schemeClr>
                </a:solidFill>
              </a:rPr>
              <a:t>Parts Ordering Distributors – Communication – </a:t>
            </a:r>
            <a:r>
              <a:rPr lang="en-GB" b="1" dirty="0" err="1">
                <a:solidFill>
                  <a:schemeClr val="bg1">
                    <a:lumMod val="85000"/>
                  </a:schemeClr>
                </a:solidFill>
              </a:rPr>
              <a:t>Datapack</a:t>
            </a:r>
            <a:r>
              <a:rPr lang="en-GB" b="1" dirty="0">
                <a:solidFill>
                  <a:schemeClr val="bg1">
                    <a:lumMod val="85000"/>
                  </a:schemeClr>
                </a:solidFill>
              </a:rPr>
              <a:t> Request</a:t>
            </a:r>
            <a:endParaRPr lang="cs-CZ" b="1" dirty="0">
              <a:solidFill>
                <a:schemeClr val="bg1">
                  <a:lumMod val="85000"/>
                </a:schemeClr>
              </a:solidFill>
            </a:endParaRPr>
          </a:p>
        </p:txBody>
      </p:sp>
      <p:sp>
        <p:nvSpPr>
          <p:cNvPr id="12" name="TextovéPole 11">
            <a:extLst>
              <a:ext uri="{FF2B5EF4-FFF2-40B4-BE49-F238E27FC236}">
                <a16:creationId xmlns:a16="http://schemas.microsoft.com/office/drawing/2014/main" id="{0E9820E6-122D-4962-9B46-910B379B8DB7}"/>
              </a:ext>
            </a:extLst>
          </p:cNvPr>
          <p:cNvSpPr txBox="1"/>
          <p:nvPr/>
        </p:nvSpPr>
        <p:spPr>
          <a:xfrm>
            <a:off x="388241" y="1146334"/>
            <a:ext cx="10608972" cy="369332"/>
          </a:xfrm>
          <a:prstGeom prst="rect">
            <a:avLst/>
          </a:prstGeom>
          <a:noFill/>
        </p:spPr>
        <p:txBody>
          <a:bodyPr wrap="square">
            <a:spAutoFit/>
          </a:bodyPr>
          <a:lstStyle/>
          <a:p>
            <a:r>
              <a:rPr lang="en-US" b="1" dirty="0"/>
              <a:t>AEC-Q200 DATAPACK request from distributor </a:t>
            </a:r>
            <a:r>
              <a:rPr lang="en-US" dirty="0"/>
              <a:t>based on placed order #</a:t>
            </a:r>
          </a:p>
        </p:txBody>
      </p:sp>
      <p:grpSp>
        <p:nvGrpSpPr>
          <p:cNvPr id="13" name="Hotline" descr="{&quot;Key&quot;:&quot;POWER_USER_SHAPE_ICON&quot;,&quot;Value&quot;:&quot;POWER_USER_SHAPE_ICON_STYLE_1&quot;}">
            <a:extLst>
              <a:ext uri="{FF2B5EF4-FFF2-40B4-BE49-F238E27FC236}">
                <a16:creationId xmlns:a16="http://schemas.microsoft.com/office/drawing/2014/main" id="{83C57A04-F779-45EF-B3EC-FE1E1B77D476}"/>
              </a:ext>
            </a:extLst>
          </p:cNvPr>
          <p:cNvGrpSpPr>
            <a:grpSpLocks noChangeAspect="1"/>
          </p:cNvGrpSpPr>
          <p:nvPr>
            <p:custDataLst>
              <p:tags r:id="rId1"/>
            </p:custDataLst>
          </p:nvPr>
        </p:nvGrpSpPr>
        <p:grpSpPr>
          <a:xfrm>
            <a:off x="552699" y="1782405"/>
            <a:ext cx="555043" cy="542925"/>
            <a:chOff x="5729289" y="344488"/>
            <a:chExt cx="727075" cy="711201"/>
          </a:xfrm>
          <a:solidFill>
            <a:schemeClr val="accent1"/>
          </a:solidFill>
        </p:grpSpPr>
        <p:sp>
          <p:nvSpPr>
            <p:cNvPr id="14" name="Freeform 239">
              <a:extLst>
                <a:ext uri="{FF2B5EF4-FFF2-40B4-BE49-F238E27FC236}">
                  <a16:creationId xmlns:a16="http://schemas.microsoft.com/office/drawing/2014/main" id="{06B2BEDC-1179-4430-9CE2-18D3F2CC1A63}"/>
                </a:ext>
              </a:extLst>
            </p:cNvPr>
            <p:cNvSpPr>
              <a:spLocks/>
            </p:cNvSpPr>
            <p:nvPr/>
          </p:nvSpPr>
          <p:spPr bwMode="auto">
            <a:xfrm>
              <a:off x="5959476" y="639763"/>
              <a:ext cx="125413" cy="204788"/>
            </a:xfrm>
            <a:custGeom>
              <a:avLst/>
              <a:gdLst>
                <a:gd name="T0" fmla="*/ 147 w 182"/>
                <a:gd name="T1" fmla="*/ 169 h 296"/>
                <a:gd name="T2" fmla="*/ 180 w 182"/>
                <a:gd name="T3" fmla="*/ 86 h 296"/>
                <a:gd name="T4" fmla="*/ 157 w 182"/>
                <a:gd name="T5" fmla="*/ 24 h 296"/>
                <a:gd name="T6" fmla="*/ 93 w 182"/>
                <a:gd name="T7" fmla="*/ 0 h 296"/>
                <a:gd name="T8" fmla="*/ 31 w 182"/>
                <a:gd name="T9" fmla="*/ 23 h 296"/>
                <a:gd name="T10" fmla="*/ 0 w 182"/>
                <a:gd name="T11" fmla="*/ 90 h 296"/>
                <a:gd name="T12" fmla="*/ 43 w 182"/>
                <a:gd name="T13" fmla="*/ 99 h 296"/>
                <a:gd name="T14" fmla="*/ 90 w 182"/>
                <a:gd name="T15" fmla="*/ 40 h 296"/>
                <a:gd name="T16" fmla="*/ 120 w 182"/>
                <a:gd name="T17" fmla="*/ 54 h 296"/>
                <a:gd name="T18" fmla="*/ 131 w 182"/>
                <a:gd name="T19" fmla="*/ 89 h 296"/>
                <a:gd name="T20" fmla="*/ 107 w 182"/>
                <a:gd name="T21" fmla="*/ 149 h 296"/>
                <a:gd name="T22" fmla="*/ 0 w 182"/>
                <a:gd name="T23" fmla="*/ 255 h 296"/>
                <a:gd name="T24" fmla="*/ 0 w 182"/>
                <a:gd name="T25" fmla="*/ 296 h 296"/>
                <a:gd name="T26" fmla="*/ 180 w 182"/>
                <a:gd name="T27" fmla="*/ 296 h 296"/>
                <a:gd name="T28" fmla="*/ 182 w 182"/>
                <a:gd name="T29" fmla="*/ 254 h 296"/>
                <a:gd name="T30" fmla="*/ 51 w 182"/>
                <a:gd name="T31" fmla="*/ 254 h 296"/>
                <a:gd name="T32" fmla="*/ 147 w 182"/>
                <a:gd name="T33" fmla="*/ 169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2" h="296">
                  <a:moveTo>
                    <a:pt x="147" y="169"/>
                  </a:moveTo>
                  <a:cubicBezTo>
                    <a:pt x="169" y="142"/>
                    <a:pt x="180" y="115"/>
                    <a:pt x="180" y="86"/>
                  </a:cubicBezTo>
                  <a:cubicBezTo>
                    <a:pt x="180" y="61"/>
                    <a:pt x="173" y="40"/>
                    <a:pt x="157" y="24"/>
                  </a:cubicBezTo>
                  <a:cubicBezTo>
                    <a:pt x="142" y="8"/>
                    <a:pt x="120" y="0"/>
                    <a:pt x="93" y="0"/>
                  </a:cubicBezTo>
                  <a:cubicBezTo>
                    <a:pt x="68" y="0"/>
                    <a:pt x="47" y="8"/>
                    <a:pt x="31" y="23"/>
                  </a:cubicBezTo>
                  <a:cubicBezTo>
                    <a:pt x="15" y="38"/>
                    <a:pt x="5" y="60"/>
                    <a:pt x="0" y="90"/>
                  </a:cubicBezTo>
                  <a:lnTo>
                    <a:pt x="43" y="99"/>
                  </a:lnTo>
                  <a:cubicBezTo>
                    <a:pt x="48" y="60"/>
                    <a:pt x="64" y="40"/>
                    <a:pt x="90" y="40"/>
                  </a:cubicBezTo>
                  <a:cubicBezTo>
                    <a:pt x="103" y="40"/>
                    <a:pt x="112" y="45"/>
                    <a:pt x="120" y="54"/>
                  </a:cubicBezTo>
                  <a:cubicBezTo>
                    <a:pt x="127" y="63"/>
                    <a:pt x="131" y="75"/>
                    <a:pt x="131" y="89"/>
                  </a:cubicBezTo>
                  <a:cubicBezTo>
                    <a:pt x="131" y="107"/>
                    <a:pt x="123" y="126"/>
                    <a:pt x="107" y="149"/>
                  </a:cubicBezTo>
                  <a:cubicBezTo>
                    <a:pt x="92" y="171"/>
                    <a:pt x="56" y="206"/>
                    <a:pt x="0" y="255"/>
                  </a:cubicBezTo>
                  <a:lnTo>
                    <a:pt x="0" y="296"/>
                  </a:lnTo>
                  <a:lnTo>
                    <a:pt x="180" y="296"/>
                  </a:lnTo>
                  <a:lnTo>
                    <a:pt x="182" y="254"/>
                  </a:lnTo>
                  <a:lnTo>
                    <a:pt x="51" y="254"/>
                  </a:lnTo>
                  <a:cubicBezTo>
                    <a:pt x="93" y="223"/>
                    <a:pt x="125" y="195"/>
                    <a:pt x="147"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240">
              <a:extLst>
                <a:ext uri="{FF2B5EF4-FFF2-40B4-BE49-F238E27FC236}">
                  <a16:creationId xmlns:a16="http://schemas.microsoft.com/office/drawing/2014/main" id="{A4822E9F-EE2C-4B31-B185-E11E1D6938A3}"/>
                </a:ext>
              </a:extLst>
            </p:cNvPr>
            <p:cNvSpPr>
              <a:spLocks noEditPoints="1"/>
            </p:cNvSpPr>
            <p:nvPr/>
          </p:nvSpPr>
          <p:spPr bwMode="auto">
            <a:xfrm>
              <a:off x="6103939" y="639763"/>
              <a:ext cx="134938" cy="204788"/>
            </a:xfrm>
            <a:custGeom>
              <a:avLst/>
              <a:gdLst>
                <a:gd name="T0" fmla="*/ 115 w 196"/>
                <a:gd name="T1" fmla="*/ 192 h 296"/>
                <a:gd name="T2" fmla="*/ 38 w 196"/>
                <a:gd name="T3" fmla="*/ 192 h 296"/>
                <a:gd name="T4" fmla="*/ 115 w 196"/>
                <a:gd name="T5" fmla="*/ 43 h 296"/>
                <a:gd name="T6" fmla="*/ 115 w 196"/>
                <a:gd name="T7" fmla="*/ 192 h 296"/>
                <a:gd name="T8" fmla="*/ 196 w 196"/>
                <a:gd name="T9" fmla="*/ 190 h 296"/>
                <a:gd name="T10" fmla="*/ 160 w 196"/>
                <a:gd name="T11" fmla="*/ 190 h 296"/>
                <a:gd name="T12" fmla="*/ 160 w 196"/>
                <a:gd name="T13" fmla="*/ 0 h 296"/>
                <a:gd name="T14" fmla="*/ 105 w 196"/>
                <a:gd name="T15" fmla="*/ 0 h 296"/>
                <a:gd name="T16" fmla="*/ 0 w 196"/>
                <a:gd name="T17" fmla="*/ 192 h 296"/>
                <a:gd name="T18" fmla="*/ 0 w 196"/>
                <a:gd name="T19" fmla="*/ 227 h 296"/>
                <a:gd name="T20" fmla="*/ 113 w 196"/>
                <a:gd name="T21" fmla="*/ 227 h 296"/>
                <a:gd name="T22" fmla="*/ 113 w 196"/>
                <a:gd name="T23" fmla="*/ 296 h 296"/>
                <a:gd name="T24" fmla="*/ 160 w 196"/>
                <a:gd name="T25" fmla="*/ 296 h 296"/>
                <a:gd name="T26" fmla="*/ 160 w 196"/>
                <a:gd name="T27" fmla="*/ 227 h 296"/>
                <a:gd name="T28" fmla="*/ 196 w 196"/>
                <a:gd name="T29" fmla="*/ 227 h 296"/>
                <a:gd name="T30" fmla="*/ 196 w 196"/>
                <a:gd name="T31" fmla="*/ 19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6" h="296">
                  <a:moveTo>
                    <a:pt x="115" y="192"/>
                  </a:moveTo>
                  <a:lnTo>
                    <a:pt x="38" y="192"/>
                  </a:lnTo>
                  <a:lnTo>
                    <a:pt x="115" y="43"/>
                  </a:lnTo>
                  <a:lnTo>
                    <a:pt x="115" y="192"/>
                  </a:lnTo>
                  <a:close/>
                  <a:moveTo>
                    <a:pt x="196" y="190"/>
                  </a:moveTo>
                  <a:lnTo>
                    <a:pt x="160" y="190"/>
                  </a:lnTo>
                  <a:lnTo>
                    <a:pt x="160" y="0"/>
                  </a:lnTo>
                  <a:lnTo>
                    <a:pt x="105" y="0"/>
                  </a:lnTo>
                  <a:lnTo>
                    <a:pt x="0" y="192"/>
                  </a:lnTo>
                  <a:lnTo>
                    <a:pt x="0" y="227"/>
                  </a:lnTo>
                  <a:lnTo>
                    <a:pt x="113" y="227"/>
                  </a:lnTo>
                  <a:lnTo>
                    <a:pt x="113" y="296"/>
                  </a:lnTo>
                  <a:lnTo>
                    <a:pt x="160" y="296"/>
                  </a:lnTo>
                  <a:lnTo>
                    <a:pt x="160" y="227"/>
                  </a:lnTo>
                  <a:lnTo>
                    <a:pt x="196" y="227"/>
                  </a:lnTo>
                  <a:lnTo>
                    <a:pt x="196" y="1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241">
              <a:extLst>
                <a:ext uri="{FF2B5EF4-FFF2-40B4-BE49-F238E27FC236}">
                  <a16:creationId xmlns:a16="http://schemas.microsoft.com/office/drawing/2014/main" id="{E414DE41-FEDD-4385-BB4E-A9B88F953E0C}"/>
                </a:ext>
              </a:extLst>
            </p:cNvPr>
            <p:cNvSpPr>
              <a:spLocks/>
            </p:cNvSpPr>
            <p:nvPr/>
          </p:nvSpPr>
          <p:spPr bwMode="auto">
            <a:xfrm>
              <a:off x="5729289" y="344488"/>
              <a:ext cx="469900" cy="457200"/>
            </a:xfrm>
            <a:custGeom>
              <a:avLst/>
              <a:gdLst>
                <a:gd name="T0" fmla="*/ 178 w 679"/>
                <a:gd name="T1" fmla="*/ 628 h 659"/>
                <a:gd name="T2" fmla="*/ 269 w 679"/>
                <a:gd name="T3" fmla="*/ 449 h 659"/>
                <a:gd name="T4" fmla="*/ 240 w 679"/>
                <a:gd name="T5" fmla="*/ 413 h 659"/>
                <a:gd name="T6" fmla="*/ 179 w 679"/>
                <a:gd name="T7" fmla="*/ 404 h 659"/>
                <a:gd name="T8" fmla="*/ 151 w 679"/>
                <a:gd name="T9" fmla="*/ 380 h 659"/>
                <a:gd name="T10" fmla="*/ 264 w 679"/>
                <a:gd name="T11" fmla="*/ 249 h 659"/>
                <a:gd name="T12" fmla="*/ 402 w 679"/>
                <a:gd name="T13" fmla="*/ 143 h 659"/>
                <a:gd name="T14" fmla="*/ 424 w 679"/>
                <a:gd name="T15" fmla="*/ 171 h 659"/>
                <a:gd name="T16" fmla="*/ 429 w 679"/>
                <a:gd name="T17" fmla="*/ 233 h 659"/>
                <a:gd name="T18" fmla="*/ 464 w 679"/>
                <a:gd name="T19" fmla="*/ 264 h 659"/>
                <a:gd name="T20" fmla="*/ 648 w 679"/>
                <a:gd name="T21" fmla="*/ 183 h 659"/>
                <a:gd name="T22" fmla="*/ 662 w 679"/>
                <a:gd name="T23" fmla="*/ 124 h 659"/>
                <a:gd name="T24" fmla="*/ 467 w 679"/>
                <a:gd name="T25" fmla="*/ 18 h 659"/>
                <a:gd name="T26" fmla="*/ 182 w 679"/>
                <a:gd name="T27" fmla="*/ 162 h 659"/>
                <a:gd name="T28" fmla="*/ 23 w 679"/>
                <a:gd name="T29" fmla="*/ 439 h 659"/>
                <a:gd name="T30" fmla="*/ 119 w 679"/>
                <a:gd name="T31" fmla="*/ 639 h 659"/>
                <a:gd name="T32" fmla="*/ 178 w 679"/>
                <a:gd name="T33" fmla="*/ 628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9" h="659">
                  <a:moveTo>
                    <a:pt x="178" y="628"/>
                  </a:moveTo>
                  <a:cubicBezTo>
                    <a:pt x="201" y="590"/>
                    <a:pt x="251" y="499"/>
                    <a:pt x="269" y="449"/>
                  </a:cubicBezTo>
                  <a:cubicBezTo>
                    <a:pt x="273" y="439"/>
                    <a:pt x="261" y="422"/>
                    <a:pt x="240" y="413"/>
                  </a:cubicBezTo>
                  <a:cubicBezTo>
                    <a:pt x="227" y="407"/>
                    <a:pt x="198" y="403"/>
                    <a:pt x="179" y="404"/>
                  </a:cubicBezTo>
                  <a:cubicBezTo>
                    <a:pt x="164" y="405"/>
                    <a:pt x="144" y="398"/>
                    <a:pt x="151" y="380"/>
                  </a:cubicBezTo>
                  <a:cubicBezTo>
                    <a:pt x="164" y="351"/>
                    <a:pt x="210" y="300"/>
                    <a:pt x="264" y="249"/>
                  </a:cubicBezTo>
                  <a:cubicBezTo>
                    <a:pt x="318" y="198"/>
                    <a:pt x="372" y="154"/>
                    <a:pt x="402" y="143"/>
                  </a:cubicBezTo>
                  <a:cubicBezTo>
                    <a:pt x="419" y="136"/>
                    <a:pt x="426" y="156"/>
                    <a:pt x="424" y="171"/>
                  </a:cubicBezTo>
                  <a:cubicBezTo>
                    <a:pt x="422" y="190"/>
                    <a:pt x="425" y="220"/>
                    <a:pt x="429" y="233"/>
                  </a:cubicBezTo>
                  <a:cubicBezTo>
                    <a:pt x="437" y="255"/>
                    <a:pt x="454" y="267"/>
                    <a:pt x="464" y="264"/>
                  </a:cubicBezTo>
                  <a:cubicBezTo>
                    <a:pt x="514" y="248"/>
                    <a:pt x="609" y="204"/>
                    <a:pt x="648" y="183"/>
                  </a:cubicBezTo>
                  <a:cubicBezTo>
                    <a:pt x="679" y="166"/>
                    <a:pt x="679" y="152"/>
                    <a:pt x="662" y="124"/>
                  </a:cubicBezTo>
                  <a:cubicBezTo>
                    <a:pt x="637" y="84"/>
                    <a:pt x="564" y="0"/>
                    <a:pt x="467" y="18"/>
                  </a:cubicBezTo>
                  <a:cubicBezTo>
                    <a:pt x="335" y="42"/>
                    <a:pt x="237" y="110"/>
                    <a:pt x="182" y="162"/>
                  </a:cubicBezTo>
                  <a:cubicBezTo>
                    <a:pt x="127" y="214"/>
                    <a:pt x="54" y="309"/>
                    <a:pt x="23" y="439"/>
                  </a:cubicBezTo>
                  <a:cubicBezTo>
                    <a:pt x="0" y="535"/>
                    <a:pt x="81" y="612"/>
                    <a:pt x="119" y="639"/>
                  </a:cubicBezTo>
                  <a:cubicBezTo>
                    <a:pt x="146" y="657"/>
                    <a:pt x="160" y="659"/>
                    <a:pt x="178" y="62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242">
              <a:extLst>
                <a:ext uri="{FF2B5EF4-FFF2-40B4-BE49-F238E27FC236}">
                  <a16:creationId xmlns:a16="http://schemas.microsoft.com/office/drawing/2014/main" id="{59489B7D-6193-4182-B61F-0A2FE642C311}"/>
                </a:ext>
              </a:extLst>
            </p:cNvPr>
            <p:cNvSpPr>
              <a:spLocks/>
            </p:cNvSpPr>
            <p:nvPr/>
          </p:nvSpPr>
          <p:spPr bwMode="auto">
            <a:xfrm>
              <a:off x="5826126" y="873126"/>
              <a:ext cx="66675" cy="66675"/>
            </a:xfrm>
            <a:custGeom>
              <a:avLst/>
              <a:gdLst>
                <a:gd name="T0" fmla="*/ 61 w 96"/>
                <a:gd name="T1" fmla="*/ 0 h 95"/>
                <a:gd name="T2" fmla="*/ 0 w 96"/>
                <a:gd name="T3" fmla="*/ 35 h 95"/>
                <a:gd name="T4" fmla="*/ 41 w 96"/>
                <a:gd name="T5" fmla="*/ 95 h 95"/>
                <a:gd name="T6" fmla="*/ 96 w 96"/>
                <a:gd name="T7" fmla="*/ 52 h 95"/>
                <a:gd name="T8" fmla="*/ 61 w 96"/>
                <a:gd name="T9" fmla="*/ 0 h 95"/>
              </a:gdLst>
              <a:ahLst/>
              <a:cxnLst>
                <a:cxn ang="0">
                  <a:pos x="T0" y="T1"/>
                </a:cxn>
                <a:cxn ang="0">
                  <a:pos x="T2" y="T3"/>
                </a:cxn>
                <a:cxn ang="0">
                  <a:pos x="T4" y="T5"/>
                </a:cxn>
                <a:cxn ang="0">
                  <a:pos x="T6" y="T7"/>
                </a:cxn>
                <a:cxn ang="0">
                  <a:pos x="T8" y="T9"/>
                </a:cxn>
              </a:cxnLst>
              <a:rect l="0" t="0" r="r" b="b"/>
              <a:pathLst>
                <a:path w="96" h="95">
                  <a:moveTo>
                    <a:pt x="61" y="0"/>
                  </a:moveTo>
                  <a:lnTo>
                    <a:pt x="0" y="35"/>
                  </a:lnTo>
                  <a:cubicBezTo>
                    <a:pt x="12" y="57"/>
                    <a:pt x="26" y="77"/>
                    <a:pt x="41" y="95"/>
                  </a:cubicBezTo>
                  <a:lnTo>
                    <a:pt x="96" y="52"/>
                  </a:lnTo>
                  <a:cubicBezTo>
                    <a:pt x="83" y="36"/>
                    <a:pt x="72" y="19"/>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243">
              <a:extLst>
                <a:ext uri="{FF2B5EF4-FFF2-40B4-BE49-F238E27FC236}">
                  <a16:creationId xmlns:a16="http://schemas.microsoft.com/office/drawing/2014/main" id="{B36601F0-6C0F-484E-BF34-71E9E230A1D3}"/>
                </a:ext>
              </a:extLst>
            </p:cNvPr>
            <p:cNvSpPr>
              <a:spLocks/>
            </p:cNvSpPr>
            <p:nvPr/>
          </p:nvSpPr>
          <p:spPr bwMode="auto">
            <a:xfrm>
              <a:off x="5889626" y="939801"/>
              <a:ext cx="69850" cy="69850"/>
            </a:xfrm>
            <a:custGeom>
              <a:avLst/>
              <a:gdLst>
                <a:gd name="T0" fmla="*/ 0 w 100"/>
                <a:gd name="T1" fmla="*/ 52 h 99"/>
                <a:gd name="T2" fmla="*/ 63 w 100"/>
                <a:gd name="T3" fmla="*/ 99 h 99"/>
                <a:gd name="T4" fmla="*/ 100 w 100"/>
                <a:gd name="T5" fmla="*/ 39 h 99"/>
                <a:gd name="T6" fmla="*/ 47 w 100"/>
                <a:gd name="T7" fmla="*/ 0 h 99"/>
                <a:gd name="T8" fmla="*/ 0 w 100"/>
                <a:gd name="T9" fmla="*/ 52 h 99"/>
              </a:gdLst>
              <a:ahLst/>
              <a:cxnLst>
                <a:cxn ang="0">
                  <a:pos x="T0" y="T1"/>
                </a:cxn>
                <a:cxn ang="0">
                  <a:pos x="T2" y="T3"/>
                </a:cxn>
                <a:cxn ang="0">
                  <a:pos x="T4" y="T5"/>
                </a:cxn>
                <a:cxn ang="0">
                  <a:pos x="T6" y="T7"/>
                </a:cxn>
                <a:cxn ang="0">
                  <a:pos x="T8" y="T9"/>
                </a:cxn>
              </a:cxnLst>
              <a:rect l="0" t="0" r="r" b="b"/>
              <a:pathLst>
                <a:path w="100" h="99">
                  <a:moveTo>
                    <a:pt x="0" y="52"/>
                  </a:moveTo>
                  <a:cubicBezTo>
                    <a:pt x="20" y="70"/>
                    <a:pt x="41" y="85"/>
                    <a:pt x="63" y="99"/>
                  </a:cubicBezTo>
                  <a:lnTo>
                    <a:pt x="100" y="39"/>
                  </a:lnTo>
                  <a:cubicBezTo>
                    <a:pt x="81" y="28"/>
                    <a:pt x="63" y="15"/>
                    <a:pt x="47" y="0"/>
                  </a:cubicBezTo>
                  <a:lnTo>
                    <a:pt x="0" y="5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244">
              <a:extLst>
                <a:ext uri="{FF2B5EF4-FFF2-40B4-BE49-F238E27FC236}">
                  <a16:creationId xmlns:a16="http://schemas.microsoft.com/office/drawing/2014/main" id="{132FFC49-76F9-4541-8888-0EF9F5F123B9}"/>
                </a:ext>
              </a:extLst>
            </p:cNvPr>
            <p:cNvSpPr>
              <a:spLocks/>
            </p:cNvSpPr>
            <p:nvPr/>
          </p:nvSpPr>
          <p:spPr bwMode="auto">
            <a:xfrm>
              <a:off x="5984876" y="989013"/>
              <a:ext cx="66675" cy="61913"/>
            </a:xfrm>
            <a:custGeom>
              <a:avLst/>
              <a:gdLst>
                <a:gd name="T0" fmla="*/ 0 w 96"/>
                <a:gd name="T1" fmla="*/ 65 h 89"/>
                <a:gd name="T2" fmla="*/ 82 w 96"/>
                <a:gd name="T3" fmla="*/ 89 h 89"/>
                <a:gd name="T4" fmla="*/ 96 w 96"/>
                <a:gd name="T5" fmla="*/ 20 h 89"/>
                <a:gd name="T6" fmla="*/ 25 w 96"/>
                <a:gd name="T7" fmla="*/ 0 h 89"/>
                <a:gd name="T8" fmla="*/ 0 w 96"/>
                <a:gd name="T9" fmla="*/ 65 h 89"/>
              </a:gdLst>
              <a:ahLst/>
              <a:cxnLst>
                <a:cxn ang="0">
                  <a:pos x="T0" y="T1"/>
                </a:cxn>
                <a:cxn ang="0">
                  <a:pos x="T2" y="T3"/>
                </a:cxn>
                <a:cxn ang="0">
                  <a:pos x="T4" y="T5"/>
                </a:cxn>
                <a:cxn ang="0">
                  <a:pos x="T6" y="T7"/>
                </a:cxn>
                <a:cxn ang="0">
                  <a:pos x="T8" y="T9"/>
                </a:cxn>
              </a:cxnLst>
              <a:rect l="0" t="0" r="r" b="b"/>
              <a:pathLst>
                <a:path w="96" h="89">
                  <a:moveTo>
                    <a:pt x="0" y="65"/>
                  </a:moveTo>
                  <a:cubicBezTo>
                    <a:pt x="26" y="76"/>
                    <a:pt x="54" y="83"/>
                    <a:pt x="82" y="89"/>
                  </a:cubicBezTo>
                  <a:lnTo>
                    <a:pt x="96" y="20"/>
                  </a:lnTo>
                  <a:cubicBezTo>
                    <a:pt x="72" y="15"/>
                    <a:pt x="48" y="9"/>
                    <a:pt x="25" y="0"/>
                  </a:cubicBezTo>
                  <a:lnTo>
                    <a:pt x="0" y="6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245">
              <a:extLst>
                <a:ext uri="{FF2B5EF4-FFF2-40B4-BE49-F238E27FC236}">
                  <a16:creationId xmlns:a16="http://schemas.microsoft.com/office/drawing/2014/main" id="{CDD4757D-A38A-42F3-B12F-93861F3BF78E}"/>
                </a:ext>
              </a:extLst>
            </p:cNvPr>
            <p:cNvSpPr>
              <a:spLocks/>
            </p:cNvSpPr>
            <p:nvPr/>
          </p:nvSpPr>
          <p:spPr bwMode="auto">
            <a:xfrm>
              <a:off x="6218239" y="588963"/>
              <a:ext cx="238125" cy="433388"/>
            </a:xfrm>
            <a:custGeom>
              <a:avLst/>
              <a:gdLst>
                <a:gd name="T0" fmla="*/ 160 w 344"/>
                <a:gd name="T1" fmla="*/ 35 h 625"/>
                <a:gd name="T2" fmla="*/ 16 w 344"/>
                <a:gd name="T3" fmla="*/ 556 h 625"/>
                <a:gd name="T4" fmla="*/ 0 w 344"/>
                <a:gd name="T5" fmla="*/ 564 h 625"/>
                <a:gd name="T6" fmla="*/ 35 w 344"/>
                <a:gd name="T7" fmla="*/ 625 h 625"/>
                <a:gd name="T8" fmla="*/ 51 w 344"/>
                <a:gd name="T9" fmla="*/ 617 h 625"/>
                <a:gd name="T10" fmla="*/ 222 w 344"/>
                <a:gd name="T11" fmla="*/ 0 h 625"/>
                <a:gd name="T12" fmla="*/ 160 w 344"/>
                <a:gd name="T13" fmla="*/ 35 h 625"/>
              </a:gdLst>
              <a:ahLst/>
              <a:cxnLst>
                <a:cxn ang="0">
                  <a:pos x="T0" y="T1"/>
                </a:cxn>
                <a:cxn ang="0">
                  <a:pos x="T2" y="T3"/>
                </a:cxn>
                <a:cxn ang="0">
                  <a:pos x="T4" y="T5"/>
                </a:cxn>
                <a:cxn ang="0">
                  <a:pos x="T6" y="T7"/>
                </a:cxn>
                <a:cxn ang="0">
                  <a:pos x="T8" y="T9"/>
                </a:cxn>
                <a:cxn ang="0">
                  <a:pos x="T10" y="T11"/>
                </a:cxn>
                <a:cxn ang="0">
                  <a:pos x="T12" y="T13"/>
                </a:cxn>
              </a:cxnLst>
              <a:rect l="0" t="0" r="r" b="b"/>
              <a:pathLst>
                <a:path w="344" h="625">
                  <a:moveTo>
                    <a:pt x="160" y="35"/>
                  </a:moveTo>
                  <a:cubicBezTo>
                    <a:pt x="264" y="219"/>
                    <a:pt x="199" y="452"/>
                    <a:pt x="16" y="556"/>
                  </a:cubicBezTo>
                  <a:cubicBezTo>
                    <a:pt x="11" y="559"/>
                    <a:pt x="6" y="561"/>
                    <a:pt x="0" y="564"/>
                  </a:cubicBezTo>
                  <a:lnTo>
                    <a:pt x="35" y="625"/>
                  </a:lnTo>
                  <a:cubicBezTo>
                    <a:pt x="40" y="623"/>
                    <a:pt x="45" y="620"/>
                    <a:pt x="51" y="617"/>
                  </a:cubicBezTo>
                  <a:cubicBezTo>
                    <a:pt x="268" y="494"/>
                    <a:pt x="344" y="218"/>
                    <a:pt x="222" y="0"/>
                  </a:cubicBezTo>
                  <a:lnTo>
                    <a:pt x="160" y="3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246">
              <a:extLst>
                <a:ext uri="{FF2B5EF4-FFF2-40B4-BE49-F238E27FC236}">
                  <a16:creationId xmlns:a16="http://schemas.microsoft.com/office/drawing/2014/main" id="{85FD1738-E09E-4B8A-AEA2-491A9C89AF1C}"/>
                </a:ext>
              </a:extLst>
            </p:cNvPr>
            <p:cNvSpPr>
              <a:spLocks/>
            </p:cNvSpPr>
            <p:nvPr/>
          </p:nvSpPr>
          <p:spPr bwMode="auto">
            <a:xfrm>
              <a:off x="6102351" y="1000126"/>
              <a:ext cx="71438" cy="55563"/>
            </a:xfrm>
            <a:custGeom>
              <a:avLst/>
              <a:gdLst>
                <a:gd name="T0" fmla="*/ 0 w 101"/>
                <a:gd name="T1" fmla="*/ 11 h 81"/>
                <a:gd name="T2" fmla="*/ 1 w 101"/>
                <a:gd name="T3" fmla="*/ 81 h 81"/>
                <a:gd name="T4" fmla="*/ 101 w 101"/>
                <a:gd name="T5" fmla="*/ 68 h 81"/>
                <a:gd name="T6" fmla="*/ 85 w 101"/>
                <a:gd name="T7" fmla="*/ 0 h 81"/>
                <a:gd name="T8" fmla="*/ 0 w 101"/>
                <a:gd name="T9" fmla="*/ 11 h 81"/>
              </a:gdLst>
              <a:ahLst/>
              <a:cxnLst>
                <a:cxn ang="0">
                  <a:pos x="T0" y="T1"/>
                </a:cxn>
                <a:cxn ang="0">
                  <a:pos x="T2" y="T3"/>
                </a:cxn>
                <a:cxn ang="0">
                  <a:pos x="T4" y="T5"/>
                </a:cxn>
                <a:cxn ang="0">
                  <a:pos x="T6" y="T7"/>
                </a:cxn>
                <a:cxn ang="0">
                  <a:pos x="T8" y="T9"/>
                </a:cxn>
              </a:cxnLst>
              <a:rect l="0" t="0" r="r" b="b"/>
              <a:pathLst>
                <a:path w="101" h="81">
                  <a:moveTo>
                    <a:pt x="0" y="11"/>
                  </a:moveTo>
                  <a:lnTo>
                    <a:pt x="1" y="81"/>
                  </a:lnTo>
                  <a:cubicBezTo>
                    <a:pt x="34" y="81"/>
                    <a:pt x="68" y="76"/>
                    <a:pt x="101" y="68"/>
                  </a:cubicBezTo>
                  <a:lnTo>
                    <a:pt x="85" y="0"/>
                  </a:lnTo>
                  <a:cubicBezTo>
                    <a:pt x="57" y="7"/>
                    <a:pt x="29" y="11"/>
                    <a:pt x="0" y="1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247">
              <a:extLst>
                <a:ext uri="{FF2B5EF4-FFF2-40B4-BE49-F238E27FC236}">
                  <a16:creationId xmlns:a16="http://schemas.microsoft.com/office/drawing/2014/main" id="{63A69C78-9AD9-41A7-964C-0022A872B34A}"/>
                </a:ext>
              </a:extLst>
            </p:cNvPr>
            <p:cNvSpPr>
              <a:spLocks/>
            </p:cNvSpPr>
            <p:nvPr/>
          </p:nvSpPr>
          <p:spPr bwMode="auto">
            <a:xfrm>
              <a:off x="6269039" y="496888"/>
              <a:ext cx="123825" cy="112713"/>
            </a:xfrm>
            <a:custGeom>
              <a:avLst/>
              <a:gdLst>
                <a:gd name="T0" fmla="*/ 20 w 178"/>
                <a:gd name="T1" fmla="*/ 0 h 163"/>
                <a:gd name="T2" fmla="*/ 0 w 178"/>
                <a:gd name="T3" fmla="*/ 163 h 163"/>
                <a:gd name="T4" fmla="*/ 178 w 178"/>
                <a:gd name="T5" fmla="*/ 47 h 163"/>
                <a:gd name="T6" fmla="*/ 20 w 178"/>
                <a:gd name="T7" fmla="*/ 0 h 163"/>
              </a:gdLst>
              <a:ahLst/>
              <a:cxnLst>
                <a:cxn ang="0">
                  <a:pos x="T0" y="T1"/>
                </a:cxn>
                <a:cxn ang="0">
                  <a:pos x="T2" y="T3"/>
                </a:cxn>
                <a:cxn ang="0">
                  <a:pos x="T4" y="T5"/>
                </a:cxn>
                <a:cxn ang="0">
                  <a:pos x="T6" y="T7"/>
                </a:cxn>
              </a:cxnLst>
              <a:rect l="0" t="0" r="r" b="b"/>
              <a:pathLst>
                <a:path w="178" h="163">
                  <a:moveTo>
                    <a:pt x="20" y="0"/>
                  </a:moveTo>
                  <a:cubicBezTo>
                    <a:pt x="15" y="45"/>
                    <a:pt x="4" y="123"/>
                    <a:pt x="0" y="163"/>
                  </a:cubicBezTo>
                  <a:cubicBezTo>
                    <a:pt x="17" y="152"/>
                    <a:pt x="161" y="58"/>
                    <a:pt x="178" y="47"/>
                  </a:cubicBezTo>
                  <a:cubicBezTo>
                    <a:pt x="139" y="35"/>
                    <a:pt x="63" y="13"/>
                    <a:pt x="2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 name="TextovéPole 8">
            <a:extLst>
              <a:ext uri="{FF2B5EF4-FFF2-40B4-BE49-F238E27FC236}">
                <a16:creationId xmlns:a16="http://schemas.microsoft.com/office/drawing/2014/main" id="{083EB1D3-C2FE-45D8-B533-BFC880D0908D}"/>
              </a:ext>
            </a:extLst>
          </p:cNvPr>
          <p:cNvSpPr txBox="1"/>
          <p:nvPr/>
        </p:nvSpPr>
        <p:spPr>
          <a:xfrm>
            <a:off x="1107742" y="1681273"/>
            <a:ext cx="5288564" cy="369332"/>
          </a:xfrm>
          <a:prstGeom prst="rect">
            <a:avLst/>
          </a:prstGeom>
          <a:noFill/>
        </p:spPr>
        <p:txBody>
          <a:bodyPr wrap="none" rtlCol="0">
            <a:spAutoFit/>
          </a:bodyPr>
          <a:lstStyle/>
          <a:p>
            <a:r>
              <a:rPr lang="en-US" dirty="0"/>
              <a:t>Calling distributor telephone hotline at weekday 1PM</a:t>
            </a:r>
          </a:p>
        </p:txBody>
      </p:sp>
      <p:sp>
        <p:nvSpPr>
          <p:cNvPr id="10" name="Řečová bublina: oválný bublinový popisek 9">
            <a:extLst>
              <a:ext uri="{FF2B5EF4-FFF2-40B4-BE49-F238E27FC236}">
                <a16:creationId xmlns:a16="http://schemas.microsoft.com/office/drawing/2014/main" id="{13049242-8690-4882-87C6-A68EBC82864B}"/>
              </a:ext>
            </a:extLst>
          </p:cNvPr>
          <p:cNvSpPr/>
          <p:nvPr/>
        </p:nvSpPr>
        <p:spPr>
          <a:xfrm>
            <a:off x="6499274" y="1485074"/>
            <a:ext cx="3413760" cy="992341"/>
          </a:xfrm>
          <a:prstGeom prst="wedgeEllipseCallout">
            <a:avLst>
              <a:gd name="adj1" fmla="val -54545"/>
              <a:gd name="adj2" fmla="val -3512"/>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ll operators are busy, please hold the line” …</a:t>
            </a:r>
            <a:endParaRPr lang="cs-CZ" dirty="0"/>
          </a:p>
        </p:txBody>
      </p:sp>
      <p:sp>
        <p:nvSpPr>
          <p:cNvPr id="11" name="TextovéPole 10">
            <a:extLst>
              <a:ext uri="{FF2B5EF4-FFF2-40B4-BE49-F238E27FC236}">
                <a16:creationId xmlns:a16="http://schemas.microsoft.com/office/drawing/2014/main" id="{B54C98B1-033C-426E-8CAE-99938D588900}"/>
              </a:ext>
            </a:extLst>
          </p:cNvPr>
          <p:cNvSpPr txBox="1"/>
          <p:nvPr/>
        </p:nvSpPr>
        <p:spPr>
          <a:xfrm>
            <a:off x="5441848" y="2535649"/>
            <a:ext cx="6337504" cy="523220"/>
          </a:xfrm>
          <a:prstGeom prst="rect">
            <a:avLst/>
          </a:prstGeom>
          <a:noFill/>
        </p:spPr>
        <p:txBody>
          <a:bodyPr wrap="none" rtlCol="0">
            <a:spAutoFit/>
          </a:bodyPr>
          <a:lstStyle/>
          <a:p>
            <a:r>
              <a:rPr lang="en-US" sz="1400" i="1" dirty="0"/>
              <a:t>… after waiting 10minutes online I gave up and wrote an email to their contact email</a:t>
            </a:r>
          </a:p>
          <a:p>
            <a:endParaRPr lang="cs-CZ" sz="1400" i="1" dirty="0"/>
          </a:p>
        </p:txBody>
      </p:sp>
      <p:grpSp>
        <p:nvGrpSpPr>
          <p:cNvPr id="25" name="Email_marketing2" descr="{&quot;Key&quot;:&quot;POWER_USER_SHAPE_ICON&quot;,&quot;Value&quot;:&quot;POWER_USER_SHAPE_ICON_STYLE_1&quot;}">
            <a:extLst>
              <a:ext uri="{FF2B5EF4-FFF2-40B4-BE49-F238E27FC236}">
                <a16:creationId xmlns:a16="http://schemas.microsoft.com/office/drawing/2014/main" id="{C618F968-1314-449C-9DDB-2BA4859457D8}"/>
              </a:ext>
            </a:extLst>
          </p:cNvPr>
          <p:cNvGrpSpPr>
            <a:grpSpLocks noChangeAspect="1"/>
          </p:cNvGrpSpPr>
          <p:nvPr>
            <p:custDataLst>
              <p:tags r:id="rId2"/>
            </p:custDataLst>
          </p:nvPr>
        </p:nvGrpSpPr>
        <p:grpSpPr>
          <a:xfrm>
            <a:off x="551598" y="2810217"/>
            <a:ext cx="748722" cy="542925"/>
            <a:chOff x="3948113" y="2471738"/>
            <a:chExt cx="877888" cy="636588"/>
          </a:xfrm>
          <a:solidFill>
            <a:schemeClr val="accent1"/>
          </a:solidFill>
        </p:grpSpPr>
        <p:sp>
          <p:nvSpPr>
            <p:cNvPr id="26" name="Freeform 329">
              <a:extLst>
                <a:ext uri="{FF2B5EF4-FFF2-40B4-BE49-F238E27FC236}">
                  <a16:creationId xmlns:a16="http://schemas.microsoft.com/office/drawing/2014/main" id="{392CC04A-9FD3-452A-A03B-086C7ADAC495}"/>
                </a:ext>
              </a:extLst>
            </p:cNvPr>
            <p:cNvSpPr>
              <a:spLocks/>
            </p:cNvSpPr>
            <p:nvPr/>
          </p:nvSpPr>
          <p:spPr bwMode="auto">
            <a:xfrm>
              <a:off x="4010026" y="2827338"/>
              <a:ext cx="50800" cy="69850"/>
            </a:xfrm>
            <a:custGeom>
              <a:avLst/>
              <a:gdLst>
                <a:gd name="T0" fmla="*/ 41 w 67"/>
                <a:gd name="T1" fmla="*/ 1 h 91"/>
                <a:gd name="T2" fmla="*/ 4 w 67"/>
                <a:gd name="T3" fmla="*/ 22 h 91"/>
                <a:gd name="T4" fmla="*/ 2 w 67"/>
                <a:gd name="T5" fmla="*/ 24 h 91"/>
                <a:gd name="T6" fmla="*/ 0 w 67"/>
                <a:gd name="T7" fmla="*/ 28 h 91"/>
                <a:gd name="T8" fmla="*/ 0 w 67"/>
                <a:gd name="T9" fmla="*/ 31 h 91"/>
                <a:gd name="T10" fmla="*/ 0 w 67"/>
                <a:gd name="T11" fmla="*/ 35 h 91"/>
                <a:gd name="T12" fmla="*/ 16 w 67"/>
                <a:gd name="T13" fmla="*/ 85 h 91"/>
                <a:gd name="T14" fmla="*/ 18 w 67"/>
                <a:gd name="T15" fmla="*/ 89 h 91"/>
                <a:gd name="T16" fmla="*/ 20 w 67"/>
                <a:gd name="T17" fmla="*/ 91 h 91"/>
                <a:gd name="T18" fmla="*/ 22 w 67"/>
                <a:gd name="T19" fmla="*/ 91 h 91"/>
                <a:gd name="T20" fmla="*/ 25 w 67"/>
                <a:gd name="T21" fmla="*/ 91 h 91"/>
                <a:gd name="T22" fmla="*/ 63 w 67"/>
                <a:gd name="T23" fmla="*/ 70 h 91"/>
                <a:gd name="T24" fmla="*/ 65 w 67"/>
                <a:gd name="T25" fmla="*/ 68 h 91"/>
                <a:gd name="T26" fmla="*/ 67 w 67"/>
                <a:gd name="T27" fmla="*/ 65 h 91"/>
                <a:gd name="T28" fmla="*/ 67 w 67"/>
                <a:gd name="T29" fmla="*/ 61 h 91"/>
                <a:gd name="T30" fmla="*/ 67 w 67"/>
                <a:gd name="T31" fmla="*/ 57 h 91"/>
                <a:gd name="T32" fmla="*/ 50 w 67"/>
                <a:gd name="T33" fmla="*/ 6 h 91"/>
                <a:gd name="T34" fmla="*/ 49 w 67"/>
                <a:gd name="T35" fmla="*/ 3 h 91"/>
                <a:gd name="T36" fmla="*/ 46 w 67"/>
                <a:gd name="T37" fmla="*/ 1 h 91"/>
                <a:gd name="T38" fmla="*/ 44 w 67"/>
                <a:gd name="T39" fmla="*/ 0 h 91"/>
                <a:gd name="T40" fmla="*/ 41 w 67"/>
                <a:gd name="T41" fmla="*/ 1 h 91"/>
                <a:gd name="T42" fmla="*/ 41 w 67"/>
                <a:gd name="T43"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91">
                  <a:moveTo>
                    <a:pt x="41" y="1"/>
                  </a:moveTo>
                  <a:lnTo>
                    <a:pt x="4" y="22"/>
                  </a:lnTo>
                  <a:cubicBezTo>
                    <a:pt x="3" y="23"/>
                    <a:pt x="2" y="24"/>
                    <a:pt x="2" y="24"/>
                  </a:cubicBezTo>
                  <a:cubicBezTo>
                    <a:pt x="1" y="25"/>
                    <a:pt x="1" y="26"/>
                    <a:pt x="0" y="28"/>
                  </a:cubicBezTo>
                  <a:cubicBezTo>
                    <a:pt x="0" y="29"/>
                    <a:pt x="0" y="30"/>
                    <a:pt x="0" y="31"/>
                  </a:cubicBezTo>
                  <a:cubicBezTo>
                    <a:pt x="0" y="32"/>
                    <a:pt x="0" y="34"/>
                    <a:pt x="0" y="35"/>
                  </a:cubicBezTo>
                  <a:lnTo>
                    <a:pt x="16" y="85"/>
                  </a:lnTo>
                  <a:cubicBezTo>
                    <a:pt x="16" y="87"/>
                    <a:pt x="17" y="88"/>
                    <a:pt x="18" y="89"/>
                  </a:cubicBezTo>
                  <a:cubicBezTo>
                    <a:pt x="18" y="89"/>
                    <a:pt x="19" y="90"/>
                    <a:pt x="20" y="91"/>
                  </a:cubicBezTo>
                  <a:cubicBezTo>
                    <a:pt x="21" y="91"/>
                    <a:pt x="22" y="91"/>
                    <a:pt x="22" y="91"/>
                  </a:cubicBezTo>
                  <a:cubicBezTo>
                    <a:pt x="23" y="91"/>
                    <a:pt x="24" y="91"/>
                    <a:pt x="25" y="91"/>
                  </a:cubicBezTo>
                  <a:lnTo>
                    <a:pt x="63" y="70"/>
                  </a:lnTo>
                  <a:cubicBezTo>
                    <a:pt x="64" y="70"/>
                    <a:pt x="65" y="69"/>
                    <a:pt x="65" y="68"/>
                  </a:cubicBezTo>
                  <a:cubicBezTo>
                    <a:pt x="66" y="67"/>
                    <a:pt x="66" y="66"/>
                    <a:pt x="67" y="65"/>
                  </a:cubicBezTo>
                  <a:cubicBezTo>
                    <a:pt x="67" y="64"/>
                    <a:pt x="67" y="62"/>
                    <a:pt x="67" y="61"/>
                  </a:cubicBezTo>
                  <a:cubicBezTo>
                    <a:pt x="67" y="60"/>
                    <a:pt x="67" y="59"/>
                    <a:pt x="67" y="57"/>
                  </a:cubicBezTo>
                  <a:lnTo>
                    <a:pt x="50" y="6"/>
                  </a:lnTo>
                  <a:cubicBezTo>
                    <a:pt x="50" y="4"/>
                    <a:pt x="49" y="3"/>
                    <a:pt x="49" y="3"/>
                  </a:cubicBezTo>
                  <a:cubicBezTo>
                    <a:pt x="48" y="2"/>
                    <a:pt x="47" y="1"/>
                    <a:pt x="46" y="1"/>
                  </a:cubicBezTo>
                  <a:cubicBezTo>
                    <a:pt x="46" y="0"/>
                    <a:pt x="45" y="0"/>
                    <a:pt x="44" y="0"/>
                  </a:cubicBezTo>
                  <a:cubicBezTo>
                    <a:pt x="43" y="0"/>
                    <a:pt x="42" y="0"/>
                    <a:pt x="41" y="1"/>
                  </a:cubicBezTo>
                  <a:lnTo>
                    <a:pt x="41" y="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330">
              <a:extLst>
                <a:ext uri="{FF2B5EF4-FFF2-40B4-BE49-F238E27FC236}">
                  <a16:creationId xmlns:a16="http://schemas.microsoft.com/office/drawing/2014/main" id="{5FC86683-BB68-41EB-8600-882478BE6CC0}"/>
                </a:ext>
              </a:extLst>
            </p:cNvPr>
            <p:cNvSpPr>
              <a:spLocks/>
            </p:cNvSpPr>
            <p:nvPr/>
          </p:nvSpPr>
          <p:spPr bwMode="auto">
            <a:xfrm>
              <a:off x="3987801" y="2901951"/>
              <a:ext cx="50800" cy="66675"/>
            </a:xfrm>
            <a:custGeom>
              <a:avLst/>
              <a:gdLst>
                <a:gd name="T0" fmla="*/ 40 w 66"/>
                <a:gd name="T1" fmla="*/ 1 h 89"/>
                <a:gd name="T2" fmla="*/ 5 w 66"/>
                <a:gd name="T3" fmla="*/ 20 h 89"/>
                <a:gd name="T4" fmla="*/ 2 w 66"/>
                <a:gd name="T5" fmla="*/ 22 h 89"/>
                <a:gd name="T6" fmla="*/ 1 w 66"/>
                <a:gd name="T7" fmla="*/ 25 h 89"/>
                <a:gd name="T8" fmla="*/ 0 w 66"/>
                <a:gd name="T9" fmla="*/ 29 h 89"/>
                <a:gd name="T10" fmla="*/ 1 w 66"/>
                <a:gd name="T11" fmla="*/ 32 h 89"/>
                <a:gd name="T12" fmla="*/ 16 w 66"/>
                <a:gd name="T13" fmla="*/ 83 h 89"/>
                <a:gd name="T14" fmla="*/ 18 w 66"/>
                <a:gd name="T15" fmla="*/ 86 h 89"/>
                <a:gd name="T16" fmla="*/ 20 w 66"/>
                <a:gd name="T17" fmla="*/ 88 h 89"/>
                <a:gd name="T18" fmla="*/ 22 w 66"/>
                <a:gd name="T19" fmla="*/ 89 h 89"/>
                <a:gd name="T20" fmla="*/ 25 w 66"/>
                <a:gd name="T21" fmla="*/ 89 h 89"/>
                <a:gd name="T22" fmla="*/ 62 w 66"/>
                <a:gd name="T23" fmla="*/ 70 h 89"/>
                <a:gd name="T24" fmla="*/ 64 w 66"/>
                <a:gd name="T25" fmla="*/ 68 h 89"/>
                <a:gd name="T26" fmla="*/ 66 w 66"/>
                <a:gd name="T27" fmla="*/ 65 h 89"/>
                <a:gd name="T28" fmla="*/ 66 w 66"/>
                <a:gd name="T29" fmla="*/ 62 h 89"/>
                <a:gd name="T30" fmla="*/ 65 w 66"/>
                <a:gd name="T31" fmla="*/ 58 h 89"/>
                <a:gd name="T32" fmla="*/ 50 w 66"/>
                <a:gd name="T33" fmla="*/ 6 h 89"/>
                <a:gd name="T34" fmla="*/ 48 w 66"/>
                <a:gd name="T35" fmla="*/ 3 h 89"/>
                <a:gd name="T36" fmla="*/ 46 w 66"/>
                <a:gd name="T37" fmla="*/ 1 h 89"/>
                <a:gd name="T38" fmla="*/ 43 w 66"/>
                <a:gd name="T39" fmla="*/ 0 h 89"/>
                <a:gd name="T40" fmla="*/ 40 w 66"/>
                <a:gd name="T41" fmla="*/ 1 h 89"/>
                <a:gd name="T42" fmla="*/ 40 w 66"/>
                <a:gd name="T43" fmla="*/ 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 h="89">
                  <a:moveTo>
                    <a:pt x="40" y="1"/>
                  </a:moveTo>
                  <a:lnTo>
                    <a:pt x="5" y="20"/>
                  </a:lnTo>
                  <a:cubicBezTo>
                    <a:pt x="4" y="21"/>
                    <a:pt x="3" y="22"/>
                    <a:pt x="2" y="22"/>
                  </a:cubicBezTo>
                  <a:cubicBezTo>
                    <a:pt x="2" y="23"/>
                    <a:pt x="1" y="24"/>
                    <a:pt x="1" y="25"/>
                  </a:cubicBezTo>
                  <a:cubicBezTo>
                    <a:pt x="1" y="26"/>
                    <a:pt x="0" y="28"/>
                    <a:pt x="0" y="29"/>
                  </a:cubicBezTo>
                  <a:cubicBezTo>
                    <a:pt x="0" y="30"/>
                    <a:pt x="1" y="31"/>
                    <a:pt x="1" y="32"/>
                  </a:cubicBezTo>
                  <a:lnTo>
                    <a:pt x="16" y="83"/>
                  </a:lnTo>
                  <a:cubicBezTo>
                    <a:pt x="17" y="84"/>
                    <a:pt x="17" y="85"/>
                    <a:pt x="18" y="86"/>
                  </a:cubicBezTo>
                  <a:cubicBezTo>
                    <a:pt x="18" y="87"/>
                    <a:pt x="19" y="88"/>
                    <a:pt x="20" y="88"/>
                  </a:cubicBezTo>
                  <a:cubicBezTo>
                    <a:pt x="21" y="89"/>
                    <a:pt x="22" y="89"/>
                    <a:pt x="22" y="89"/>
                  </a:cubicBezTo>
                  <a:cubicBezTo>
                    <a:pt x="23" y="89"/>
                    <a:pt x="24" y="89"/>
                    <a:pt x="25" y="89"/>
                  </a:cubicBezTo>
                  <a:lnTo>
                    <a:pt x="62" y="70"/>
                  </a:lnTo>
                  <a:cubicBezTo>
                    <a:pt x="63" y="70"/>
                    <a:pt x="63" y="69"/>
                    <a:pt x="64" y="68"/>
                  </a:cubicBezTo>
                  <a:cubicBezTo>
                    <a:pt x="65" y="67"/>
                    <a:pt x="65" y="66"/>
                    <a:pt x="66" y="65"/>
                  </a:cubicBezTo>
                  <a:cubicBezTo>
                    <a:pt x="66" y="64"/>
                    <a:pt x="66" y="63"/>
                    <a:pt x="66" y="62"/>
                  </a:cubicBezTo>
                  <a:cubicBezTo>
                    <a:pt x="66" y="60"/>
                    <a:pt x="66" y="59"/>
                    <a:pt x="65" y="58"/>
                  </a:cubicBezTo>
                  <a:lnTo>
                    <a:pt x="50" y="6"/>
                  </a:lnTo>
                  <a:cubicBezTo>
                    <a:pt x="49" y="5"/>
                    <a:pt x="49" y="4"/>
                    <a:pt x="48" y="3"/>
                  </a:cubicBezTo>
                  <a:cubicBezTo>
                    <a:pt x="47" y="2"/>
                    <a:pt x="47" y="1"/>
                    <a:pt x="46" y="1"/>
                  </a:cubicBezTo>
                  <a:cubicBezTo>
                    <a:pt x="45" y="0"/>
                    <a:pt x="44" y="0"/>
                    <a:pt x="43" y="0"/>
                  </a:cubicBezTo>
                  <a:cubicBezTo>
                    <a:pt x="42" y="0"/>
                    <a:pt x="41" y="0"/>
                    <a:pt x="40" y="1"/>
                  </a:cubicBezTo>
                  <a:lnTo>
                    <a:pt x="40" y="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331">
              <a:extLst>
                <a:ext uri="{FF2B5EF4-FFF2-40B4-BE49-F238E27FC236}">
                  <a16:creationId xmlns:a16="http://schemas.microsoft.com/office/drawing/2014/main" id="{C4D7523A-03CB-477A-A359-B7190614059E}"/>
                </a:ext>
              </a:extLst>
            </p:cNvPr>
            <p:cNvSpPr>
              <a:spLocks/>
            </p:cNvSpPr>
            <p:nvPr/>
          </p:nvSpPr>
          <p:spPr bwMode="auto">
            <a:xfrm>
              <a:off x="3948113" y="3043238"/>
              <a:ext cx="47625" cy="65088"/>
            </a:xfrm>
            <a:custGeom>
              <a:avLst/>
              <a:gdLst>
                <a:gd name="T0" fmla="*/ 38 w 62"/>
                <a:gd name="T1" fmla="*/ 0 h 85"/>
                <a:gd name="T2" fmla="*/ 4 w 62"/>
                <a:gd name="T3" fmla="*/ 16 h 85"/>
                <a:gd name="T4" fmla="*/ 2 w 62"/>
                <a:gd name="T5" fmla="*/ 18 h 85"/>
                <a:gd name="T6" fmla="*/ 0 w 62"/>
                <a:gd name="T7" fmla="*/ 20 h 85"/>
                <a:gd name="T8" fmla="*/ 0 w 62"/>
                <a:gd name="T9" fmla="*/ 24 h 85"/>
                <a:gd name="T10" fmla="*/ 0 w 62"/>
                <a:gd name="T11" fmla="*/ 27 h 85"/>
                <a:gd name="T12" fmla="*/ 15 w 62"/>
                <a:gd name="T13" fmla="*/ 78 h 85"/>
                <a:gd name="T14" fmla="*/ 16 w 62"/>
                <a:gd name="T15" fmla="*/ 81 h 85"/>
                <a:gd name="T16" fmla="*/ 18 w 62"/>
                <a:gd name="T17" fmla="*/ 84 h 85"/>
                <a:gd name="T18" fmla="*/ 20 w 62"/>
                <a:gd name="T19" fmla="*/ 85 h 85"/>
                <a:gd name="T20" fmla="*/ 23 w 62"/>
                <a:gd name="T21" fmla="*/ 85 h 85"/>
                <a:gd name="T22" fmla="*/ 58 w 62"/>
                <a:gd name="T23" fmla="*/ 70 h 85"/>
                <a:gd name="T24" fmla="*/ 60 w 62"/>
                <a:gd name="T25" fmla="*/ 68 h 85"/>
                <a:gd name="T26" fmla="*/ 61 w 62"/>
                <a:gd name="T27" fmla="*/ 65 h 85"/>
                <a:gd name="T28" fmla="*/ 62 w 62"/>
                <a:gd name="T29" fmla="*/ 62 h 85"/>
                <a:gd name="T30" fmla="*/ 61 w 62"/>
                <a:gd name="T31" fmla="*/ 58 h 85"/>
                <a:gd name="T32" fmla="*/ 46 w 62"/>
                <a:gd name="T33" fmla="*/ 6 h 85"/>
                <a:gd name="T34" fmla="*/ 45 w 62"/>
                <a:gd name="T35" fmla="*/ 3 h 85"/>
                <a:gd name="T36" fmla="*/ 43 w 62"/>
                <a:gd name="T37" fmla="*/ 1 h 85"/>
                <a:gd name="T38" fmla="*/ 40 w 62"/>
                <a:gd name="T39" fmla="*/ 0 h 85"/>
                <a:gd name="T40" fmla="*/ 38 w 62"/>
                <a:gd name="T41" fmla="*/ 0 h 85"/>
                <a:gd name="T42" fmla="*/ 38 w 62"/>
                <a:gd name="T4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 h="85">
                  <a:moveTo>
                    <a:pt x="38" y="0"/>
                  </a:moveTo>
                  <a:lnTo>
                    <a:pt x="4" y="16"/>
                  </a:lnTo>
                  <a:cubicBezTo>
                    <a:pt x="3" y="16"/>
                    <a:pt x="2" y="17"/>
                    <a:pt x="2" y="18"/>
                  </a:cubicBezTo>
                  <a:cubicBezTo>
                    <a:pt x="1" y="18"/>
                    <a:pt x="0" y="19"/>
                    <a:pt x="0" y="20"/>
                  </a:cubicBezTo>
                  <a:cubicBezTo>
                    <a:pt x="0" y="21"/>
                    <a:pt x="0" y="23"/>
                    <a:pt x="0" y="24"/>
                  </a:cubicBezTo>
                  <a:cubicBezTo>
                    <a:pt x="0" y="25"/>
                    <a:pt x="0" y="26"/>
                    <a:pt x="0" y="27"/>
                  </a:cubicBezTo>
                  <a:lnTo>
                    <a:pt x="15" y="78"/>
                  </a:lnTo>
                  <a:cubicBezTo>
                    <a:pt x="15" y="79"/>
                    <a:pt x="15" y="81"/>
                    <a:pt x="16" y="81"/>
                  </a:cubicBezTo>
                  <a:cubicBezTo>
                    <a:pt x="17" y="82"/>
                    <a:pt x="17" y="83"/>
                    <a:pt x="18" y="84"/>
                  </a:cubicBezTo>
                  <a:cubicBezTo>
                    <a:pt x="19" y="84"/>
                    <a:pt x="20" y="85"/>
                    <a:pt x="20" y="85"/>
                  </a:cubicBezTo>
                  <a:cubicBezTo>
                    <a:pt x="21" y="85"/>
                    <a:pt x="22" y="85"/>
                    <a:pt x="23" y="85"/>
                  </a:cubicBezTo>
                  <a:lnTo>
                    <a:pt x="58" y="70"/>
                  </a:lnTo>
                  <a:cubicBezTo>
                    <a:pt x="59" y="69"/>
                    <a:pt x="59" y="69"/>
                    <a:pt x="60" y="68"/>
                  </a:cubicBezTo>
                  <a:cubicBezTo>
                    <a:pt x="61" y="67"/>
                    <a:pt x="61" y="66"/>
                    <a:pt x="61" y="65"/>
                  </a:cubicBezTo>
                  <a:cubicBezTo>
                    <a:pt x="62" y="64"/>
                    <a:pt x="62" y="63"/>
                    <a:pt x="62" y="62"/>
                  </a:cubicBezTo>
                  <a:cubicBezTo>
                    <a:pt x="62" y="61"/>
                    <a:pt x="62" y="59"/>
                    <a:pt x="61" y="58"/>
                  </a:cubicBezTo>
                  <a:lnTo>
                    <a:pt x="46" y="6"/>
                  </a:lnTo>
                  <a:cubicBezTo>
                    <a:pt x="46" y="5"/>
                    <a:pt x="45" y="4"/>
                    <a:pt x="45" y="3"/>
                  </a:cubicBezTo>
                  <a:cubicBezTo>
                    <a:pt x="44" y="2"/>
                    <a:pt x="43" y="1"/>
                    <a:pt x="43" y="1"/>
                  </a:cubicBezTo>
                  <a:cubicBezTo>
                    <a:pt x="42" y="0"/>
                    <a:pt x="41" y="0"/>
                    <a:pt x="40" y="0"/>
                  </a:cubicBezTo>
                  <a:cubicBezTo>
                    <a:pt x="39" y="0"/>
                    <a:pt x="38" y="0"/>
                    <a:pt x="38" y="0"/>
                  </a:cubicBezTo>
                  <a:lnTo>
                    <a:pt x="38"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332">
              <a:extLst>
                <a:ext uri="{FF2B5EF4-FFF2-40B4-BE49-F238E27FC236}">
                  <a16:creationId xmlns:a16="http://schemas.microsoft.com/office/drawing/2014/main" id="{25B7622F-25D1-4672-8CAB-98FB45E0B5E3}"/>
                </a:ext>
              </a:extLst>
            </p:cNvPr>
            <p:cNvSpPr>
              <a:spLocks/>
            </p:cNvSpPr>
            <p:nvPr/>
          </p:nvSpPr>
          <p:spPr bwMode="auto">
            <a:xfrm>
              <a:off x="4019551" y="3008313"/>
              <a:ext cx="52388" cy="69850"/>
            </a:xfrm>
            <a:custGeom>
              <a:avLst/>
              <a:gdLst>
                <a:gd name="T0" fmla="*/ 42 w 68"/>
                <a:gd name="T1" fmla="*/ 0 h 90"/>
                <a:gd name="T2" fmla="*/ 4 w 68"/>
                <a:gd name="T3" fmla="*/ 18 h 90"/>
                <a:gd name="T4" fmla="*/ 2 w 68"/>
                <a:gd name="T5" fmla="*/ 20 h 90"/>
                <a:gd name="T6" fmla="*/ 0 w 68"/>
                <a:gd name="T7" fmla="*/ 23 h 90"/>
                <a:gd name="T8" fmla="*/ 0 w 68"/>
                <a:gd name="T9" fmla="*/ 26 h 90"/>
                <a:gd name="T10" fmla="*/ 0 w 68"/>
                <a:gd name="T11" fmla="*/ 30 h 90"/>
                <a:gd name="T12" fmla="*/ 16 w 68"/>
                <a:gd name="T13" fmla="*/ 83 h 90"/>
                <a:gd name="T14" fmla="*/ 18 w 68"/>
                <a:gd name="T15" fmla="*/ 86 h 90"/>
                <a:gd name="T16" fmla="*/ 20 w 68"/>
                <a:gd name="T17" fmla="*/ 89 h 90"/>
                <a:gd name="T18" fmla="*/ 23 w 68"/>
                <a:gd name="T19" fmla="*/ 90 h 90"/>
                <a:gd name="T20" fmla="*/ 25 w 68"/>
                <a:gd name="T21" fmla="*/ 89 h 90"/>
                <a:gd name="T22" fmla="*/ 64 w 68"/>
                <a:gd name="T23" fmla="*/ 73 h 90"/>
                <a:gd name="T24" fmla="*/ 66 w 68"/>
                <a:gd name="T25" fmla="*/ 71 h 90"/>
                <a:gd name="T26" fmla="*/ 68 w 68"/>
                <a:gd name="T27" fmla="*/ 68 h 90"/>
                <a:gd name="T28" fmla="*/ 68 w 68"/>
                <a:gd name="T29" fmla="*/ 65 h 90"/>
                <a:gd name="T30" fmla="*/ 68 w 68"/>
                <a:gd name="T31" fmla="*/ 61 h 90"/>
                <a:gd name="T32" fmla="*/ 51 w 68"/>
                <a:gd name="T33" fmla="*/ 7 h 90"/>
                <a:gd name="T34" fmla="*/ 49 w 68"/>
                <a:gd name="T35" fmla="*/ 3 h 90"/>
                <a:gd name="T36" fmla="*/ 47 w 68"/>
                <a:gd name="T37" fmla="*/ 1 h 90"/>
                <a:gd name="T38" fmla="*/ 44 w 68"/>
                <a:gd name="T39" fmla="*/ 0 h 90"/>
                <a:gd name="T40" fmla="*/ 42 w 68"/>
                <a:gd name="T41" fmla="*/ 0 h 90"/>
                <a:gd name="T42" fmla="*/ 42 w 68"/>
                <a:gd name="T4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90">
                  <a:moveTo>
                    <a:pt x="42" y="0"/>
                  </a:moveTo>
                  <a:lnTo>
                    <a:pt x="4" y="18"/>
                  </a:lnTo>
                  <a:cubicBezTo>
                    <a:pt x="3" y="18"/>
                    <a:pt x="2" y="19"/>
                    <a:pt x="2" y="20"/>
                  </a:cubicBezTo>
                  <a:cubicBezTo>
                    <a:pt x="1" y="21"/>
                    <a:pt x="1" y="22"/>
                    <a:pt x="0" y="23"/>
                  </a:cubicBezTo>
                  <a:cubicBezTo>
                    <a:pt x="0" y="24"/>
                    <a:pt x="0" y="25"/>
                    <a:pt x="0" y="26"/>
                  </a:cubicBezTo>
                  <a:cubicBezTo>
                    <a:pt x="0" y="27"/>
                    <a:pt x="0" y="29"/>
                    <a:pt x="0" y="30"/>
                  </a:cubicBezTo>
                  <a:lnTo>
                    <a:pt x="16" y="83"/>
                  </a:lnTo>
                  <a:cubicBezTo>
                    <a:pt x="17" y="84"/>
                    <a:pt x="17" y="85"/>
                    <a:pt x="18" y="86"/>
                  </a:cubicBezTo>
                  <a:cubicBezTo>
                    <a:pt x="18" y="87"/>
                    <a:pt x="19" y="88"/>
                    <a:pt x="20" y="89"/>
                  </a:cubicBezTo>
                  <a:cubicBezTo>
                    <a:pt x="21" y="89"/>
                    <a:pt x="22" y="90"/>
                    <a:pt x="23" y="90"/>
                  </a:cubicBezTo>
                  <a:cubicBezTo>
                    <a:pt x="24" y="90"/>
                    <a:pt x="25" y="90"/>
                    <a:pt x="25" y="89"/>
                  </a:cubicBezTo>
                  <a:lnTo>
                    <a:pt x="64" y="73"/>
                  </a:lnTo>
                  <a:cubicBezTo>
                    <a:pt x="65" y="73"/>
                    <a:pt x="66" y="72"/>
                    <a:pt x="66" y="71"/>
                  </a:cubicBezTo>
                  <a:cubicBezTo>
                    <a:pt x="67" y="70"/>
                    <a:pt x="67" y="69"/>
                    <a:pt x="68" y="68"/>
                  </a:cubicBezTo>
                  <a:cubicBezTo>
                    <a:pt x="68" y="67"/>
                    <a:pt x="68" y="66"/>
                    <a:pt x="68" y="65"/>
                  </a:cubicBezTo>
                  <a:cubicBezTo>
                    <a:pt x="68" y="63"/>
                    <a:pt x="68" y="62"/>
                    <a:pt x="68" y="61"/>
                  </a:cubicBezTo>
                  <a:lnTo>
                    <a:pt x="51" y="7"/>
                  </a:lnTo>
                  <a:cubicBezTo>
                    <a:pt x="51" y="5"/>
                    <a:pt x="50" y="4"/>
                    <a:pt x="49" y="3"/>
                  </a:cubicBezTo>
                  <a:cubicBezTo>
                    <a:pt x="49" y="2"/>
                    <a:pt x="48" y="1"/>
                    <a:pt x="47" y="1"/>
                  </a:cubicBezTo>
                  <a:cubicBezTo>
                    <a:pt x="46" y="0"/>
                    <a:pt x="45" y="0"/>
                    <a:pt x="44" y="0"/>
                  </a:cubicBezTo>
                  <a:cubicBezTo>
                    <a:pt x="43" y="0"/>
                    <a:pt x="42" y="0"/>
                    <a:pt x="42" y="0"/>
                  </a:cubicBezTo>
                  <a:lnTo>
                    <a:pt x="42"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333">
              <a:extLst>
                <a:ext uri="{FF2B5EF4-FFF2-40B4-BE49-F238E27FC236}">
                  <a16:creationId xmlns:a16="http://schemas.microsoft.com/office/drawing/2014/main" id="{C91316E4-4E3F-4000-A69F-E18E55B2BFA8}"/>
                </a:ext>
              </a:extLst>
            </p:cNvPr>
            <p:cNvSpPr>
              <a:spLocks/>
            </p:cNvSpPr>
            <p:nvPr/>
          </p:nvSpPr>
          <p:spPr bwMode="auto">
            <a:xfrm>
              <a:off x="4129088" y="2754313"/>
              <a:ext cx="60325" cy="76200"/>
            </a:xfrm>
            <a:custGeom>
              <a:avLst/>
              <a:gdLst>
                <a:gd name="T0" fmla="*/ 48 w 79"/>
                <a:gd name="T1" fmla="*/ 1 h 100"/>
                <a:gd name="T2" fmla="*/ 5 w 79"/>
                <a:gd name="T3" fmla="*/ 27 h 100"/>
                <a:gd name="T4" fmla="*/ 2 w 79"/>
                <a:gd name="T5" fmla="*/ 29 h 100"/>
                <a:gd name="T6" fmla="*/ 1 w 79"/>
                <a:gd name="T7" fmla="*/ 32 h 100"/>
                <a:gd name="T8" fmla="*/ 0 w 79"/>
                <a:gd name="T9" fmla="*/ 36 h 100"/>
                <a:gd name="T10" fmla="*/ 1 w 79"/>
                <a:gd name="T11" fmla="*/ 40 h 100"/>
                <a:gd name="T12" fmla="*/ 19 w 79"/>
                <a:gd name="T13" fmla="*/ 94 h 100"/>
                <a:gd name="T14" fmla="*/ 21 w 79"/>
                <a:gd name="T15" fmla="*/ 97 h 100"/>
                <a:gd name="T16" fmla="*/ 24 w 79"/>
                <a:gd name="T17" fmla="*/ 99 h 100"/>
                <a:gd name="T18" fmla="*/ 27 w 79"/>
                <a:gd name="T19" fmla="*/ 100 h 100"/>
                <a:gd name="T20" fmla="*/ 30 w 79"/>
                <a:gd name="T21" fmla="*/ 99 h 100"/>
                <a:gd name="T22" fmla="*/ 74 w 79"/>
                <a:gd name="T23" fmla="*/ 75 h 100"/>
                <a:gd name="T24" fmla="*/ 77 w 79"/>
                <a:gd name="T25" fmla="*/ 73 h 100"/>
                <a:gd name="T26" fmla="*/ 78 w 79"/>
                <a:gd name="T27" fmla="*/ 69 h 100"/>
                <a:gd name="T28" fmla="*/ 79 w 79"/>
                <a:gd name="T29" fmla="*/ 65 h 100"/>
                <a:gd name="T30" fmla="*/ 78 w 79"/>
                <a:gd name="T31" fmla="*/ 61 h 100"/>
                <a:gd name="T32" fmla="*/ 59 w 79"/>
                <a:gd name="T33" fmla="*/ 6 h 100"/>
                <a:gd name="T34" fmla="*/ 57 w 79"/>
                <a:gd name="T35" fmla="*/ 3 h 100"/>
                <a:gd name="T36" fmla="*/ 54 w 79"/>
                <a:gd name="T37" fmla="*/ 1 h 100"/>
                <a:gd name="T38" fmla="*/ 51 w 79"/>
                <a:gd name="T39" fmla="*/ 0 h 100"/>
                <a:gd name="T40" fmla="*/ 48 w 79"/>
                <a:gd name="T41" fmla="*/ 1 h 100"/>
                <a:gd name="T42" fmla="*/ 48 w 79"/>
                <a:gd name="T43" fmla="*/ 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 h="100">
                  <a:moveTo>
                    <a:pt x="48" y="1"/>
                  </a:moveTo>
                  <a:lnTo>
                    <a:pt x="5" y="27"/>
                  </a:lnTo>
                  <a:cubicBezTo>
                    <a:pt x="4" y="27"/>
                    <a:pt x="3" y="28"/>
                    <a:pt x="2" y="29"/>
                  </a:cubicBezTo>
                  <a:cubicBezTo>
                    <a:pt x="2" y="30"/>
                    <a:pt x="1" y="31"/>
                    <a:pt x="1" y="32"/>
                  </a:cubicBezTo>
                  <a:cubicBezTo>
                    <a:pt x="0" y="34"/>
                    <a:pt x="0" y="35"/>
                    <a:pt x="0" y="36"/>
                  </a:cubicBezTo>
                  <a:cubicBezTo>
                    <a:pt x="0" y="38"/>
                    <a:pt x="0" y="39"/>
                    <a:pt x="1" y="40"/>
                  </a:cubicBezTo>
                  <a:lnTo>
                    <a:pt x="19" y="94"/>
                  </a:lnTo>
                  <a:cubicBezTo>
                    <a:pt x="20" y="95"/>
                    <a:pt x="20" y="96"/>
                    <a:pt x="21" y="97"/>
                  </a:cubicBezTo>
                  <a:cubicBezTo>
                    <a:pt x="22" y="98"/>
                    <a:pt x="23" y="99"/>
                    <a:pt x="24" y="99"/>
                  </a:cubicBezTo>
                  <a:cubicBezTo>
                    <a:pt x="25" y="100"/>
                    <a:pt x="26" y="100"/>
                    <a:pt x="27" y="100"/>
                  </a:cubicBezTo>
                  <a:cubicBezTo>
                    <a:pt x="28" y="100"/>
                    <a:pt x="29" y="100"/>
                    <a:pt x="30" y="99"/>
                  </a:cubicBezTo>
                  <a:lnTo>
                    <a:pt x="74" y="75"/>
                  </a:lnTo>
                  <a:cubicBezTo>
                    <a:pt x="75" y="75"/>
                    <a:pt x="76" y="74"/>
                    <a:pt x="77" y="73"/>
                  </a:cubicBezTo>
                  <a:cubicBezTo>
                    <a:pt x="77" y="72"/>
                    <a:pt x="78" y="71"/>
                    <a:pt x="78" y="69"/>
                  </a:cubicBezTo>
                  <a:cubicBezTo>
                    <a:pt x="79" y="68"/>
                    <a:pt x="79" y="67"/>
                    <a:pt x="79" y="65"/>
                  </a:cubicBezTo>
                  <a:cubicBezTo>
                    <a:pt x="79" y="64"/>
                    <a:pt x="79" y="63"/>
                    <a:pt x="78" y="61"/>
                  </a:cubicBezTo>
                  <a:lnTo>
                    <a:pt x="59" y="6"/>
                  </a:lnTo>
                  <a:cubicBezTo>
                    <a:pt x="59" y="5"/>
                    <a:pt x="58" y="4"/>
                    <a:pt x="57" y="3"/>
                  </a:cubicBezTo>
                  <a:cubicBezTo>
                    <a:pt x="56" y="2"/>
                    <a:pt x="55" y="1"/>
                    <a:pt x="54" y="1"/>
                  </a:cubicBezTo>
                  <a:cubicBezTo>
                    <a:pt x="54" y="0"/>
                    <a:pt x="52" y="0"/>
                    <a:pt x="51" y="0"/>
                  </a:cubicBezTo>
                  <a:cubicBezTo>
                    <a:pt x="50" y="0"/>
                    <a:pt x="49" y="1"/>
                    <a:pt x="48" y="1"/>
                  </a:cubicBezTo>
                  <a:lnTo>
                    <a:pt x="48" y="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334">
              <a:extLst>
                <a:ext uri="{FF2B5EF4-FFF2-40B4-BE49-F238E27FC236}">
                  <a16:creationId xmlns:a16="http://schemas.microsoft.com/office/drawing/2014/main" id="{C8447E67-788D-4195-A547-497A172C1AFD}"/>
                </a:ext>
              </a:extLst>
            </p:cNvPr>
            <p:cNvSpPr>
              <a:spLocks/>
            </p:cNvSpPr>
            <p:nvPr/>
          </p:nvSpPr>
          <p:spPr bwMode="auto">
            <a:xfrm>
              <a:off x="4105276" y="2835276"/>
              <a:ext cx="58738" cy="74613"/>
            </a:xfrm>
            <a:custGeom>
              <a:avLst/>
              <a:gdLst>
                <a:gd name="T0" fmla="*/ 47 w 77"/>
                <a:gd name="T1" fmla="*/ 1 h 97"/>
                <a:gd name="T2" fmla="*/ 5 w 77"/>
                <a:gd name="T3" fmla="*/ 23 h 97"/>
                <a:gd name="T4" fmla="*/ 3 w 77"/>
                <a:gd name="T5" fmla="*/ 26 h 97"/>
                <a:gd name="T6" fmla="*/ 1 w 77"/>
                <a:gd name="T7" fmla="*/ 29 h 97"/>
                <a:gd name="T8" fmla="*/ 0 w 77"/>
                <a:gd name="T9" fmla="*/ 33 h 97"/>
                <a:gd name="T10" fmla="*/ 1 w 77"/>
                <a:gd name="T11" fmla="*/ 36 h 97"/>
                <a:gd name="T12" fmla="*/ 19 w 77"/>
                <a:gd name="T13" fmla="*/ 91 h 97"/>
                <a:gd name="T14" fmla="*/ 20 w 77"/>
                <a:gd name="T15" fmla="*/ 94 h 97"/>
                <a:gd name="T16" fmla="*/ 23 w 77"/>
                <a:gd name="T17" fmla="*/ 96 h 97"/>
                <a:gd name="T18" fmla="*/ 26 w 77"/>
                <a:gd name="T19" fmla="*/ 97 h 97"/>
                <a:gd name="T20" fmla="*/ 29 w 77"/>
                <a:gd name="T21" fmla="*/ 96 h 97"/>
                <a:gd name="T22" fmla="*/ 72 w 77"/>
                <a:gd name="T23" fmla="*/ 75 h 97"/>
                <a:gd name="T24" fmla="*/ 74 w 77"/>
                <a:gd name="T25" fmla="*/ 72 h 97"/>
                <a:gd name="T26" fmla="*/ 76 w 77"/>
                <a:gd name="T27" fmla="*/ 69 h 97"/>
                <a:gd name="T28" fmla="*/ 77 w 77"/>
                <a:gd name="T29" fmla="*/ 65 h 97"/>
                <a:gd name="T30" fmla="*/ 76 w 77"/>
                <a:gd name="T31" fmla="*/ 61 h 97"/>
                <a:gd name="T32" fmla="*/ 57 w 77"/>
                <a:gd name="T33" fmla="*/ 6 h 97"/>
                <a:gd name="T34" fmla="*/ 56 w 77"/>
                <a:gd name="T35" fmla="*/ 3 h 97"/>
                <a:gd name="T36" fmla="*/ 53 w 77"/>
                <a:gd name="T37" fmla="*/ 0 h 97"/>
                <a:gd name="T38" fmla="*/ 50 w 77"/>
                <a:gd name="T39" fmla="*/ 0 h 97"/>
                <a:gd name="T40" fmla="*/ 47 w 77"/>
                <a:gd name="T41" fmla="*/ 1 h 97"/>
                <a:gd name="T42" fmla="*/ 47 w 77"/>
                <a:gd name="T43" fmla="*/ 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7" h="97">
                  <a:moveTo>
                    <a:pt x="47" y="1"/>
                  </a:moveTo>
                  <a:lnTo>
                    <a:pt x="5" y="23"/>
                  </a:lnTo>
                  <a:cubicBezTo>
                    <a:pt x="4" y="24"/>
                    <a:pt x="3" y="25"/>
                    <a:pt x="3" y="26"/>
                  </a:cubicBezTo>
                  <a:cubicBezTo>
                    <a:pt x="2" y="27"/>
                    <a:pt x="1" y="28"/>
                    <a:pt x="1" y="29"/>
                  </a:cubicBezTo>
                  <a:cubicBezTo>
                    <a:pt x="1" y="30"/>
                    <a:pt x="0" y="31"/>
                    <a:pt x="0" y="33"/>
                  </a:cubicBezTo>
                  <a:cubicBezTo>
                    <a:pt x="0" y="34"/>
                    <a:pt x="1" y="35"/>
                    <a:pt x="1" y="36"/>
                  </a:cubicBezTo>
                  <a:lnTo>
                    <a:pt x="19" y="91"/>
                  </a:lnTo>
                  <a:cubicBezTo>
                    <a:pt x="19" y="92"/>
                    <a:pt x="20" y="93"/>
                    <a:pt x="20" y="94"/>
                  </a:cubicBezTo>
                  <a:cubicBezTo>
                    <a:pt x="21" y="95"/>
                    <a:pt x="22" y="96"/>
                    <a:pt x="23" y="96"/>
                  </a:cubicBezTo>
                  <a:cubicBezTo>
                    <a:pt x="24" y="97"/>
                    <a:pt x="25" y="97"/>
                    <a:pt x="26" y="97"/>
                  </a:cubicBezTo>
                  <a:cubicBezTo>
                    <a:pt x="27" y="97"/>
                    <a:pt x="28" y="97"/>
                    <a:pt x="29" y="96"/>
                  </a:cubicBezTo>
                  <a:lnTo>
                    <a:pt x="72" y="75"/>
                  </a:lnTo>
                  <a:cubicBezTo>
                    <a:pt x="73" y="74"/>
                    <a:pt x="74" y="73"/>
                    <a:pt x="74" y="72"/>
                  </a:cubicBezTo>
                  <a:cubicBezTo>
                    <a:pt x="75" y="71"/>
                    <a:pt x="76" y="70"/>
                    <a:pt x="76" y="69"/>
                  </a:cubicBezTo>
                  <a:cubicBezTo>
                    <a:pt x="77" y="68"/>
                    <a:pt x="77" y="66"/>
                    <a:pt x="77" y="65"/>
                  </a:cubicBezTo>
                  <a:cubicBezTo>
                    <a:pt x="77" y="64"/>
                    <a:pt x="77" y="62"/>
                    <a:pt x="76" y="61"/>
                  </a:cubicBezTo>
                  <a:lnTo>
                    <a:pt x="57" y="6"/>
                  </a:lnTo>
                  <a:cubicBezTo>
                    <a:pt x="57" y="5"/>
                    <a:pt x="56" y="3"/>
                    <a:pt x="56" y="3"/>
                  </a:cubicBezTo>
                  <a:cubicBezTo>
                    <a:pt x="55" y="2"/>
                    <a:pt x="54" y="1"/>
                    <a:pt x="53" y="0"/>
                  </a:cubicBezTo>
                  <a:cubicBezTo>
                    <a:pt x="52" y="0"/>
                    <a:pt x="51" y="0"/>
                    <a:pt x="50" y="0"/>
                  </a:cubicBezTo>
                  <a:cubicBezTo>
                    <a:pt x="49" y="0"/>
                    <a:pt x="48" y="0"/>
                    <a:pt x="47" y="1"/>
                  </a:cubicBezTo>
                  <a:lnTo>
                    <a:pt x="47" y="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335">
              <a:extLst>
                <a:ext uri="{FF2B5EF4-FFF2-40B4-BE49-F238E27FC236}">
                  <a16:creationId xmlns:a16="http://schemas.microsoft.com/office/drawing/2014/main" id="{8B0A0C40-4FB5-4C37-893C-36870F5324B0}"/>
                </a:ext>
              </a:extLst>
            </p:cNvPr>
            <p:cNvSpPr>
              <a:spLocks/>
            </p:cNvSpPr>
            <p:nvPr/>
          </p:nvSpPr>
          <p:spPr bwMode="auto">
            <a:xfrm>
              <a:off x="4098926" y="2970213"/>
              <a:ext cx="58738" cy="73025"/>
            </a:xfrm>
            <a:custGeom>
              <a:avLst/>
              <a:gdLst>
                <a:gd name="T0" fmla="*/ 46 w 76"/>
                <a:gd name="T1" fmla="*/ 1 h 95"/>
                <a:gd name="T2" fmla="*/ 4 w 76"/>
                <a:gd name="T3" fmla="*/ 20 h 95"/>
                <a:gd name="T4" fmla="*/ 2 w 76"/>
                <a:gd name="T5" fmla="*/ 22 h 95"/>
                <a:gd name="T6" fmla="*/ 0 w 76"/>
                <a:gd name="T7" fmla="*/ 25 h 95"/>
                <a:gd name="T8" fmla="*/ 0 w 76"/>
                <a:gd name="T9" fmla="*/ 29 h 95"/>
                <a:gd name="T10" fmla="*/ 0 w 76"/>
                <a:gd name="T11" fmla="*/ 33 h 95"/>
                <a:gd name="T12" fmla="*/ 18 w 76"/>
                <a:gd name="T13" fmla="*/ 88 h 95"/>
                <a:gd name="T14" fmla="*/ 20 w 76"/>
                <a:gd name="T15" fmla="*/ 92 h 95"/>
                <a:gd name="T16" fmla="*/ 22 w 76"/>
                <a:gd name="T17" fmla="*/ 94 h 95"/>
                <a:gd name="T18" fmla="*/ 25 w 76"/>
                <a:gd name="T19" fmla="*/ 95 h 95"/>
                <a:gd name="T20" fmla="*/ 28 w 76"/>
                <a:gd name="T21" fmla="*/ 95 h 95"/>
                <a:gd name="T22" fmla="*/ 71 w 76"/>
                <a:gd name="T23" fmla="*/ 77 h 95"/>
                <a:gd name="T24" fmla="*/ 73 w 76"/>
                <a:gd name="T25" fmla="*/ 75 h 95"/>
                <a:gd name="T26" fmla="*/ 75 w 76"/>
                <a:gd name="T27" fmla="*/ 72 h 95"/>
                <a:gd name="T28" fmla="*/ 75 w 76"/>
                <a:gd name="T29" fmla="*/ 68 h 95"/>
                <a:gd name="T30" fmla="*/ 75 w 76"/>
                <a:gd name="T31" fmla="*/ 64 h 95"/>
                <a:gd name="T32" fmla="*/ 56 w 76"/>
                <a:gd name="T33" fmla="*/ 7 h 95"/>
                <a:gd name="T34" fmla="*/ 54 w 76"/>
                <a:gd name="T35" fmla="*/ 4 h 95"/>
                <a:gd name="T36" fmla="*/ 52 w 76"/>
                <a:gd name="T37" fmla="*/ 1 h 95"/>
                <a:gd name="T38" fmla="*/ 49 w 76"/>
                <a:gd name="T39" fmla="*/ 0 h 95"/>
                <a:gd name="T40" fmla="*/ 46 w 76"/>
                <a:gd name="T41" fmla="*/ 1 h 95"/>
                <a:gd name="T42" fmla="*/ 46 w 76"/>
                <a:gd name="T43"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 h="95">
                  <a:moveTo>
                    <a:pt x="46" y="1"/>
                  </a:moveTo>
                  <a:lnTo>
                    <a:pt x="4" y="20"/>
                  </a:lnTo>
                  <a:cubicBezTo>
                    <a:pt x="3" y="21"/>
                    <a:pt x="2" y="21"/>
                    <a:pt x="2" y="22"/>
                  </a:cubicBezTo>
                  <a:cubicBezTo>
                    <a:pt x="1" y="23"/>
                    <a:pt x="1" y="24"/>
                    <a:pt x="0" y="25"/>
                  </a:cubicBezTo>
                  <a:cubicBezTo>
                    <a:pt x="0" y="26"/>
                    <a:pt x="0" y="28"/>
                    <a:pt x="0" y="29"/>
                  </a:cubicBezTo>
                  <a:cubicBezTo>
                    <a:pt x="0" y="30"/>
                    <a:pt x="0" y="32"/>
                    <a:pt x="0" y="33"/>
                  </a:cubicBezTo>
                  <a:lnTo>
                    <a:pt x="18" y="88"/>
                  </a:lnTo>
                  <a:cubicBezTo>
                    <a:pt x="18" y="90"/>
                    <a:pt x="19" y="91"/>
                    <a:pt x="20" y="92"/>
                  </a:cubicBezTo>
                  <a:cubicBezTo>
                    <a:pt x="20" y="93"/>
                    <a:pt x="21" y="94"/>
                    <a:pt x="22" y="94"/>
                  </a:cubicBezTo>
                  <a:cubicBezTo>
                    <a:pt x="23" y="95"/>
                    <a:pt x="24" y="95"/>
                    <a:pt x="25" y="95"/>
                  </a:cubicBezTo>
                  <a:cubicBezTo>
                    <a:pt x="26" y="95"/>
                    <a:pt x="27" y="95"/>
                    <a:pt x="28" y="95"/>
                  </a:cubicBezTo>
                  <a:lnTo>
                    <a:pt x="71" y="77"/>
                  </a:lnTo>
                  <a:cubicBezTo>
                    <a:pt x="72" y="76"/>
                    <a:pt x="72" y="76"/>
                    <a:pt x="73" y="75"/>
                  </a:cubicBezTo>
                  <a:cubicBezTo>
                    <a:pt x="74" y="74"/>
                    <a:pt x="75" y="73"/>
                    <a:pt x="75" y="72"/>
                  </a:cubicBezTo>
                  <a:cubicBezTo>
                    <a:pt x="75" y="70"/>
                    <a:pt x="76" y="69"/>
                    <a:pt x="75" y="68"/>
                  </a:cubicBezTo>
                  <a:cubicBezTo>
                    <a:pt x="75" y="66"/>
                    <a:pt x="75" y="65"/>
                    <a:pt x="75" y="64"/>
                  </a:cubicBezTo>
                  <a:lnTo>
                    <a:pt x="56" y="7"/>
                  </a:lnTo>
                  <a:cubicBezTo>
                    <a:pt x="56" y="6"/>
                    <a:pt x="55" y="5"/>
                    <a:pt x="54" y="4"/>
                  </a:cubicBezTo>
                  <a:cubicBezTo>
                    <a:pt x="54" y="3"/>
                    <a:pt x="53" y="2"/>
                    <a:pt x="52" y="1"/>
                  </a:cubicBezTo>
                  <a:cubicBezTo>
                    <a:pt x="51" y="1"/>
                    <a:pt x="50" y="0"/>
                    <a:pt x="49" y="0"/>
                  </a:cubicBezTo>
                  <a:cubicBezTo>
                    <a:pt x="48" y="0"/>
                    <a:pt x="47" y="0"/>
                    <a:pt x="46" y="1"/>
                  </a:cubicBezTo>
                  <a:lnTo>
                    <a:pt x="46" y="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336">
              <a:extLst>
                <a:ext uri="{FF2B5EF4-FFF2-40B4-BE49-F238E27FC236}">
                  <a16:creationId xmlns:a16="http://schemas.microsoft.com/office/drawing/2014/main" id="{4F21C5EE-246E-49CE-8515-93037B1A8714}"/>
                </a:ext>
              </a:extLst>
            </p:cNvPr>
            <p:cNvSpPr>
              <a:spLocks noEditPoints="1"/>
            </p:cNvSpPr>
            <p:nvPr/>
          </p:nvSpPr>
          <p:spPr bwMode="auto">
            <a:xfrm>
              <a:off x="4160838" y="2471738"/>
              <a:ext cx="665163" cy="611188"/>
            </a:xfrm>
            <a:custGeom>
              <a:avLst/>
              <a:gdLst>
                <a:gd name="T0" fmla="*/ 632 w 872"/>
                <a:gd name="T1" fmla="*/ 67 h 802"/>
                <a:gd name="T2" fmla="*/ 492 w 872"/>
                <a:gd name="T3" fmla="*/ 389 h 802"/>
                <a:gd name="T4" fmla="*/ 389 w 872"/>
                <a:gd name="T5" fmla="*/ 458 h 802"/>
                <a:gd name="T6" fmla="*/ 430 w 872"/>
                <a:gd name="T7" fmla="*/ 473 h 802"/>
                <a:gd name="T8" fmla="*/ 442 w 872"/>
                <a:gd name="T9" fmla="*/ 473 h 802"/>
                <a:gd name="T10" fmla="*/ 454 w 872"/>
                <a:gd name="T11" fmla="*/ 468 h 802"/>
                <a:gd name="T12" fmla="*/ 462 w 872"/>
                <a:gd name="T13" fmla="*/ 458 h 802"/>
                <a:gd name="T14" fmla="*/ 481 w 872"/>
                <a:gd name="T15" fmla="*/ 415 h 802"/>
                <a:gd name="T16" fmla="*/ 253 w 872"/>
                <a:gd name="T17" fmla="*/ 678 h 802"/>
                <a:gd name="T18" fmla="*/ 136 w 872"/>
                <a:gd name="T19" fmla="*/ 366 h 802"/>
                <a:gd name="T20" fmla="*/ 242 w 872"/>
                <a:gd name="T21" fmla="*/ 648 h 802"/>
                <a:gd name="T22" fmla="*/ 183 w 872"/>
                <a:gd name="T23" fmla="*/ 646 h 802"/>
                <a:gd name="T24" fmla="*/ 130 w 872"/>
                <a:gd name="T25" fmla="*/ 670 h 802"/>
                <a:gd name="T26" fmla="*/ 123 w 872"/>
                <a:gd name="T27" fmla="*/ 670 h 802"/>
                <a:gd name="T28" fmla="*/ 118 w 872"/>
                <a:gd name="T29" fmla="*/ 664 h 802"/>
                <a:gd name="T30" fmla="*/ 118 w 872"/>
                <a:gd name="T31" fmla="*/ 663 h 802"/>
                <a:gd name="T32" fmla="*/ 97 w 872"/>
                <a:gd name="T33" fmla="*/ 603 h 802"/>
                <a:gd name="T34" fmla="*/ 97 w 872"/>
                <a:gd name="T35" fmla="*/ 595 h 802"/>
                <a:gd name="T36" fmla="*/ 102 w 872"/>
                <a:gd name="T37" fmla="*/ 590 h 802"/>
                <a:gd name="T38" fmla="*/ 154 w 872"/>
                <a:gd name="T39" fmla="*/ 566 h 802"/>
                <a:gd name="T40" fmla="*/ 161 w 872"/>
                <a:gd name="T41" fmla="*/ 570 h 802"/>
                <a:gd name="T42" fmla="*/ 185 w 872"/>
                <a:gd name="T43" fmla="*/ 634 h 802"/>
                <a:gd name="T44" fmla="*/ 185 w 872"/>
                <a:gd name="T45" fmla="*/ 643 h 802"/>
                <a:gd name="T46" fmla="*/ 447 w 872"/>
                <a:gd name="T47" fmla="*/ 429 h 802"/>
                <a:gd name="T48" fmla="*/ 444 w 872"/>
                <a:gd name="T49" fmla="*/ 435 h 802"/>
                <a:gd name="T50" fmla="*/ 437 w 872"/>
                <a:gd name="T51" fmla="*/ 443 h 802"/>
                <a:gd name="T52" fmla="*/ 426 w 872"/>
                <a:gd name="T53" fmla="*/ 443 h 802"/>
                <a:gd name="T54" fmla="*/ 420 w 872"/>
                <a:gd name="T55" fmla="*/ 441 h 802"/>
                <a:gd name="T56" fmla="*/ 605 w 872"/>
                <a:gd name="T57" fmla="*/ 62 h 802"/>
                <a:gd name="T58" fmla="*/ 651 w 872"/>
                <a:gd name="T59" fmla="*/ 6 h 802"/>
                <a:gd name="T60" fmla="*/ 644 w 872"/>
                <a:gd name="T61" fmla="*/ 0 h 802"/>
                <a:gd name="T62" fmla="*/ 633 w 872"/>
                <a:gd name="T63" fmla="*/ 2 h 802"/>
                <a:gd name="T64" fmla="*/ 80 w 872"/>
                <a:gd name="T65" fmla="*/ 328 h 802"/>
                <a:gd name="T66" fmla="*/ 78 w 872"/>
                <a:gd name="T67" fmla="*/ 335 h 802"/>
                <a:gd name="T68" fmla="*/ 100 w 872"/>
                <a:gd name="T69" fmla="*/ 400 h 802"/>
                <a:gd name="T70" fmla="*/ 99 w 872"/>
                <a:gd name="T71" fmla="*/ 405 h 802"/>
                <a:gd name="T72" fmla="*/ 94 w 872"/>
                <a:gd name="T73" fmla="*/ 410 h 802"/>
                <a:gd name="T74" fmla="*/ 45 w 872"/>
                <a:gd name="T75" fmla="*/ 438 h 802"/>
                <a:gd name="T76" fmla="*/ 42 w 872"/>
                <a:gd name="T77" fmla="*/ 446 h 802"/>
                <a:gd name="T78" fmla="*/ 63 w 872"/>
                <a:gd name="T79" fmla="*/ 506 h 802"/>
                <a:gd name="T80" fmla="*/ 63 w 872"/>
                <a:gd name="T81" fmla="*/ 514 h 802"/>
                <a:gd name="T82" fmla="*/ 58 w 872"/>
                <a:gd name="T83" fmla="*/ 520 h 802"/>
                <a:gd name="T84" fmla="*/ 10 w 872"/>
                <a:gd name="T85" fmla="*/ 545 h 802"/>
                <a:gd name="T86" fmla="*/ 8 w 872"/>
                <a:gd name="T87" fmla="*/ 552 h 802"/>
                <a:gd name="T88" fmla="*/ 21 w 872"/>
                <a:gd name="T89" fmla="*/ 594 h 802"/>
                <a:gd name="T90" fmla="*/ 54 w 872"/>
                <a:gd name="T91" fmla="*/ 691 h 802"/>
                <a:gd name="T92" fmla="*/ 54 w 872"/>
                <a:gd name="T93" fmla="*/ 699 h 802"/>
                <a:gd name="T94" fmla="*/ 49 w 872"/>
                <a:gd name="T95" fmla="*/ 704 h 802"/>
                <a:gd name="T96" fmla="*/ 2 w 872"/>
                <a:gd name="T97" fmla="*/ 725 h 802"/>
                <a:gd name="T98" fmla="*/ 0 w 872"/>
                <a:gd name="T99" fmla="*/ 732 h 802"/>
                <a:gd name="T100" fmla="*/ 19 w 872"/>
                <a:gd name="T101" fmla="*/ 794 h 802"/>
                <a:gd name="T102" fmla="*/ 24 w 872"/>
                <a:gd name="T103" fmla="*/ 801 h 802"/>
                <a:gd name="T104" fmla="*/ 30 w 872"/>
                <a:gd name="T105" fmla="*/ 802 h 802"/>
                <a:gd name="T106" fmla="*/ 76 w 872"/>
                <a:gd name="T107" fmla="*/ 784 h 802"/>
                <a:gd name="T108" fmla="*/ 141 w 872"/>
                <a:gd name="T109" fmla="*/ 759 h 802"/>
                <a:gd name="T110" fmla="*/ 152 w 872"/>
                <a:gd name="T111" fmla="*/ 755 h 802"/>
                <a:gd name="T112" fmla="*/ 159 w 872"/>
                <a:gd name="T113" fmla="*/ 752 h 802"/>
                <a:gd name="T114" fmla="*/ 251 w 872"/>
                <a:gd name="T115" fmla="*/ 717 h 802"/>
                <a:gd name="T116" fmla="*/ 867 w 872"/>
                <a:gd name="T117" fmla="*/ 477 h 802"/>
                <a:gd name="T118" fmla="*/ 872 w 872"/>
                <a:gd name="T119" fmla="*/ 467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2" h="802">
                  <a:moveTo>
                    <a:pt x="492" y="389"/>
                  </a:moveTo>
                  <a:lnTo>
                    <a:pt x="632" y="67"/>
                  </a:lnTo>
                  <a:lnTo>
                    <a:pt x="807" y="436"/>
                  </a:lnTo>
                  <a:lnTo>
                    <a:pt x="492" y="389"/>
                  </a:lnTo>
                  <a:close/>
                  <a:moveTo>
                    <a:pt x="253" y="678"/>
                  </a:moveTo>
                  <a:lnTo>
                    <a:pt x="389" y="458"/>
                  </a:lnTo>
                  <a:lnTo>
                    <a:pt x="428" y="472"/>
                  </a:lnTo>
                  <a:cubicBezTo>
                    <a:pt x="428" y="472"/>
                    <a:pt x="429" y="472"/>
                    <a:pt x="430" y="473"/>
                  </a:cubicBezTo>
                  <a:cubicBezTo>
                    <a:pt x="432" y="473"/>
                    <a:pt x="433" y="473"/>
                    <a:pt x="435" y="473"/>
                  </a:cubicBezTo>
                  <a:cubicBezTo>
                    <a:pt x="437" y="473"/>
                    <a:pt x="440" y="474"/>
                    <a:pt x="442" y="473"/>
                  </a:cubicBezTo>
                  <a:cubicBezTo>
                    <a:pt x="444" y="473"/>
                    <a:pt x="447" y="473"/>
                    <a:pt x="449" y="472"/>
                  </a:cubicBezTo>
                  <a:cubicBezTo>
                    <a:pt x="451" y="471"/>
                    <a:pt x="453" y="469"/>
                    <a:pt x="454" y="468"/>
                  </a:cubicBezTo>
                  <a:cubicBezTo>
                    <a:pt x="456" y="466"/>
                    <a:pt x="458" y="464"/>
                    <a:pt x="459" y="463"/>
                  </a:cubicBezTo>
                  <a:cubicBezTo>
                    <a:pt x="460" y="461"/>
                    <a:pt x="461" y="459"/>
                    <a:pt x="462" y="458"/>
                  </a:cubicBezTo>
                  <a:cubicBezTo>
                    <a:pt x="462" y="457"/>
                    <a:pt x="463" y="456"/>
                    <a:pt x="463" y="456"/>
                  </a:cubicBezTo>
                  <a:lnTo>
                    <a:pt x="481" y="415"/>
                  </a:lnTo>
                  <a:lnTo>
                    <a:pt x="787" y="463"/>
                  </a:lnTo>
                  <a:lnTo>
                    <a:pt x="253" y="678"/>
                  </a:lnTo>
                  <a:close/>
                  <a:moveTo>
                    <a:pt x="242" y="648"/>
                  </a:moveTo>
                  <a:cubicBezTo>
                    <a:pt x="241" y="649"/>
                    <a:pt x="136" y="366"/>
                    <a:pt x="136" y="366"/>
                  </a:cubicBezTo>
                  <a:lnTo>
                    <a:pt x="361" y="450"/>
                  </a:lnTo>
                  <a:cubicBezTo>
                    <a:pt x="361" y="450"/>
                    <a:pt x="243" y="647"/>
                    <a:pt x="242" y="648"/>
                  </a:cubicBezTo>
                  <a:close/>
                  <a:moveTo>
                    <a:pt x="185" y="643"/>
                  </a:moveTo>
                  <a:cubicBezTo>
                    <a:pt x="185" y="644"/>
                    <a:pt x="184" y="645"/>
                    <a:pt x="183" y="646"/>
                  </a:cubicBezTo>
                  <a:cubicBezTo>
                    <a:pt x="182" y="647"/>
                    <a:pt x="181" y="648"/>
                    <a:pt x="180" y="649"/>
                  </a:cubicBezTo>
                  <a:lnTo>
                    <a:pt x="130" y="670"/>
                  </a:lnTo>
                  <a:cubicBezTo>
                    <a:pt x="129" y="670"/>
                    <a:pt x="127" y="671"/>
                    <a:pt x="126" y="671"/>
                  </a:cubicBezTo>
                  <a:cubicBezTo>
                    <a:pt x="125" y="671"/>
                    <a:pt x="124" y="671"/>
                    <a:pt x="123" y="670"/>
                  </a:cubicBezTo>
                  <a:cubicBezTo>
                    <a:pt x="122" y="670"/>
                    <a:pt x="121" y="669"/>
                    <a:pt x="120" y="668"/>
                  </a:cubicBezTo>
                  <a:cubicBezTo>
                    <a:pt x="119" y="667"/>
                    <a:pt x="119" y="666"/>
                    <a:pt x="118" y="664"/>
                  </a:cubicBezTo>
                  <a:lnTo>
                    <a:pt x="118" y="665"/>
                  </a:lnTo>
                  <a:lnTo>
                    <a:pt x="118" y="663"/>
                  </a:lnTo>
                  <a:lnTo>
                    <a:pt x="97" y="604"/>
                  </a:lnTo>
                  <a:lnTo>
                    <a:pt x="97" y="603"/>
                  </a:lnTo>
                  <a:cubicBezTo>
                    <a:pt x="96" y="601"/>
                    <a:pt x="96" y="600"/>
                    <a:pt x="96" y="599"/>
                  </a:cubicBezTo>
                  <a:cubicBezTo>
                    <a:pt x="96" y="597"/>
                    <a:pt x="97" y="596"/>
                    <a:pt x="97" y="595"/>
                  </a:cubicBezTo>
                  <a:cubicBezTo>
                    <a:pt x="97" y="594"/>
                    <a:pt x="98" y="593"/>
                    <a:pt x="99" y="592"/>
                  </a:cubicBezTo>
                  <a:cubicBezTo>
                    <a:pt x="100" y="591"/>
                    <a:pt x="101" y="590"/>
                    <a:pt x="102" y="590"/>
                  </a:cubicBezTo>
                  <a:lnTo>
                    <a:pt x="151" y="567"/>
                  </a:lnTo>
                  <a:cubicBezTo>
                    <a:pt x="152" y="567"/>
                    <a:pt x="153" y="566"/>
                    <a:pt x="154" y="566"/>
                  </a:cubicBezTo>
                  <a:cubicBezTo>
                    <a:pt x="155" y="566"/>
                    <a:pt x="157" y="567"/>
                    <a:pt x="158" y="567"/>
                  </a:cubicBezTo>
                  <a:cubicBezTo>
                    <a:pt x="159" y="568"/>
                    <a:pt x="160" y="569"/>
                    <a:pt x="161" y="570"/>
                  </a:cubicBezTo>
                  <a:cubicBezTo>
                    <a:pt x="162" y="571"/>
                    <a:pt x="162" y="572"/>
                    <a:pt x="163" y="573"/>
                  </a:cubicBezTo>
                  <a:lnTo>
                    <a:pt x="185" y="634"/>
                  </a:lnTo>
                  <a:cubicBezTo>
                    <a:pt x="185" y="636"/>
                    <a:pt x="186" y="637"/>
                    <a:pt x="186" y="639"/>
                  </a:cubicBezTo>
                  <a:cubicBezTo>
                    <a:pt x="186" y="640"/>
                    <a:pt x="185" y="641"/>
                    <a:pt x="185" y="643"/>
                  </a:cubicBezTo>
                  <a:close/>
                  <a:moveTo>
                    <a:pt x="605" y="62"/>
                  </a:moveTo>
                  <a:lnTo>
                    <a:pt x="447" y="429"/>
                  </a:lnTo>
                  <a:cubicBezTo>
                    <a:pt x="447" y="429"/>
                    <a:pt x="446" y="430"/>
                    <a:pt x="446" y="431"/>
                  </a:cubicBezTo>
                  <a:cubicBezTo>
                    <a:pt x="445" y="432"/>
                    <a:pt x="445" y="434"/>
                    <a:pt x="444" y="435"/>
                  </a:cubicBezTo>
                  <a:cubicBezTo>
                    <a:pt x="443" y="437"/>
                    <a:pt x="442" y="438"/>
                    <a:pt x="440" y="440"/>
                  </a:cubicBezTo>
                  <a:cubicBezTo>
                    <a:pt x="439" y="441"/>
                    <a:pt x="438" y="442"/>
                    <a:pt x="437" y="443"/>
                  </a:cubicBezTo>
                  <a:cubicBezTo>
                    <a:pt x="435" y="443"/>
                    <a:pt x="433" y="444"/>
                    <a:pt x="432" y="444"/>
                  </a:cubicBezTo>
                  <a:cubicBezTo>
                    <a:pt x="430" y="444"/>
                    <a:pt x="428" y="443"/>
                    <a:pt x="426" y="443"/>
                  </a:cubicBezTo>
                  <a:cubicBezTo>
                    <a:pt x="424" y="443"/>
                    <a:pt x="423" y="442"/>
                    <a:pt x="422" y="442"/>
                  </a:cubicBezTo>
                  <a:cubicBezTo>
                    <a:pt x="421" y="442"/>
                    <a:pt x="420" y="441"/>
                    <a:pt x="420" y="441"/>
                  </a:cubicBezTo>
                  <a:lnTo>
                    <a:pt x="123" y="337"/>
                  </a:lnTo>
                  <a:lnTo>
                    <a:pt x="605" y="62"/>
                  </a:lnTo>
                  <a:close/>
                  <a:moveTo>
                    <a:pt x="871" y="461"/>
                  </a:moveTo>
                  <a:lnTo>
                    <a:pt x="651" y="6"/>
                  </a:lnTo>
                  <a:cubicBezTo>
                    <a:pt x="650" y="5"/>
                    <a:pt x="649" y="3"/>
                    <a:pt x="648" y="2"/>
                  </a:cubicBezTo>
                  <a:cubicBezTo>
                    <a:pt x="647" y="1"/>
                    <a:pt x="645" y="1"/>
                    <a:pt x="644" y="0"/>
                  </a:cubicBezTo>
                  <a:cubicBezTo>
                    <a:pt x="642" y="0"/>
                    <a:pt x="640" y="0"/>
                    <a:pt x="638" y="0"/>
                  </a:cubicBezTo>
                  <a:cubicBezTo>
                    <a:pt x="637" y="1"/>
                    <a:pt x="635" y="1"/>
                    <a:pt x="633" y="2"/>
                  </a:cubicBezTo>
                  <a:lnTo>
                    <a:pt x="83" y="325"/>
                  </a:lnTo>
                  <a:cubicBezTo>
                    <a:pt x="82" y="326"/>
                    <a:pt x="81" y="327"/>
                    <a:pt x="80" y="328"/>
                  </a:cubicBezTo>
                  <a:cubicBezTo>
                    <a:pt x="79" y="329"/>
                    <a:pt x="79" y="330"/>
                    <a:pt x="78" y="331"/>
                  </a:cubicBezTo>
                  <a:cubicBezTo>
                    <a:pt x="78" y="333"/>
                    <a:pt x="78" y="334"/>
                    <a:pt x="78" y="335"/>
                  </a:cubicBezTo>
                  <a:cubicBezTo>
                    <a:pt x="78" y="337"/>
                    <a:pt x="78" y="338"/>
                    <a:pt x="78" y="340"/>
                  </a:cubicBezTo>
                  <a:lnTo>
                    <a:pt x="100" y="400"/>
                  </a:lnTo>
                  <a:cubicBezTo>
                    <a:pt x="101" y="401"/>
                    <a:pt x="101" y="402"/>
                    <a:pt x="100" y="403"/>
                  </a:cubicBezTo>
                  <a:cubicBezTo>
                    <a:pt x="100" y="404"/>
                    <a:pt x="100" y="404"/>
                    <a:pt x="99" y="405"/>
                  </a:cubicBezTo>
                  <a:cubicBezTo>
                    <a:pt x="99" y="406"/>
                    <a:pt x="98" y="407"/>
                    <a:pt x="97" y="408"/>
                  </a:cubicBezTo>
                  <a:cubicBezTo>
                    <a:pt x="96" y="409"/>
                    <a:pt x="95" y="410"/>
                    <a:pt x="94" y="410"/>
                  </a:cubicBezTo>
                  <a:lnTo>
                    <a:pt x="48" y="436"/>
                  </a:lnTo>
                  <a:cubicBezTo>
                    <a:pt x="46" y="436"/>
                    <a:pt x="46" y="437"/>
                    <a:pt x="45" y="438"/>
                  </a:cubicBezTo>
                  <a:cubicBezTo>
                    <a:pt x="44" y="439"/>
                    <a:pt x="43" y="440"/>
                    <a:pt x="43" y="442"/>
                  </a:cubicBezTo>
                  <a:cubicBezTo>
                    <a:pt x="43" y="443"/>
                    <a:pt x="42" y="444"/>
                    <a:pt x="42" y="446"/>
                  </a:cubicBezTo>
                  <a:cubicBezTo>
                    <a:pt x="42" y="447"/>
                    <a:pt x="43" y="448"/>
                    <a:pt x="43" y="450"/>
                  </a:cubicBezTo>
                  <a:lnTo>
                    <a:pt x="63" y="506"/>
                  </a:lnTo>
                  <a:cubicBezTo>
                    <a:pt x="63" y="507"/>
                    <a:pt x="63" y="509"/>
                    <a:pt x="64" y="510"/>
                  </a:cubicBezTo>
                  <a:cubicBezTo>
                    <a:pt x="64" y="512"/>
                    <a:pt x="63" y="513"/>
                    <a:pt x="63" y="514"/>
                  </a:cubicBezTo>
                  <a:cubicBezTo>
                    <a:pt x="63" y="515"/>
                    <a:pt x="62" y="517"/>
                    <a:pt x="61" y="518"/>
                  </a:cubicBezTo>
                  <a:cubicBezTo>
                    <a:pt x="60" y="518"/>
                    <a:pt x="59" y="519"/>
                    <a:pt x="58" y="520"/>
                  </a:cubicBezTo>
                  <a:lnTo>
                    <a:pt x="13" y="543"/>
                  </a:lnTo>
                  <a:cubicBezTo>
                    <a:pt x="12" y="543"/>
                    <a:pt x="11" y="544"/>
                    <a:pt x="10" y="545"/>
                  </a:cubicBezTo>
                  <a:cubicBezTo>
                    <a:pt x="10" y="546"/>
                    <a:pt x="9" y="547"/>
                    <a:pt x="9" y="548"/>
                  </a:cubicBezTo>
                  <a:cubicBezTo>
                    <a:pt x="8" y="550"/>
                    <a:pt x="8" y="551"/>
                    <a:pt x="8" y="552"/>
                  </a:cubicBezTo>
                  <a:cubicBezTo>
                    <a:pt x="8" y="554"/>
                    <a:pt x="8" y="555"/>
                    <a:pt x="9" y="556"/>
                  </a:cubicBezTo>
                  <a:lnTo>
                    <a:pt x="21" y="594"/>
                  </a:lnTo>
                  <a:lnTo>
                    <a:pt x="28" y="613"/>
                  </a:lnTo>
                  <a:lnTo>
                    <a:pt x="54" y="691"/>
                  </a:lnTo>
                  <a:cubicBezTo>
                    <a:pt x="55" y="692"/>
                    <a:pt x="55" y="694"/>
                    <a:pt x="55" y="695"/>
                  </a:cubicBezTo>
                  <a:cubicBezTo>
                    <a:pt x="55" y="697"/>
                    <a:pt x="55" y="698"/>
                    <a:pt x="54" y="699"/>
                  </a:cubicBezTo>
                  <a:cubicBezTo>
                    <a:pt x="54" y="700"/>
                    <a:pt x="53" y="701"/>
                    <a:pt x="52" y="702"/>
                  </a:cubicBezTo>
                  <a:cubicBezTo>
                    <a:pt x="52" y="703"/>
                    <a:pt x="51" y="704"/>
                    <a:pt x="49" y="704"/>
                  </a:cubicBezTo>
                  <a:lnTo>
                    <a:pt x="5" y="723"/>
                  </a:lnTo>
                  <a:cubicBezTo>
                    <a:pt x="4" y="724"/>
                    <a:pt x="3" y="724"/>
                    <a:pt x="2" y="725"/>
                  </a:cubicBezTo>
                  <a:cubicBezTo>
                    <a:pt x="1" y="726"/>
                    <a:pt x="1" y="727"/>
                    <a:pt x="0" y="729"/>
                  </a:cubicBezTo>
                  <a:cubicBezTo>
                    <a:pt x="0" y="730"/>
                    <a:pt x="0" y="731"/>
                    <a:pt x="0" y="732"/>
                  </a:cubicBezTo>
                  <a:cubicBezTo>
                    <a:pt x="0" y="734"/>
                    <a:pt x="0" y="735"/>
                    <a:pt x="0" y="737"/>
                  </a:cubicBezTo>
                  <a:lnTo>
                    <a:pt x="19" y="794"/>
                  </a:lnTo>
                  <a:cubicBezTo>
                    <a:pt x="20" y="796"/>
                    <a:pt x="20" y="797"/>
                    <a:pt x="21" y="798"/>
                  </a:cubicBezTo>
                  <a:cubicBezTo>
                    <a:pt x="22" y="799"/>
                    <a:pt x="23" y="800"/>
                    <a:pt x="24" y="801"/>
                  </a:cubicBezTo>
                  <a:cubicBezTo>
                    <a:pt x="25" y="801"/>
                    <a:pt x="26" y="802"/>
                    <a:pt x="27" y="802"/>
                  </a:cubicBezTo>
                  <a:cubicBezTo>
                    <a:pt x="28" y="802"/>
                    <a:pt x="29" y="802"/>
                    <a:pt x="30" y="802"/>
                  </a:cubicBezTo>
                  <a:lnTo>
                    <a:pt x="51" y="794"/>
                  </a:lnTo>
                  <a:lnTo>
                    <a:pt x="76" y="784"/>
                  </a:lnTo>
                  <a:lnTo>
                    <a:pt x="123" y="766"/>
                  </a:lnTo>
                  <a:lnTo>
                    <a:pt x="141" y="759"/>
                  </a:lnTo>
                  <a:cubicBezTo>
                    <a:pt x="143" y="758"/>
                    <a:pt x="145" y="757"/>
                    <a:pt x="147" y="757"/>
                  </a:cubicBezTo>
                  <a:cubicBezTo>
                    <a:pt x="149" y="756"/>
                    <a:pt x="150" y="755"/>
                    <a:pt x="152" y="755"/>
                  </a:cubicBezTo>
                  <a:cubicBezTo>
                    <a:pt x="153" y="754"/>
                    <a:pt x="155" y="754"/>
                    <a:pt x="156" y="753"/>
                  </a:cubicBezTo>
                  <a:cubicBezTo>
                    <a:pt x="157" y="753"/>
                    <a:pt x="158" y="752"/>
                    <a:pt x="159" y="752"/>
                  </a:cubicBezTo>
                  <a:lnTo>
                    <a:pt x="228" y="725"/>
                  </a:lnTo>
                  <a:lnTo>
                    <a:pt x="251" y="717"/>
                  </a:lnTo>
                  <a:lnTo>
                    <a:pt x="862" y="480"/>
                  </a:lnTo>
                  <a:cubicBezTo>
                    <a:pt x="864" y="479"/>
                    <a:pt x="866" y="478"/>
                    <a:pt x="867" y="477"/>
                  </a:cubicBezTo>
                  <a:cubicBezTo>
                    <a:pt x="869" y="476"/>
                    <a:pt x="870" y="474"/>
                    <a:pt x="871" y="472"/>
                  </a:cubicBezTo>
                  <a:cubicBezTo>
                    <a:pt x="872" y="470"/>
                    <a:pt x="872" y="469"/>
                    <a:pt x="872" y="467"/>
                  </a:cubicBezTo>
                  <a:cubicBezTo>
                    <a:pt x="872" y="465"/>
                    <a:pt x="871" y="463"/>
                    <a:pt x="871" y="46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34" name="Connecteur droit 9">
            <a:extLst>
              <a:ext uri="{FF2B5EF4-FFF2-40B4-BE49-F238E27FC236}">
                <a16:creationId xmlns:a16="http://schemas.microsoft.com/office/drawing/2014/main" id="{576F780F-22EB-4266-9939-87A66F2EAD77}"/>
              </a:ext>
            </a:extLst>
          </p:cNvPr>
          <p:cNvCxnSpPr>
            <a:cxnSpLocks/>
          </p:cNvCxnSpPr>
          <p:nvPr/>
        </p:nvCxnSpPr>
        <p:spPr>
          <a:xfrm>
            <a:off x="4365671" y="3451013"/>
            <a:ext cx="0" cy="263845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 name="Řečová bublina: obdélníkový bublinový popisek se zakulacenými rohy 36">
            <a:extLst>
              <a:ext uri="{FF2B5EF4-FFF2-40B4-BE49-F238E27FC236}">
                <a16:creationId xmlns:a16="http://schemas.microsoft.com/office/drawing/2014/main" id="{0CF74652-A6B2-4AE2-AD53-A469AA6BD452}"/>
              </a:ext>
            </a:extLst>
          </p:cNvPr>
          <p:cNvSpPr/>
          <p:nvPr/>
        </p:nvSpPr>
        <p:spPr>
          <a:xfrm>
            <a:off x="1809223" y="3598590"/>
            <a:ext cx="2265699" cy="886264"/>
          </a:xfrm>
          <a:prstGeom prst="wedgeRoundRectCallout">
            <a:avLst>
              <a:gd name="adj1" fmla="val 62108"/>
              <a:gd name="adj2" fmla="val -14983"/>
              <a:gd name="adj3" fmla="val 1666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i="1" dirty="0"/>
              <a:t>Can you please send me AEC-Q200 </a:t>
            </a:r>
            <a:r>
              <a:rPr lang="en-GB" sz="1400" i="1" dirty="0" err="1"/>
              <a:t>datapack</a:t>
            </a:r>
            <a:r>
              <a:rPr lang="en-GB" sz="1400" i="1" dirty="0"/>
              <a:t> on Capacitors under # order ? </a:t>
            </a:r>
            <a:endParaRPr lang="cs-CZ" sz="1400" i="1" dirty="0"/>
          </a:p>
        </p:txBody>
      </p:sp>
      <p:sp>
        <p:nvSpPr>
          <p:cNvPr id="38" name="Řečová bublina: oválný bublinový popisek 37">
            <a:extLst>
              <a:ext uri="{FF2B5EF4-FFF2-40B4-BE49-F238E27FC236}">
                <a16:creationId xmlns:a16="http://schemas.microsoft.com/office/drawing/2014/main" id="{A3F921F5-DA9E-4EF9-80C2-133D398FDD48}"/>
              </a:ext>
            </a:extLst>
          </p:cNvPr>
          <p:cNvSpPr/>
          <p:nvPr/>
        </p:nvSpPr>
        <p:spPr>
          <a:xfrm>
            <a:off x="4569656" y="3927692"/>
            <a:ext cx="2328201" cy="843206"/>
          </a:xfrm>
          <a:prstGeom prst="wedgeEllipseCallout">
            <a:avLst>
              <a:gd name="adj1" fmla="val -54545"/>
              <a:gd name="adj2" fmla="val -3512"/>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t>
            </a:r>
            <a:r>
              <a:rPr lang="en-US" sz="1400" i="1" dirty="0"/>
              <a:t>What is AEC-Q200 </a:t>
            </a:r>
            <a:r>
              <a:rPr lang="en-US" sz="1400" i="1" dirty="0" err="1"/>
              <a:t>datapackage</a:t>
            </a:r>
            <a:r>
              <a:rPr lang="en-US" sz="1400" i="1" dirty="0"/>
              <a:t>?”</a:t>
            </a:r>
            <a:endParaRPr lang="cs-CZ" sz="1400" i="1" dirty="0"/>
          </a:p>
        </p:txBody>
      </p:sp>
      <p:sp>
        <p:nvSpPr>
          <p:cNvPr id="39" name="TextovéPole 38">
            <a:extLst>
              <a:ext uri="{FF2B5EF4-FFF2-40B4-BE49-F238E27FC236}">
                <a16:creationId xmlns:a16="http://schemas.microsoft.com/office/drawing/2014/main" id="{AAA44C99-DBAB-42E7-BFF5-B30402D0A8DB}"/>
              </a:ext>
            </a:extLst>
          </p:cNvPr>
          <p:cNvSpPr txBox="1"/>
          <p:nvPr/>
        </p:nvSpPr>
        <p:spPr>
          <a:xfrm>
            <a:off x="4341068" y="3964193"/>
            <a:ext cx="457176" cy="215444"/>
          </a:xfrm>
          <a:prstGeom prst="rect">
            <a:avLst/>
          </a:prstGeom>
          <a:noFill/>
        </p:spPr>
        <p:txBody>
          <a:bodyPr wrap="none" rtlCol="0">
            <a:spAutoFit/>
          </a:bodyPr>
          <a:lstStyle/>
          <a:p>
            <a:r>
              <a:rPr lang="en-GB" sz="800" dirty="0"/>
              <a:t>1 hour</a:t>
            </a:r>
            <a:endParaRPr lang="cs-CZ" sz="800" dirty="0"/>
          </a:p>
        </p:txBody>
      </p:sp>
      <p:sp>
        <p:nvSpPr>
          <p:cNvPr id="40" name="TextovéPole 39">
            <a:extLst>
              <a:ext uri="{FF2B5EF4-FFF2-40B4-BE49-F238E27FC236}">
                <a16:creationId xmlns:a16="http://schemas.microsoft.com/office/drawing/2014/main" id="{3D7BE078-59C2-4E08-82CC-0DA422FF40B5}"/>
              </a:ext>
            </a:extLst>
          </p:cNvPr>
          <p:cNvSpPr txBox="1"/>
          <p:nvPr/>
        </p:nvSpPr>
        <p:spPr>
          <a:xfrm>
            <a:off x="2405576" y="3053925"/>
            <a:ext cx="596638" cy="369332"/>
          </a:xfrm>
          <a:prstGeom prst="rect">
            <a:avLst/>
          </a:prstGeom>
          <a:noFill/>
        </p:spPr>
        <p:txBody>
          <a:bodyPr wrap="none" rtlCol="0">
            <a:spAutoFit/>
          </a:bodyPr>
          <a:lstStyle/>
          <a:p>
            <a:r>
              <a:rPr lang="en-GB" dirty="0"/>
              <a:t>EPCI</a:t>
            </a:r>
            <a:endParaRPr lang="cs-CZ" dirty="0"/>
          </a:p>
        </p:txBody>
      </p:sp>
      <p:sp>
        <p:nvSpPr>
          <p:cNvPr id="41" name="TextovéPole 40">
            <a:extLst>
              <a:ext uri="{FF2B5EF4-FFF2-40B4-BE49-F238E27FC236}">
                <a16:creationId xmlns:a16="http://schemas.microsoft.com/office/drawing/2014/main" id="{2CB74317-25B5-4C4F-9B79-C922238BCF8A}"/>
              </a:ext>
            </a:extLst>
          </p:cNvPr>
          <p:cNvSpPr txBox="1"/>
          <p:nvPr/>
        </p:nvSpPr>
        <p:spPr>
          <a:xfrm>
            <a:off x="5073775" y="3081681"/>
            <a:ext cx="1197764" cy="369332"/>
          </a:xfrm>
          <a:prstGeom prst="rect">
            <a:avLst/>
          </a:prstGeom>
          <a:noFill/>
        </p:spPr>
        <p:txBody>
          <a:bodyPr wrap="none" rtlCol="0">
            <a:spAutoFit/>
          </a:bodyPr>
          <a:lstStyle/>
          <a:p>
            <a:r>
              <a:rPr lang="en-GB" dirty="0"/>
              <a:t>Distributor</a:t>
            </a:r>
            <a:endParaRPr lang="cs-CZ" dirty="0"/>
          </a:p>
        </p:txBody>
      </p:sp>
      <p:sp>
        <p:nvSpPr>
          <p:cNvPr id="42" name="Řečová bublina: obdélníkový bublinový popisek se zakulacenými rohy 41">
            <a:extLst>
              <a:ext uri="{FF2B5EF4-FFF2-40B4-BE49-F238E27FC236}">
                <a16:creationId xmlns:a16="http://schemas.microsoft.com/office/drawing/2014/main" id="{0D2AA3EA-8F5A-4BD4-BF9D-CC4ABBFE7EF3}"/>
              </a:ext>
            </a:extLst>
          </p:cNvPr>
          <p:cNvSpPr/>
          <p:nvPr/>
        </p:nvSpPr>
        <p:spPr>
          <a:xfrm>
            <a:off x="1818182" y="4762131"/>
            <a:ext cx="2256740" cy="369332"/>
          </a:xfrm>
          <a:prstGeom prst="wedgeRoundRectCallout">
            <a:avLst>
              <a:gd name="adj1" fmla="val 62108"/>
              <a:gd name="adj2" fmla="val -14983"/>
              <a:gd name="adj3" fmla="val 1666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i="1" dirty="0"/>
              <a:t>AEC-Q200 </a:t>
            </a:r>
            <a:r>
              <a:rPr lang="en-GB" sz="1400" i="1" dirty="0" err="1"/>
              <a:t>datapack</a:t>
            </a:r>
            <a:r>
              <a:rPr lang="en-GB" sz="1400" i="1" dirty="0"/>
              <a:t> is </a:t>
            </a:r>
            <a:r>
              <a:rPr lang="en-GB" sz="1400" dirty="0"/>
              <a:t>…</a:t>
            </a:r>
            <a:endParaRPr lang="cs-CZ" sz="1400" dirty="0"/>
          </a:p>
        </p:txBody>
      </p:sp>
      <p:sp>
        <p:nvSpPr>
          <p:cNvPr id="43" name="TextovéPole 42">
            <a:extLst>
              <a:ext uri="{FF2B5EF4-FFF2-40B4-BE49-F238E27FC236}">
                <a16:creationId xmlns:a16="http://schemas.microsoft.com/office/drawing/2014/main" id="{E5B9D826-9267-435B-AF87-45B76ECF85F5}"/>
              </a:ext>
            </a:extLst>
          </p:cNvPr>
          <p:cNvSpPr txBox="1"/>
          <p:nvPr/>
        </p:nvSpPr>
        <p:spPr>
          <a:xfrm>
            <a:off x="4365671" y="4985827"/>
            <a:ext cx="548548" cy="215444"/>
          </a:xfrm>
          <a:prstGeom prst="rect">
            <a:avLst/>
          </a:prstGeom>
          <a:noFill/>
        </p:spPr>
        <p:txBody>
          <a:bodyPr wrap="none" rtlCol="0">
            <a:spAutoFit/>
          </a:bodyPr>
          <a:lstStyle/>
          <a:p>
            <a:r>
              <a:rPr lang="en-GB" sz="800" dirty="0"/>
              <a:t>24 hours</a:t>
            </a:r>
            <a:endParaRPr lang="cs-CZ" sz="800" dirty="0"/>
          </a:p>
        </p:txBody>
      </p:sp>
      <p:sp>
        <p:nvSpPr>
          <p:cNvPr id="44" name="Řečová bublina: oválný bublinový popisek 43">
            <a:extLst>
              <a:ext uri="{FF2B5EF4-FFF2-40B4-BE49-F238E27FC236}">
                <a16:creationId xmlns:a16="http://schemas.microsoft.com/office/drawing/2014/main" id="{91F28F91-8BE3-42E4-9EAC-7B7EEE203394}"/>
              </a:ext>
            </a:extLst>
          </p:cNvPr>
          <p:cNvSpPr/>
          <p:nvPr/>
        </p:nvSpPr>
        <p:spPr>
          <a:xfrm>
            <a:off x="4569655" y="5037754"/>
            <a:ext cx="2328197" cy="1369134"/>
          </a:xfrm>
          <a:prstGeom prst="wedgeEllipseCallout">
            <a:avLst>
              <a:gd name="adj1" fmla="val -54545"/>
              <a:gd name="adj2" fmla="val -3512"/>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t>
            </a:r>
            <a:r>
              <a:rPr lang="en-US" sz="1400" i="1" dirty="0"/>
              <a:t>for AEC-Q200 please contact manufacturers directly, we do not provide this data</a:t>
            </a:r>
            <a:r>
              <a:rPr lang="en-US" sz="1400" dirty="0"/>
              <a:t>”.</a:t>
            </a:r>
            <a:endParaRPr lang="cs-CZ" sz="1400" dirty="0"/>
          </a:p>
        </p:txBody>
      </p:sp>
      <p:sp>
        <p:nvSpPr>
          <p:cNvPr id="46" name="Šipka: kruhová 45">
            <a:extLst>
              <a:ext uri="{FF2B5EF4-FFF2-40B4-BE49-F238E27FC236}">
                <a16:creationId xmlns:a16="http://schemas.microsoft.com/office/drawing/2014/main" id="{42724C86-283C-4E89-ACD1-CA2C1265805A}"/>
              </a:ext>
            </a:extLst>
          </p:cNvPr>
          <p:cNvSpPr/>
          <p:nvPr/>
        </p:nvSpPr>
        <p:spPr>
          <a:xfrm rot="5400000">
            <a:off x="6742575" y="2199344"/>
            <a:ext cx="1669352" cy="1729879"/>
          </a:xfrm>
          <a:prstGeom prst="circularArrow">
            <a:avLst>
              <a:gd name="adj1" fmla="val 12500"/>
              <a:gd name="adj2" fmla="val 1142319"/>
              <a:gd name="adj3" fmla="val 20457681"/>
              <a:gd name="adj4" fmla="val 16142121"/>
              <a:gd name="adj5" fmla="val 12500"/>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chemeClr val="tx1"/>
              </a:solidFill>
            </a:endParaRPr>
          </a:p>
        </p:txBody>
      </p:sp>
      <p:sp>
        <p:nvSpPr>
          <p:cNvPr id="47" name="TextovéPole 46">
            <a:extLst>
              <a:ext uri="{FF2B5EF4-FFF2-40B4-BE49-F238E27FC236}">
                <a16:creationId xmlns:a16="http://schemas.microsoft.com/office/drawing/2014/main" id="{57BA76BA-9254-4992-BC78-FF80E557872C}"/>
              </a:ext>
            </a:extLst>
          </p:cNvPr>
          <p:cNvSpPr txBox="1"/>
          <p:nvPr/>
        </p:nvSpPr>
        <p:spPr>
          <a:xfrm>
            <a:off x="1277552" y="2634138"/>
            <a:ext cx="2211311" cy="369332"/>
          </a:xfrm>
          <a:prstGeom prst="rect">
            <a:avLst/>
          </a:prstGeom>
          <a:noFill/>
        </p:spPr>
        <p:txBody>
          <a:bodyPr wrap="none" rtlCol="0">
            <a:spAutoFit/>
          </a:bodyPr>
          <a:lstStyle/>
          <a:p>
            <a:r>
              <a:rPr lang="en-US" dirty="0"/>
              <a:t>Email communication</a:t>
            </a:r>
          </a:p>
        </p:txBody>
      </p:sp>
      <p:sp>
        <p:nvSpPr>
          <p:cNvPr id="48" name="Zástupný symbol pro zápatí 2">
            <a:extLst>
              <a:ext uri="{FF2B5EF4-FFF2-40B4-BE49-F238E27FC236}">
                <a16:creationId xmlns:a16="http://schemas.microsoft.com/office/drawing/2014/main" id="{BD7B5D62-030B-405C-B2E6-32A962108E2E}"/>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2" name="Zvuk 1">
            <a:hlinkClick r:id="" action="ppaction://media"/>
            <a:extLst>
              <a:ext uri="{FF2B5EF4-FFF2-40B4-BE49-F238E27FC236}">
                <a16:creationId xmlns:a16="http://schemas.microsoft.com/office/drawing/2014/main" id="{CDC84ACD-51C4-40CE-BCF4-D2A8D9947DF3}"/>
              </a:ext>
            </a:extLst>
          </p:cNvPr>
          <p:cNvPicPr>
            <a:picLocks noChangeAspect="1"/>
          </p:cNvPicPr>
          <p:nvPr>
            <a:audioFile r:link="rId4"/>
            <p:extLst>
              <p:ext uri="{DAA4B4D4-6D71-4841-9C94-3DE7FCFB9230}">
                <p14:media xmlns:p14="http://schemas.microsoft.com/office/powerpoint/2010/main" r:embed="rId3"/>
              </p:ext>
            </p:extLst>
          </p:nvPr>
        </p:nvPicPr>
        <p:blipFill>
          <a:blip r:embed="rId6"/>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213352704"/>
      </p:ext>
    </p:extLst>
  </p:cSld>
  <p:clrMapOvr>
    <a:masterClrMapping/>
  </p:clrMapOvr>
  <mc:AlternateContent xmlns:mc="http://schemas.openxmlformats.org/markup-compatibility/2006">
    <mc:Choice xmlns:p14="http://schemas.microsoft.com/office/powerpoint/2010/main" Requires="p14">
      <p:transition spd="slow" p14:dur="2000" advTm="25459"/>
    </mc:Choice>
    <mc:Fallback>
      <p:transition spd="slow" advTm="2545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E87DDF46-B07A-4183-A6C4-5CFC46E95960}"/>
              </a:ext>
            </a:extLst>
          </p:cNvPr>
          <p:cNvSpPr>
            <a:spLocks noGrp="1"/>
          </p:cNvSpPr>
          <p:nvPr>
            <p:ph type="sldNum" sz="quarter" idx="12"/>
          </p:nvPr>
        </p:nvSpPr>
        <p:spPr/>
        <p:txBody>
          <a:bodyPr/>
          <a:lstStyle/>
          <a:p>
            <a:fld id="{87170177-53BE-4EA4-8CC9-5D64EAB74717}" type="slidenum">
              <a:rPr lang="cs-CZ" sz="900" smtClean="0"/>
              <a:t>14</a:t>
            </a:fld>
            <a:endParaRPr lang="cs-CZ" sz="900" dirty="0"/>
          </a:p>
        </p:txBody>
      </p:sp>
      <p:sp>
        <p:nvSpPr>
          <p:cNvPr id="4" name="Rectangle 94">
            <a:extLst>
              <a:ext uri="{FF2B5EF4-FFF2-40B4-BE49-F238E27FC236}">
                <a16:creationId xmlns:a16="http://schemas.microsoft.com/office/drawing/2014/main" id="{32C0964D-8390-4CE7-85AE-760E74072C20}"/>
              </a:ext>
            </a:extLst>
          </p:cNvPr>
          <p:cNvSpPr/>
          <p:nvPr/>
        </p:nvSpPr>
        <p:spPr>
          <a:xfrm>
            <a:off x="0" y="-17702"/>
            <a:ext cx="12192001" cy="10800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82">
            <a:extLst>
              <a:ext uri="{FF2B5EF4-FFF2-40B4-BE49-F238E27FC236}">
                <a16:creationId xmlns:a16="http://schemas.microsoft.com/office/drawing/2014/main" id="{D0E75087-D62C-461B-B63C-582B2042EDFC}"/>
              </a:ext>
            </a:extLst>
          </p:cNvPr>
          <p:cNvSpPr txBox="1"/>
          <p:nvPr/>
        </p:nvSpPr>
        <p:spPr>
          <a:xfrm>
            <a:off x="304263" y="200887"/>
            <a:ext cx="11583472" cy="584775"/>
          </a:xfrm>
          <a:prstGeom prst="rect">
            <a:avLst/>
          </a:prstGeom>
          <a:noFill/>
        </p:spPr>
        <p:txBody>
          <a:bodyPr wrap="square" rtlCol="0">
            <a:spAutoFit/>
          </a:bodyPr>
          <a:lstStyle/>
          <a:p>
            <a:r>
              <a:rPr lang="cs-CZ" sz="3200" b="1" dirty="0" err="1">
                <a:solidFill>
                  <a:schemeClr val="bg2"/>
                </a:solidFill>
                <a:latin typeface="+mj-lt"/>
              </a:rPr>
              <a:t>Procurement</a:t>
            </a:r>
            <a:r>
              <a:rPr lang="cs-CZ" sz="3200" b="1" dirty="0">
                <a:solidFill>
                  <a:schemeClr val="bg2"/>
                </a:solidFill>
                <a:latin typeface="+mj-lt"/>
              </a:rPr>
              <a:t> </a:t>
            </a:r>
            <a:r>
              <a:rPr lang="en-GB" sz="3200" b="1" dirty="0">
                <a:solidFill>
                  <a:schemeClr val="bg2"/>
                </a:solidFill>
                <a:latin typeface="+mj-lt"/>
              </a:rPr>
              <a:t>&amp; Purchasing</a:t>
            </a:r>
            <a:endParaRPr lang="en-US" sz="3200" dirty="0">
              <a:solidFill>
                <a:schemeClr val="tx2"/>
              </a:solidFill>
            </a:endParaRPr>
          </a:p>
        </p:txBody>
      </p:sp>
      <p:sp>
        <p:nvSpPr>
          <p:cNvPr id="8" name="TextovéPole 7">
            <a:extLst>
              <a:ext uri="{FF2B5EF4-FFF2-40B4-BE49-F238E27FC236}">
                <a16:creationId xmlns:a16="http://schemas.microsoft.com/office/drawing/2014/main" id="{60F9672A-58D6-4EEB-8577-2D9CD44D60FD}"/>
              </a:ext>
            </a:extLst>
          </p:cNvPr>
          <p:cNvSpPr txBox="1"/>
          <p:nvPr/>
        </p:nvSpPr>
        <p:spPr>
          <a:xfrm>
            <a:off x="6921453" y="600996"/>
            <a:ext cx="5270545" cy="369332"/>
          </a:xfrm>
          <a:prstGeom prst="rect">
            <a:avLst/>
          </a:prstGeom>
          <a:noFill/>
        </p:spPr>
        <p:txBody>
          <a:bodyPr wrap="none" rtlCol="0">
            <a:spAutoFit/>
          </a:bodyPr>
          <a:lstStyle/>
          <a:p>
            <a:r>
              <a:rPr lang="en-GB" b="1" dirty="0" err="1">
                <a:solidFill>
                  <a:schemeClr val="bg1">
                    <a:lumMod val="85000"/>
                  </a:schemeClr>
                </a:solidFill>
              </a:rPr>
              <a:t>Datapack</a:t>
            </a:r>
            <a:r>
              <a:rPr lang="en-GB" b="1" dirty="0">
                <a:solidFill>
                  <a:schemeClr val="bg1">
                    <a:lumMod val="85000"/>
                  </a:schemeClr>
                </a:solidFill>
              </a:rPr>
              <a:t> Request – Communication – Manufacturers</a:t>
            </a:r>
            <a:endParaRPr lang="cs-CZ" b="1" dirty="0">
              <a:solidFill>
                <a:schemeClr val="bg1">
                  <a:lumMod val="85000"/>
                </a:schemeClr>
              </a:solidFill>
            </a:endParaRPr>
          </a:p>
        </p:txBody>
      </p:sp>
      <p:sp>
        <p:nvSpPr>
          <p:cNvPr id="12" name="TextovéPole 11">
            <a:extLst>
              <a:ext uri="{FF2B5EF4-FFF2-40B4-BE49-F238E27FC236}">
                <a16:creationId xmlns:a16="http://schemas.microsoft.com/office/drawing/2014/main" id="{0E9820E6-122D-4962-9B46-910B379B8DB7}"/>
              </a:ext>
            </a:extLst>
          </p:cNvPr>
          <p:cNvSpPr txBox="1"/>
          <p:nvPr/>
        </p:nvSpPr>
        <p:spPr>
          <a:xfrm>
            <a:off x="358190" y="1103482"/>
            <a:ext cx="10608972" cy="369332"/>
          </a:xfrm>
          <a:prstGeom prst="rect">
            <a:avLst/>
          </a:prstGeom>
          <a:noFill/>
        </p:spPr>
        <p:txBody>
          <a:bodyPr wrap="square">
            <a:spAutoFit/>
          </a:bodyPr>
          <a:lstStyle/>
          <a:p>
            <a:r>
              <a:rPr lang="en-US" b="1" dirty="0"/>
              <a:t>AEC-Q200 DATAPACK </a:t>
            </a:r>
            <a:r>
              <a:rPr lang="en-US" b="1" dirty="0" err="1"/>
              <a:t>reques</a:t>
            </a:r>
            <a:r>
              <a:rPr lang="cs-CZ" b="1" dirty="0"/>
              <a:t>t</a:t>
            </a:r>
            <a:endParaRPr lang="en-US" dirty="0"/>
          </a:p>
        </p:txBody>
      </p:sp>
      <p:cxnSp>
        <p:nvCxnSpPr>
          <p:cNvPr id="34" name="Connecteur droit 9">
            <a:extLst>
              <a:ext uri="{FF2B5EF4-FFF2-40B4-BE49-F238E27FC236}">
                <a16:creationId xmlns:a16="http://schemas.microsoft.com/office/drawing/2014/main" id="{576F780F-22EB-4266-9939-87A66F2EAD77}"/>
              </a:ext>
            </a:extLst>
          </p:cNvPr>
          <p:cNvCxnSpPr>
            <a:cxnSpLocks/>
          </p:cNvCxnSpPr>
          <p:nvPr/>
        </p:nvCxnSpPr>
        <p:spPr>
          <a:xfrm>
            <a:off x="4569384" y="2085564"/>
            <a:ext cx="0" cy="150555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 name="Řečová bublina: obdélníkový bublinový popisek se zakulacenými rohy 36">
            <a:extLst>
              <a:ext uri="{FF2B5EF4-FFF2-40B4-BE49-F238E27FC236}">
                <a16:creationId xmlns:a16="http://schemas.microsoft.com/office/drawing/2014/main" id="{0CF74652-A6B2-4AE2-AD53-A469AA6BD452}"/>
              </a:ext>
            </a:extLst>
          </p:cNvPr>
          <p:cNvSpPr/>
          <p:nvPr/>
        </p:nvSpPr>
        <p:spPr>
          <a:xfrm>
            <a:off x="1243831" y="2297933"/>
            <a:ext cx="2813510" cy="886264"/>
          </a:xfrm>
          <a:prstGeom prst="wedgeRoundRectCallout">
            <a:avLst>
              <a:gd name="adj1" fmla="val 62108"/>
              <a:gd name="adj2" fmla="val -14983"/>
              <a:gd name="adj3" fmla="val 1666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i="1" dirty="0"/>
              <a:t>Can you please send me AEC-Q200 </a:t>
            </a:r>
            <a:r>
              <a:rPr lang="en-GB" sz="1400" i="1" dirty="0" err="1"/>
              <a:t>datapack</a:t>
            </a:r>
            <a:r>
              <a:rPr lang="en-GB" sz="1400" i="1" dirty="0"/>
              <a:t> on Capacitors under # order from your authorized distributor? </a:t>
            </a:r>
            <a:endParaRPr lang="cs-CZ" sz="1400" i="1" dirty="0"/>
          </a:p>
        </p:txBody>
      </p:sp>
      <p:sp>
        <p:nvSpPr>
          <p:cNvPr id="40" name="TextovéPole 39">
            <a:extLst>
              <a:ext uri="{FF2B5EF4-FFF2-40B4-BE49-F238E27FC236}">
                <a16:creationId xmlns:a16="http://schemas.microsoft.com/office/drawing/2014/main" id="{3D7BE078-59C2-4E08-82CC-0DA422FF40B5}"/>
              </a:ext>
            </a:extLst>
          </p:cNvPr>
          <p:cNvSpPr txBox="1"/>
          <p:nvPr/>
        </p:nvSpPr>
        <p:spPr>
          <a:xfrm>
            <a:off x="2365448" y="1799781"/>
            <a:ext cx="596638" cy="369332"/>
          </a:xfrm>
          <a:prstGeom prst="rect">
            <a:avLst/>
          </a:prstGeom>
          <a:noFill/>
        </p:spPr>
        <p:txBody>
          <a:bodyPr wrap="none" rtlCol="0">
            <a:spAutoFit/>
          </a:bodyPr>
          <a:lstStyle/>
          <a:p>
            <a:r>
              <a:rPr lang="en-GB" dirty="0"/>
              <a:t>EPCI</a:t>
            </a:r>
            <a:endParaRPr lang="cs-CZ" dirty="0"/>
          </a:p>
        </p:txBody>
      </p:sp>
      <p:sp>
        <p:nvSpPr>
          <p:cNvPr id="41" name="TextovéPole 40">
            <a:extLst>
              <a:ext uri="{FF2B5EF4-FFF2-40B4-BE49-F238E27FC236}">
                <a16:creationId xmlns:a16="http://schemas.microsoft.com/office/drawing/2014/main" id="{2CB74317-25B5-4C4F-9B79-C922238BCF8A}"/>
              </a:ext>
            </a:extLst>
          </p:cNvPr>
          <p:cNvSpPr txBox="1"/>
          <p:nvPr/>
        </p:nvSpPr>
        <p:spPr>
          <a:xfrm>
            <a:off x="5081373" y="1843608"/>
            <a:ext cx="3209276" cy="369332"/>
          </a:xfrm>
          <a:prstGeom prst="rect">
            <a:avLst/>
          </a:prstGeom>
          <a:noFill/>
        </p:spPr>
        <p:txBody>
          <a:bodyPr wrap="none" rtlCol="0">
            <a:spAutoFit/>
          </a:bodyPr>
          <a:lstStyle/>
          <a:p>
            <a:r>
              <a:rPr lang="en-GB" dirty="0"/>
              <a:t>Manufacturers – Online Support</a:t>
            </a:r>
            <a:endParaRPr lang="cs-CZ" dirty="0"/>
          </a:p>
        </p:txBody>
      </p:sp>
      <p:sp>
        <p:nvSpPr>
          <p:cNvPr id="49" name="TextovéPole 48">
            <a:extLst>
              <a:ext uri="{FF2B5EF4-FFF2-40B4-BE49-F238E27FC236}">
                <a16:creationId xmlns:a16="http://schemas.microsoft.com/office/drawing/2014/main" id="{46CC90D0-318F-455F-B1D7-4A3691B10997}"/>
              </a:ext>
            </a:extLst>
          </p:cNvPr>
          <p:cNvSpPr txBox="1"/>
          <p:nvPr/>
        </p:nvSpPr>
        <p:spPr>
          <a:xfrm>
            <a:off x="5081373" y="2262952"/>
            <a:ext cx="6144053" cy="1077218"/>
          </a:xfrm>
          <a:prstGeom prst="rect">
            <a:avLst/>
          </a:prstGeom>
          <a:noFill/>
        </p:spPr>
        <p:txBody>
          <a:bodyPr wrap="square">
            <a:spAutoFit/>
          </a:bodyPr>
          <a:lstStyle/>
          <a:p>
            <a:r>
              <a:rPr lang="en-GB" sz="1600" b="1" dirty="0"/>
              <a:t>Supplier 1,2 </a:t>
            </a:r>
            <a:r>
              <a:rPr lang="en-GB" sz="1600" dirty="0"/>
              <a:t>-</a:t>
            </a:r>
            <a:r>
              <a:rPr lang="cs-CZ" sz="1600" dirty="0"/>
              <a:t> </a:t>
            </a:r>
            <a:r>
              <a:rPr lang="cs-CZ" sz="1600" dirty="0" err="1"/>
              <a:t>general</a:t>
            </a:r>
            <a:r>
              <a:rPr lang="cs-CZ" sz="1600" dirty="0"/>
              <a:t> email online </a:t>
            </a:r>
            <a:r>
              <a:rPr lang="en-GB" sz="1600" dirty="0"/>
              <a:t>simple </a:t>
            </a:r>
            <a:r>
              <a:rPr lang="cs-CZ" sz="1600" dirty="0" err="1"/>
              <a:t>questionnaire</a:t>
            </a:r>
            <a:r>
              <a:rPr lang="cs-CZ" sz="1600" dirty="0"/>
              <a:t> to </a:t>
            </a:r>
            <a:r>
              <a:rPr lang="cs-CZ" sz="1600" dirty="0" err="1"/>
              <a:t>fill</a:t>
            </a:r>
            <a:r>
              <a:rPr lang="cs-CZ" sz="1600" dirty="0"/>
              <a:t>.</a:t>
            </a:r>
          </a:p>
          <a:p>
            <a:r>
              <a:rPr lang="en-GB" sz="1600" b="1" dirty="0"/>
              <a:t>Supplier 3 </a:t>
            </a:r>
            <a:r>
              <a:rPr lang="en-GB" sz="1600" dirty="0"/>
              <a:t>– component type (capacitors) specific </a:t>
            </a:r>
            <a:r>
              <a:rPr lang="cs-CZ" sz="1600" dirty="0" err="1"/>
              <a:t>contact</a:t>
            </a:r>
            <a:r>
              <a:rPr lang="cs-CZ" sz="1600" dirty="0"/>
              <a:t> email</a:t>
            </a:r>
            <a:r>
              <a:rPr lang="en-GB" sz="1600" dirty="0"/>
              <a:t> </a:t>
            </a:r>
          </a:p>
          <a:p>
            <a:r>
              <a:rPr lang="en-GB" sz="1600" b="1" dirty="0"/>
              <a:t>Supplier 4,5,6 </a:t>
            </a:r>
            <a:r>
              <a:rPr lang="en-GB" sz="1600" dirty="0"/>
              <a:t>- </a:t>
            </a:r>
            <a:r>
              <a:rPr lang="cs-CZ" sz="1600" dirty="0"/>
              <a:t>very </a:t>
            </a:r>
            <a:r>
              <a:rPr lang="cs-CZ" sz="1600" dirty="0" err="1"/>
              <a:t>detailed</a:t>
            </a:r>
            <a:r>
              <a:rPr lang="cs-CZ" sz="1600" dirty="0"/>
              <a:t> </a:t>
            </a:r>
            <a:r>
              <a:rPr lang="cs-CZ" sz="1600" dirty="0" err="1"/>
              <a:t>questionnaire</a:t>
            </a:r>
            <a:r>
              <a:rPr lang="cs-CZ" sz="1600" dirty="0"/>
              <a:t> </a:t>
            </a:r>
            <a:r>
              <a:rPr lang="cs-CZ" sz="1600" dirty="0" err="1"/>
              <a:t>including</a:t>
            </a:r>
            <a:r>
              <a:rPr lang="en-GB" sz="1600" dirty="0"/>
              <a:t> </a:t>
            </a:r>
            <a:r>
              <a:rPr lang="cs-CZ" sz="1600" dirty="0" err="1"/>
              <a:t>application</a:t>
            </a:r>
            <a:r>
              <a:rPr lang="cs-CZ" sz="1600" dirty="0"/>
              <a:t> </a:t>
            </a:r>
            <a:r>
              <a:rPr lang="cs-CZ" sz="1600" dirty="0" err="1"/>
              <a:t>details</a:t>
            </a:r>
            <a:r>
              <a:rPr lang="en-GB" sz="1600" dirty="0"/>
              <a:t>, 	potential market</a:t>
            </a:r>
            <a:r>
              <a:rPr lang="cs-CZ" sz="1600" dirty="0"/>
              <a:t> and PN.</a:t>
            </a:r>
          </a:p>
        </p:txBody>
      </p:sp>
      <p:sp>
        <p:nvSpPr>
          <p:cNvPr id="51" name="TextovéPole 50">
            <a:extLst>
              <a:ext uri="{FF2B5EF4-FFF2-40B4-BE49-F238E27FC236}">
                <a16:creationId xmlns:a16="http://schemas.microsoft.com/office/drawing/2014/main" id="{3526D45E-8D72-46AF-98DC-7705DE4C56F9}"/>
              </a:ext>
            </a:extLst>
          </p:cNvPr>
          <p:cNvSpPr txBox="1"/>
          <p:nvPr/>
        </p:nvSpPr>
        <p:spPr>
          <a:xfrm>
            <a:off x="486980" y="3957815"/>
            <a:ext cx="6467612" cy="1569660"/>
          </a:xfrm>
          <a:prstGeom prst="rect">
            <a:avLst/>
          </a:prstGeom>
          <a:noFill/>
        </p:spPr>
        <p:txBody>
          <a:bodyPr wrap="square">
            <a:spAutoFit/>
          </a:bodyPr>
          <a:lstStyle/>
          <a:p>
            <a:r>
              <a:rPr lang="en-US" sz="1200" dirty="0"/>
              <a:t>filled questionnaire:</a:t>
            </a:r>
          </a:p>
          <a:p>
            <a:endParaRPr lang="en-US" sz="1200" dirty="0"/>
          </a:p>
          <a:p>
            <a:r>
              <a:rPr lang="en-US" sz="1200" b="1" dirty="0"/>
              <a:t>End Customer ….………………………….	</a:t>
            </a:r>
            <a:r>
              <a:rPr lang="en-US" sz="1200" i="1" dirty="0"/>
              <a:t>European based space electronics manufacturer (SME) </a:t>
            </a:r>
          </a:p>
          <a:p>
            <a:r>
              <a:rPr lang="en-US" sz="1200" b="1" dirty="0"/>
              <a:t>Project …………….………………………….	</a:t>
            </a:r>
            <a:r>
              <a:rPr lang="en-US" sz="1200" i="1" dirty="0"/>
              <a:t>general support technology evaluation </a:t>
            </a:r>
          </a:p>
          <a:p>
            <a:r>
              <a:rPr lang="en-US" sz="1200" b="1" dirty="0"/>
              <a:t>Application</a:t>
            </a:r>
            <a:r>
              <a:rPr lang="en-US" sz="1200" dirty="0"/>
              <a:t>  </a:t>
            </a:r>
            <a:r>
              <a:rPr lang="en-US" sz="1200" b="1" dirty="0"/>
              <a:t>…………………………………</a:t>
            </a:r>
            <a:r>
              <a:rPr lang="en-US" sz="1200" dirty="0"/>
              <a:t>	</a:t>
            </a:r>
            <a:r>
              <a:rPr lang="en-US" sz="1200" i="1" dirty="0"/>
              <a:t>space hardware</a:t>
            </a:r>
          </a:p>
          <a:p>
            <a:r>
              <a:rPr lang="en-US" sz="1200" b="1" dirty="0"/>
              <a:t>Start Operation Production (SOP) ..	</a:t>
            </a:r>
            <a:r>
              <a:rPr lang="en-US" sz="1200" i="1" dirty="0"/>
              <a:t>2-5 years</a:t>
            </a:r>
          </a:p>
          <a:p>
            <a:r>
              <a:rPr lang="en-US" sz="1200" b="1" dirty="0"/>
              <a:t>Estimated Annual Usage ………………	</a:t>
            </a:r>
            <a:r>
              <a:rPr lang="en-US" sz="1200" i="1" dirty="0"/>
              <a:t>in thousands of parts annually</a:t>
            </a:r>
          </a:p>
          <a:p>
            <a:endParaRPr lang="en-US" sz="1200" dirty="0"/>
          </a:p>
        </p:txBody>
      </p:sp>
      <p:sp>
        <p:nvSpPr>
          <p:cNvPr id="52" name="Email" descr="{&quot;Key&quot;:&quot;POWER_USER_SHAPE_ICON&quot;,&quot;Value&quot;:&quot;POWER_USER_SHAPE_ICON_STYLE_1&quot;}">
            <a:extLst>
              <a:ext uri="{FF2B5EF4-FFF2-40B4-BE49-F238E27FC236}">
                <a16:creationId xmlns:a16="http://schemas.microsoft.com/office/drawing/2014/main" id="{0905A61B-9163-49D1-91DD-8000A3E7B9F1}"/>
              </a:ext>
            </a:extLst>
          </p:cNvPr>
          <p:cNvSpPr>
            <a:spLocks noChangeAspect="1" noEditPoints="1"/>
          </p:cNvSpPr>
          <p:nvPr>
            <p:custDataLst>
              <p:tags r:id="rId1"/>
            </p:custDataLst>
          </p:nvPr>
        </p:nvSpPr>
        <p:spPr bwMode="auto">
          <a:xfrm>
            <a:off x="8260829" y="1567130"/>
            <a:ext cx="541808" cy="542925"/>
          </a:xfrm>
          <a:custGeom>
            <a:avLst/>
            <a:gdLst>
              <a:gd name="T0" fmla="*/ 366 w 733"/>
              <a:gd name="T1" fmla="*/ 489 h 733"/>
              <a:gd name="T2" fmla="*/ 243 w 733"/>
              <a:gd name="T3" fmla="*/ 366 h 733"/>
              <a:gd name="T4" fmla="*/ 366 w 733"/>
              <a:gd name="T5" fmla="*/ 243 h 733"/>
              <a:gd name="T6" fmla="*/ 489 w 733"/>
              <a:gd name="T7" fmla="*/ 366 h 733"/>
              <a:gd name="T8" fmla="*/ 366 w 733"/>
              <a:gd name="T9" fmla="*/ 489 h 733"/>
              <a:gd name="T10" fmla="*/ 366 w 733"/>
              <a:gd name="T11" fmla="*/ 0 h 733"/>
              <a:gd name="T12" fmla="*/ 0 w 733"/>
              <a:gd name="T13" fmla="*/ 366 h 733"/>
              <a:gd name="T14" fmla="*/ 366 w 733"/>
              <a:gd name="T15" fmla="*/ 733 h 733"/>
              <a:gd name="T16" fmla="*/ 534 w 733"/>
              <a:gd name="T17" fmla="*/ 692 h 733"/>
              <a:gd name="T18" fmla="*/ 549 w 733"/>
              <a:gd name="T19" fmla="*/ 647 h 733"/>
              <a:gd name="T20" fmla="*/ 504 w 733"/>
              <a:gd name="T21" fmla="*/ 633 h 733"/>
              <a:gd name="T22" fmla="*/ 366 w 733"/>
              <a:gd name="T23" fmla="*/ 666 h 733"/>
              <a:gd name="T24" fmla="*/ 66 w 733"/>
              <a:gd name="T25" fmla="*/ 366 h 733"/>
              <a:gd name="T26" fmla="*/ 366 w 733"/>
              <a:gd name="T27" fmla="*/ 66 h 733"/>
              <a:gd name="T28" fmla="*/ 666 w 733"/>
              <a:gd name="T29" fmla="*/ 366 h 733"/>
              <a:gd name="T30" fmla="*/ 630 w 733"/>
              <a:gd name="T31" fmla="*/ 510 h 733"/>
              <a:gd name="T32" fmla="*/ 557 w 733"/>
              <a:gd name="T33" fmla="*/ 368 h 733"/>
              <a:gd name="T34" fmla="*/ 557 w 733"/>
              <a:gd name="T35" fmla="*/ 221 h 733"/>
              <a:gd name="T36" fmla="*/ 523 w 733"/>
              <a:gd name="T37" fmla="*/ 188 h 733"/>
              <a:gd name="T38" fmla="*/ 490 w 733"/>
              <a:gd name="T39" fmla="*/ 221 h 733"/>
              <a:gd name="T40" fmla="*/ 490 w 733"/>
              <a:gd name="T41" fmla="*/ 223 h 733"/>
              <a:gd name="T42" fmla="*/ 366 w 733"/>
              <a:gd name="T43" fmla="*/ 177 h 733"/>
              <a:gd name="T44" fmla="*/ 177 w 733"/>
              <a:gd name="T45" fmla="*/ 366 h 733"/>
              <a:gd name="T46" fmla="*/ 366 w 733"/>
              <a:gd name="T47" fmla="*/ 556 h 733"/>
              <a:gd name="T48" fmla="*/ 518 w 733"/>
              <a:gd name="T49" fmla="*/ 480 h 733"/>
              <a:gd name="T50" fmla="*/ 625 w 733"/>
              <a:gd name="T51" fmla="*/ 586 h 733"/>
              <a:gd name="T52" fmla="*/ 667 w 733"/>
              <a:gd name="T53" fmla="*/ 576 h 733"/>
              <a:gd name="T54" fmla="*/ 733 w 733"/>
              <a:gd name="T55" fmla="*/ 366 h 733"/>
              <a:gd name="T56" fmla="*/ 366 w 733"/>
              <a:gd name="T57"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33" h="733">
                <a:moveTo>
                  <a:pt x="366" y="489"/>
                </a:moveTo>
                <a:cubicBezTo>
                  <a:pt x="298" y="489"/>
                  <a:pt x="243" y="434"/>
                  <a:pt x="243" y="366"/>
                </a:cubicBezTo>
                <a:cubicBezTo>
                  <a:pt x="243" y="298"/>
                  <a:pt x="298" y="243"/>
                  <a:pt x="366" y="243"/>
                </a:cubicBezTo>
                <a:cubicBezTo>
                  <a:pt x="434" y="243"/>
                  <a:pt x="489" y="298"/>
                  <a:pt x="489" y="366"/>
                </a:cubicBezTo>
                <a:cubicBezTo>
                  <a:pt x="489" y="434"/>
                  <a:pt x="434" y="489"/>
                  <a:pt x="366" y="489"/>
                </a:cubicBezTo>
                <a:close/>
                <a:moveTo>
                  <a:pt x="366" y="0"/>
                </a:moveTo>
                <a:cubicBezTo>
                  <a:pt x="164" y="0"/>
                  <a:pt x="0" y="164"/>
                  <a:pt x="0" y="366"/>
                </a:cubicBezTo>
                <a:cubicBezTo>
                  <a:pt x="0" y="569"/>
                  <a:pt x="164" y="733"/>
                  <a:pt x="366" y="733"/>
                </a:cubicBezTo>
                <a:cubicBezTo>
                  <a:pt x="425" y="733"/>
                  <a:pt x="483" y="719"/>
                  <a:pt x="534" y="692"/>
                </a:cubicBezTo>
                <a:cubicBezTo>
                  <a:pt x="551" y="684"/>
                  <a:pt x="557" y="664"/>
                  <a:pt x="549" y="647"/>
                </a:cubicBezTo>
                <a:cubicBezTo>
                  <a:pt x="540" y="631"/>
                  <a:pt x="520" y="625"/>
                  <a:pt x="504" y="633"/>
                </a:cubicBezTo>
                <a:cubicBezTo>
                  <a:pt x="461" y="655"/>
                  <a:pt x="415" y="666"/>
                  <a:pt x="366" y="666"/>
                </a:cubicBezTo>
                <a:cubicBezTo>
                  <a:pt x="201" y="666"/>
                  <a:pt x="66" y="532"/>
                  <a:pt x="66" y="366"/>
                </a:cubicBezTo>
                <a:cubicBezTo>
                  <a:pt x="66" y="201"/>
                  <a:pt x="201" y="66"/>
                  <a:pt x="366" y="66"/>
                </a:cubicBezTo>
                <a:cubicBezTo>
                  <a:pt x="532" y="66"/>
                  <a:pt x="666" y="201"/>
                  <a:pt x="666" y="366"/>
                </a:cubicBezTo>
                <a:cubicBezTo>
                  <a:pt x="666" y="417"/>
                  <a:pt x="654" y="466"/>
                  <a:pt x="630" y="510"/>
                </a:cubicBezTo>
                <a:cubicBezTo>
                  <a:pt x="601" y="487"/>
                  <a:pt x="557" y="440"/>
                  <a:pt x="557" y="368"/>
                </a:cubicBezTo>
                <a:lnTo>
                  <a:pt x="557" y="221"/>
                </a:lnTo>
                <a:cubicBezTo>
                  <a:pt x="557" y="203"/>
                  <a:pt x="542" y="188"/>
                  <a:pt x="523" y="188"/>
                </a:cubicBezTo>
                <a:cubicBezTo>
                  <a:pt x="505" y="188"/>
                  <a:pt x="490" y="203"/>
                  <a:pt x="490" y="221"/>
                </a:cubicBezTo>
                <a:lnTo>
                  <a:pt x="490" y="223"/>
                </a:lnTo>
                <a:cubicBezTo>
                  <a:pt x="457" y="194"/>
                  <a:pt x="414" y="177"/>
                  <a:pt x="366" y="177"/>
                </a:cubicBezTo>
                <a:cubicBezTo>
                  <a:pt x="262" y="177"/>
                  <a:pt x="177" y="262"/>
                  <a:pt x="177" y="366"/>
                </a:cubicBezTo>
                <a:cubicBezTo>
                  <a:pt x="177" y="471"/>
                  <a:pt x="262" y="556"/>
                  <a:pt x="366" y="556"/>
                </a:cubicBezTo>
                <a:cubicBezTo>
                  <a:pt x="429" y="556"/>
                  <a:pt x="484" y="526"/>
                  <a:pt x="518" y="480"/>
                </a:cubicBezTo>
                <a:cubicBezTo>
                  <a:pt x="557" y="550"/>
                  <a:pt x="621" y="584"/>
                  <a:pt x="625" y="586"/>
                </a:cubicBezTo>
                <a:cubicBezTo>
                  <a:pt x="640" y="594"/>
                  <a:pt x="658" y="589"/>
                  <a:pt x="667" y="576"/>
                </a:cubicBezTo>
                <a:cubicBezTo>
                  <a:pt x="710" y="514"/>
                  <a:pt x="733" y="442"/>
                  <a:pt x="733" y="366"/>
                </a:cubicBezTo>
                <a:cubicBezTo>
                  <a:pt x="733" y="164"/>
                  <a:pt x="569" y="0"/>
                  <a:pt x="36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Řečová bublina: oválný bublinový popisek 14">
            <a:extLst>
              <a:ext uri="{FF2B5EF4-FFF2-40B4-BE49-F238E27FC236}">
                <a16:creationId xmlns:a16="http://schemas.microsoft.com/office/drawing/2014/main" id="{0639F62F-D5C7-4B64-968E-F9D7A5083DEB}"/>
              </a:ext>
            </a:extLst>
          </p:cNvPr>
          <p:cNvSpPr/>
          <p:nvPr/>
        </p:nvSpPr>
        <p:spPr>
          <a:xfrm>
            <a:off x="6173274" y="5421194"/>
            <a:ext cx="5275736" cy="843206"/>
          </a:xfrm>
          <a:prstGeom prst="wedgeEllipseCallout">
            <a:avLst>
              <a:gd name="adj1" fmla="val -60439"/>
              <a:gd name="adj2" fmla="val -64607"/>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100" dirty="0" err="1"/>
              <a:t>Supplier</a:t>
            </a:r>
            <a:r>
              <a:rPr lang="cs-CZ" sz="1100" dirty="0"/>
              <a:t> 6:</a:t>
            </a:r>
            <a:r>
              <a:rPr lang="en-GB" sz="1100" dirty="0">
                <a:effectLst/>
                <a:ea typeface="Times New Roman" panose="02020603050405020304" pitchFamily="18" charset="0"/>
                <a:cs typeface="Times New Roman" panose="02020603050405020304" pitchFamily="18" charset="0"/>
              </a:rPr>
              <a:t>immediate automated email response with summary of the query, reference number and useful contacts to follow up</a:t>
            </a:r>
            <a:r>
              <a:rPr lang="cs-CZ" sz="1100" dirty="0"/>
              <a:t> </a:t>
            </a:r>
            <a:endParaRPr lang="cs-CZ" sz="1100" i="1" dirty="0"/>
          </a:p>
        </p:txBody>
      </p:sp>
      <p:sp>
        <p:nvSpPr>
          <p:cNvPr id="16" name="Řečová bublina: oválný bublinový popisek 15">
            <a:extLst>
              <a:ext uri="{FF2B5EF4-FFF2-40B4-BE49-F238E27FC236}">
                <a16:creationId xmlns:a16="http://schemas.microsoft.com/office/drawing/2014/main" id="{745D6EFB-0A79-495F-86CD-77B3736613A3}"/>
              </a:ext>
            </a:extLst>
          </p:cNvPr>
          <p:cNvSpPr/>
          <p:nvPr/>
        </p:nvSpPr>
        <p:spPr>
          <a:xfrm>
            <a:off x="7900113" y="3470494"/>
            <a:ext cx="3544910" cy="843206"/>
          </a:xfrm>
          <a:prstGeom prst="wedgeEllipseCallout">
            <a:avLst>
              <a:gd name="adj1" fmla="val -71153"/>
              <a:gd name="adj2" fmla="val 30599"/>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100" dirty="0" err="1"/>
              <a:t>Supplier</a:t>
            </a:r>
            <a:r>
              <a:rPr lang="cs-CZ" sz="1100" dirty="0"/>
              <a:t> 1: </a:t>
            </a:r>
            <a:r>
              <a:rPr lang="cs-CZ" sz="1100" dirty="0" err="1"/>
              <a:t>immediate</a:t>
            </a:r>
            <a:r>
              <a:rPr lang="cs-CZ" sz="1100" dirty="0"/>
              <a:t> </a:t>
            </a:r>
            <a:r>
              <a:rPr lang="cs-CZ" sz="1100" b="1" dirty="0" err="1"/>
              <a:t>automatic</a:t>
            </a:r>
            <a:r>
              <a:rPr lang="cs-CZ" sz="1100" b="1" dirty="0"/>
              <a:t> email </a:t>
            </a:r>
            <a:r>
              <a:rPr lang="cs-CZ" sz="1100" dirty="0" err="1"/>
              <a:t>acknowledgement</a:t>
            </a:r>
            <a:r>
              <a:rPr lang="cs-CZ" sz="1100" dirty="0"/>
              <a:t> response</a:t>
            </a:r>
            <a:endParaRPr lang="cs-CZ" sz="1100" i="1" dirty="0"/>
          </a:p>
        </p:txBody>
      </p:sp>
      <p:sp>
        <p:nvSpPr>
          <p:cNvPr id="17" name="Řečová bublina: oválný bublinový popisek 16">
            <a:extLst>
              <a:ext uri="{FF2B5EF4-FFF2-40B4-BE49-F238E27FC236}">
                <a16:creationId xmlns:a16="http://schemas.microsoft.com/office/drawing/2014/main" id="{4275EA00-97FF-444F-8501-63D8B6C18298}"/>
              </a:ext>
            </a:extLst>
          </p:cNvPr>
          <p:cNvSpPr/>
          <p:nvPr/>
        </p:nvSpPr>
        <p:spPr>
          <a:xfrm>
            <a:off x="7340423" y="4447664"/>
            <a:ext cx="3130088" cy="843206"/>
          </a:xfrm>
          <a:prstGeom prst="wedgeEllipseCallout">
            <a:avLst>
              <a:gd name="adj1" fmla="val -63838"/>
              <a:gd name="adj2" fmla="val -26932"/>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100" dirty="0" err="1"/>
              <a:t>Supplier</a:t>
            </a:r>
            <a:r>
              <a:rPr lang="cs-CZ" sz="1100" dirty="0"/>
              <a:t> 2: </a:t>
            </a:r>
            <a:r>
              <a:rPr lang="cs-CZ" sz="1100" dirty="0" err="1"/>
              <a:t>immediate</a:t>
            </a:r>
            <a:r>
              <a:rPr lang="cs-CZ" sz="1100" dirty="0"/>
              <a:t> </a:t>
            </a:r>
            <a:r>
              <a:rPr lang="en-US" sz="1100" b="1" dirty="0"/>
              <a:t>personal</a:t>
            </a:r>
            <a:r>
              <a:rPr lang="en-US" sz="1100" dirty="0"/>
              <a:t> response asking on project specific numbers and questionnaire</a:t>
            </a:r>
            <a:r>
              <a:rPr lang="cs-CZ" sz="1100" dirty="0"/>
              <a:t> </a:t>
            </a:r>
            <a:r>
              <a:rPr lang="cs-CZ" sz="1100" dirty="0" err="1"/>
              <a:t>details</a:t>
            </a:r>
            <a:r>
              <a:rPr lang="en-US" sz="1100" dirty="0"/>
              <a:t> </a:t>
            </a:r>
            <a:endParaRPr lang="cs-CZ" sz="1100" i="1" dirty="0"/>
          </a:p>
        </p:txBody>
      </p:sp>
      <p:sp>
        <p:nvSpPr>
          <p:cNvPr id="6" name="TextovéPole 5">
            <a:extLst>
              <a:ext uri="{FF2B5EF4-FFF2-40B4-BE49-F238E27FC236}">
                <a16:creationId xmlns:a16="http://schemas.microsoft.com/office/drawing/2014/main" id="{4FBBC69F-90E2-49B6-AC1F-0BD301DAAA3F}"/>
              </a:ext>
            </a:extLst>
          </p:cNvPr>
          <p:cNvSpPr txBox="1"/>
          <p:nvPr/>
        </p:nvSpPr>
        <p:spPr>
          <a:xfrm>
            <a:off x="9384405" y="5208067"/>
            <a:ext cx="2643672" cy="253916"/>
          </a:xfrm>
          <a:prstGeom prst="rect">
            <a:avLst/>
          </a:prstGeom>
          <a:noFill/>
        </p:spPr>
        <p:txBody>
          <a:bodyPr wrap="none" rtlCol="0">
            <a:spAutoFit/>
          </a:bodyPr>
          <a:lstStyle/>
          <a:p>
            <a:r>
              <a:rPr lang="cs-CZ" sz="1050" dirty="0" err="1"/>
              <a:t>Suppliers</a:t>
            </a:r>
            <a:r>
              <a:rPr lang="cs-CZ" sz="1050" dirty="0"/>
              <a:t> 3,4,5 no </a:t>
            </a:r>
            <a:r>
              <a:rPr lang="cs-CZ" sz="1050" dirty="0" err="1"/>
              <a:t>immediate</a:t>
            </a:r>
            <a:r>
              <a:rPr lang="cs-CZ" sz="1050" dirty="0"/>
              <a:t> email feedback</a:t>
            </a:r>
          </a:p>
        </p:txBody>
      </p:sp>
      <p:sp>
        <p:nvSpPr>
          <p:cNvPr id="20" name="Zástupný symbol pro zápatí 2">
            <a:extLst>
              <a:ext uri="{FF2B5EF4-FFF2-40B4-BE49-F238E27FC236}">
                <a16:creationId xmlns:a16="http://schemas.microsoft.com/office/drawing/2014/main" id="{60C3905A-F35E-493C-B4A1-833F7EA85437}"/>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2" name="Zvuk 1">
            <a:hlinkClick r:id="" action="ppaction://media"/>
            <a:extLst>
              <a:ext uri="{FF2B5EF4-FFF2-40B4-BE49-F238E27FC236}">
                <a16:creationId xmlns:a16="http://schemas.microsoft.com/office/drawing/2014/main" id="{B7A5DBF4-3A7C-49A7-BEE3-AA4D55F7A9D9}"/>
              </a:ext>
            </a:extLst>
          </p:cNvPr>
          <p:cNvPicPr>
            <a:picLocks noChangeAspect="1"/>
          </p:cNvPicPr>
          <p:nvPr>
            <a:audioFile r:link="rId3"/>
            <p:extLst>
              <p:ext uri="{DAA4B4D4-6D71-4841-9C94-3DE7FCFB9230}">
                <p14:media xmlns:p14="http://schemas.microsoft.com/office/powerpoint/2010/main" r:embed="rId2"/>
              </p:ext>
            </p:extLst>
          </p:nvPr>
        </p:nvPicPr>
        <p:blipFill>
          <a:blip r:embed="rId5"/>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3677541406"/>
      </p:ext>
    </p:extLst>
  </p:cSld>
  <p:clrMapOvr>
    <a:masterClrMapping/>
  </p:clrMapOvr>
  <mc:AlternateContent xmlns:mc="http://schemas.openxmlformats.org/markup-compatibility/2006">
    <mc:Choice xmlns:p14="http://schemas.microsoft.com/office/powerpoint/2010/main" Requires="p14">
      <p:transition spd="slow" p14:dur="2000" advTm="40528"/>
    </mc:Choice>
    <mc:Fallback>
      <p:transition spd="slow" advTm="4052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E87DDF46-B07A-4183-A6C4-5CFC46E95960}"/>
              </a:ext>
            </a:extLst>
          </p:cNvPr>
          <p:cNvSpPr>
            <a:spLocks noGrp="1"/>
          </p:cNvSpPr>
          <p:nvPr>
            <p:ph type="sldNum" sz="quarter" idx="12"/>
          </p:nvPr>
        </p:nvSpPr>
        <p:spPr/>
        <p:txBody>
          <a:bodyPr/>
          <a:lstStyle/>
          <a:p>
            <a:fld id="{87170177-53BE-4EA4-8CC9-5D64EAB74717}" type="slidenum">
              <a:rPr lang="cs-CZ" sz="900" smtClean="0"/>
              <a:t>15</a:t>
            </a:fld>
            <a:endParaRPr lang="cs-CZ" sz="900" dirty="0"/>
          </a:p>
        </p:txBody>
      </p:sp>
      <p:sp>
        <p:nvSpPr>
          <p:cNvPr id="4" name="Rectangle 94">
            <a:extLst>
              <a:ext uri="{FF2B5EF4-FFF2-40B4-BE49-F238E27FC236}">
                <a16:creationId xmlns:a16="http://schemas.microsoft.com/office/drawing/2014/main" id="{32C0964D-8390-4CE7-85AE-760E74072C20}"/>
              </a:ext>
            </a:extLst>
          </p:cNvPr>
          <p:cNvSpPr/>
          <p:nvPr/>
        </p:nvSpPr>
        <p:spPr>
          <a:xfrm>
            <a:off x="0" y="-17702"/>
            <a:ext cx="12192001" cy="10800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82">
            <a:extLst>
              <a:ext uri="{FF2B5EF4-FFF2-40B4-BE49-F238E27FC236}">
                <a16:creationId xmlns:a16="http://schemas.microsoft.com/office/drawing/2014/main" id="{D0E75087-D62C-461B-B63C-582B2042EDFC}"/>
              </a:ext>
            </a:extLst>
          </p:cNvPr>
          <p:cNvSpPr txBox="1"/>
          <p:nvPr/>
        </p:nvSpPr>
        <p:spPr>
          <a:xfrm>
            <a:off x="304263" y="200887"/>
            <a:ext cx="11583472" cy="584775"/>
          </a:xfrm>
          <a:prstGeom prst="rect">
            <a:avLst/>
          </a:prstGeom>
          <a:noFill/>
        </p:spPr>
        <p:txBody>
          <a:bodyPr wrap="square" rtlCol="0">
            <a:spAutoFit/>
          </a:bodyPr>
          <a:lstStyle/>
          <a:p>
            <a:r>
              <a:rPr lang="cs-CZ" sz="3200" b="1" dirty="0" err="1">
                <a:solidFill>
                  <a:schemeClr val="bg2"/>
                </a:solidFill>
                <a:latin typeface="+mj-lt"/>
              </a:rPr>
              <a:t>Procurement</a:t>
            </a:r>
            <a:r>
              <a:rPr lang="cs-CZ" sz="3200" b="1" dirty="0">
                <a:solidFill>
                  <a:schemeClr val="bg2"/>
                </a:solidFill>
                <a:latin typeface="+mj-lt"/>
              </a:rPr>
              <a:t> </a:t>
            </a:r>
            <a:r>
              <a:rPr lang="en-GB" sz="3200" b="1" dirty="0">
                <a:solidFill>
                  <a:schemeClr val="bg2"/>
                </a:solidFill>
                <a:latin typeface="+mj-lt"/>
              </a:rPr>
              <a:t>&amp; Purchasing</a:t>
            </a:r>
            <a:endParaRPr lang="en-US" sz="3200" dirty="0">
              <a:solidFill>
                <a:schemeClr val="tx2"/>
              </a:solidFill>
            </a:endParaRPr>
          </a:p>
        </p:txBody>
      </p:sp>
      <p:sp>
        <p:nvSpPr>
          <p:cNvPr id="12" name="TextovéPole 11">
            <a:extLst>
              <a:ext uri="{FF2B5EF4-FFF2-40B4-BE49-F238E27FC236}">
                <a16:creationId xmlns:a16="http://schemas.microsoft.com/office/drawing/2014/main" id="{0E9820E6-122D-4962-9B46-910B379B8DB7}"/>
              </a:ext>
            </a:extLst>
          </p:cNvPr>
          <p:cNvSpPr txBox="1"/>
          <p:nvPr/>
        </p:nvSpPr>
        <p:spPr>
          <a:xfrm>
            <a:off x="741832" y="4718089"/>
            <a:ext cx="7497131" cy="369332"/>
          </a:xfrm>
          <a:prstGeom prst="rect">
            <a:avLst/>
          </a:prstGeom>
          <a:noFill/>
        </p:spPr>
        <p:txBody>
          <a:bodyPr wrap="square">
            <a:spAutoFit/>
          </a:bodyPr>
          <a:lstStyle/>
          <a:p>
            <a:pPr algn="ctr"/>
            <a:r>
              <a:rPr lang="en-US" b="1" dirty="0"/>
              <a:t>AEC-Q200 DATAPACK DELIVERY SUMMARY TABLE</a:t>
            </a:r>
            <a:endParaRPr lang="en-US" dirty="0"/>
          </a:p>
        </p:txBody>
      </p:sp>
      <p:grpSp>
        <p:nvGrpSpPr>
          <p:cNvPr id="25" name="Email_marketing2" descr="{&quot;Key&quot;:&quot;POWER_USER_SHAPE_ICON&quot;,&quot;Value&quot;:&quot;POWER_USER_SHAPE_ICON_STYLE_1&quot;}">
            <a:extLst>
              <a:ext uri="{FF2B5EF4-FFF2-40B4-BE49-F238E27FC236}">
                <a16:creationId xmlns:a16="http://schemas.microsoft.com/office/drawing/2014/main" id="{C618F968-1314-449C-9DDB-2BA4859457D8}"/>
              </a:ext>
            </a:extLst>
          </p:cNvPr>
          <p:cNvGrpSpPr>
            <a:grpSpLocks noChangeAspect="1"/>
          </p:cNvGrpSpPr>
          <p:nvPr>
            <p:custDataLst>
              <p:tags r:id="rId1"/>
            </p:custDataLst>
          </p:nvPr>
        </p:nvGrpSpPr>
        <p:grpSpPr>
          <a:xfrm>
            <a:off x="1173885" y="2635209"/>
            <a:ext cx="748722" cy="542925"/>
            <a:chOff x="3948113" y="2471738"/>
            <a:chExt cx="877888" cy="636588"/>
          </a:xfrm>
          <a:solidFill>
            <a:srgbClr val="0070C0"/>
          </a:solidFill>
        </p:grpSpPr>
        <p:sp>
          <p:nvSpPr>
            <p:cNvPr id="26" name="Freeform 329">
              <a:extLst>
                <a:ext uri="{FF2B5EF4-FFF2-40B4-BE49-F238E27FC236}">
                  <a16:creationId xmlns:a16="http://schemas.microsoft.com/office/drawing/2014/main" id="{392CC04A-9FD3-452A-A03B-086C7ADAC495}"/>
                </a:ext>
              </a:extLst>
            </p:cNvPr>
            <p:cNvSpPr>
              <a:spLocks/>
            </p:cNvSpPr>
            <p:nvPr/>
          </p:nvSpPr>
          <p:spPr bwMode="auto">
            <a:xfrm>
              <a:off x="4010026" y="2827338"/>
              <a:ext cx="50800" cy="69850"/>
            </a:xfrm>
            <a:custGeom>
              <a:avLst/>
              <a:gdLst>
                <a:gd name="T0" fmla="*/ 41 w 67"/>
                <a:gd name="T1" fmla="*/ 1 h 91"/>
                <a:gd name="T2" fmla="*/ 4 w 67"/>
                <a:gd name="T3" fmla="*/ 22 h 91"/>
                <a:gd name="T4" fmla="*/ 2 w 67"/>
                <a:gd name="T5" fmla="*/ 24 h 91"/>
                <a:gd name="T6" fmla="*/ 0 w 67"/>
                <a:gd name="T7" fmla="*/ 28 h 91"/>
                <a:gd name="T8" fmla="*/ 0 w 67"/>
                <a:gd name="T9" fmla="*/ 31 h 91"/>
                <a:gd name="T10" fmla="*/ 0 w 67"/>
                <a:gd name="T11" fmla="*/ 35 h 91"/>
                <a:gd name="T12" fmla="*/ 16 w 67"/>
                <a:gd name="T13" fmla="*/ 85 h 91"/>
                <a:gd name="T14" fmla="*/ 18 w 67"/>
                <a:gd name="T15" fmla="*/ 89 h 91"/>
                <a:gd name="T16" fmla="*/ 20 w 67"/>
                <a:gd name="T17" fmla="*/ 91 h 91"/>
                <a:gd name="T18" fmla="*/ 22 w 67"/>
                <a:gd name="T19" fmla="*/ 91 h 91"/>
                <a:gd name="T20" fmla="*/ 25 w 67"/>
                <a:gd name="T21" fmla="*/ 91 h 91"/>
                <a:gd name="T22" fmla="*/ 63 w 67"/>
                <a:gd name="T23" fmla="*/ 70 h 91"/>
                <a:gd name="T24" fmla="*/ 65 w 67"/>
                <a:gd name="T25" fmla="*/ 68 h 91"/>
                <a:gd name="T26" fmla="*/ 67 w 67"/>
                <a:gd name="T27" fmla="*/ 65 h 91"/>
                <a:gd name="T28" fmla="*/ 67 w 67"/>
                <a:gd name="T29" fmla="*/ 61 h 91"/>
                <a:gd name="T30" fmla="*/ 67 w 67"/>
                <a:gd name="T31" fmla="*/ 57 h 91"/>
                <a:gd name="T32" fmla="*/ 50 w 67"/>
                <a:gd name="T33" fmla="*/ 6 h 91"/>
                <a:gd name="T34" fmla="*/ 49 w 67"/>
                <a:gd name="T35" fmla="*/ 3 h 91"/>
                <a:gd name="T36" fmla="*/ 46 w 67"/>
                <a:gd name="T37" fmla="*/ 1 h 91"/>
                <a:gd name="T38" fmla="*/ 44 w 67"/>
                <a:gd name="T39" fmla="*/ 0 h 91"/>
                <a:gd name="T40" fmla="*/ 41 w 67"/>
                <a:gd name="T41" fmla="*/ 1 h 91"/>
                <a:gd name="T42" fmla="*/ 41 w 67"/>
                <a:gd name="T43"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91">
                  <a:moveTo>
                    <a:pt x="41" y="1"/>
                  </a:moveTo>
                  <a:lnTo>
                    <a:pt x="4" y="22"/>
                  </a:lnTo>
                  <a:cubicBezTo>
                    <a:pt x="3" y="23"/>
                    <a:pt x="2" y="24"/>
                    <a:pt x="2" y="24"/>
                  </a:cubicBezTo>
                  <a:cubicBezTo>
                    <a:pt x="1" y="25"/>
                    <a:pt x="1" y="26"/>
                    <a:pt x="0" y="28"/>
                  </a:cubicBezTo>
                  <a:cubicBezTo>
                    <a:pt x="0" y="29"/>
                    <a:pt x="0" y="30"/>
                    <a:pt x="0" y="31"/>
                  </a:cubicBezTo>
                  <a:cubicBezTo>
                    <a:pt x="0" y="32"/>
                    <a:pt x="0" y="34"/>
                    <a:pt x="0" y="35"/>
                  </a:cubicBezTo>
                  <a:lnTo>
                    <a:pt x="16" y="85"/>
                  </a:lnTo>
                  <a:cubicBezTo>
                    <a:pt x="16" y="87"/>
                    <a:pt x="17" y="88"/>
                    <a:pt x="18" y="89"/>
                  </a:cubicBezTo>
                  <a:cubicBezTo>
                    <a:pt x="18" y="89"/>
                    <a:pt x="19" y="90"/>
                    <a:pt x="20" y="91"/>
                  </a:cubicBezTo>
                  <a:cubicBezTo>
                    <a:pt x="21" y="91"/>
                    <a:pt x="22" y="91"/>
                    <a:pt x="22" y="91"/>
                  </a:cubicBezTo>
                  <a:cubicBezTo>
                    <a:pt x="23" y="91"/>
                    <a:pt x="24" y="91"/>
                    <a:pt x="25" y="91"/>
                  </a:cubicBezTo>
                  <a:lnTo>
                    <a:pt x="63" y="70"/>
                  </a:lnTo>
                  <a:cubicBezTo>
                    <a:pt x="64" y="70"/>
                    <a:pt x="65" y="69"/>
                    <a:pt x="65" y="68"/>
                  </a:cubicBezTo>
                  <a:cubicBezTo>
                    <a:pt x="66" y="67"/>
                    <a:pt x="66" y="66"/>
                    <a:pt x="67" y="65"/>
                  </a:cubicBezTo>
                  <a:cubicBezTo>
                    <a:pt x="67" y="64"/>
                    <a:pt x="67" y="62"/>
                    <a:pt x="67" y="61"/>
                  </a:cubicBezTo>
                  <a:cubicBezTo>
                    <a:pt x="67" y="60"/>
                    <a:pt x="67" y="59"/>
                    <a:pt x="67" y="57"/>
                  </a:cubicBezTo>
                  <a:lnTo>
                    <a:pt x="50" y="6"/>
                  </a:lnTo>
                  <a:cubicBezTo>
                    <a:pt x="50" y="4"/>
                    <a:pt x="49" y="3"/>
                    <a:pt x="49" y="3"/>
                  </a:cubicBezTo>
                  <a:cubicBezTo>
                    <a:pt x="48" y="2"/>
                    <a:pt x="47" y="1"/>
                    <a:pt x="46" y="1"/>
                  </a:cubicBezTo>
                  <a:cubicBezTo>
                    <a:pt x="46" y="0"/>
                    <a:pt x="45" y="0"/>
                    <a:pt x="44" y="0"/>
                  </a:cubicBezTo>
                  <a:cubicBezTo>
                    <a:pt x="43" y="0"/>
                    <a:pt x="42" y="0"/>
                    <a:pt x="41" y="1"/>
                  </a:cubicBezTo>
                  <a:lnTo>
                    <a:pt x="41" y="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330">
              <a:extLst>
                <a:ext uri="{FF2B5EF4-FFF2-40B4-BE49-F238E27FC236}">
                  <a16:creationId xmlns:a16="http://schemas.microsoft.com/office/drawing/2014/main" id="{5FC86683-BB68-41EB-8600-882478BE6CC0}"/>
                </a:ext>
              </a:extLst>
            </p:cNvPr>
            <p:cNvSpPr>
              <a:spLocks/>
            </p:cNvSpPr>
            <p:nvPr/>
          </p:nvSpPr>
          <p:spPr bwMode="auto">
            <a:xfrm>
              <a:off x="3987801" y="2901951"/>
              <a:ext cx="50800" cy="66675"/>
            </a:xfrm>
            <a:custGeom>
              <a:avLst/>
              <a:gdLst>
                <a:gd name="T0" fmla="*/ 40 w 66"/>
                <a:gd name="T1" fmla="*/ 1 h 89"/>
                <a:gd name="T2" fmla="*/ 5 w 66"/>
                <a:gd name="T3" fmla="*/ 20 h 89"/>
                <a:gd name="T4" fmla="*/ 2 w 66"/>
                <a:gd name="T5" fmla="*/ 22 h 89"/>
                <a:gd name="T6" fmla="*/ 1 w 66"/>
                <a:gd name="T7" fmla="*/ 25 h 89"/>
                <a:gd name="T8" fmla="*/ 0 w 66"/>
                <a:gd name="T9" fmla="*/ 29 h 89"/>
                <a:gd name="T10" fmla="*/ 1 w 66"/>
                <a:gd name="T11" fmla="*/ 32 h 89"/>
                <a:gd name="T12" fmla="*/ 16 w 66"/>
                <a:gd name="T13" fmla="*/ 83 h 89"/>
                <a:gd name="T14" fmla="*/ 18 w 66"/>
                <a:gd name="T15" fmla="*/ 86 h 89"/>
                <a:gd name="T16" fmla="*/ 20 w 66"/>
                <a:gd name="T17" fmla="*/ 88 h 89"/>
                <a:gd name="T18" fmla="*/ 22 w 66"/>
                <a:gd name="T19" fmla="*/ 89 h 89"/>
                <a:gd name="T20" fmla="*/ 25 w 66"/>
                <a:gd name="T21" fmla="*/ 89 h 89"/>
                <a:gd name="T22" fmla="*/ 62 w 66"/>
                <a:gd name="T23" fmla="*/ 70 h 89"/>
                <a:gd name="T24" fmla="*/ 64 w 66"/>
                <a:gd name="T25" fmla="*/ 68 h 89"/>
                <a:gd name="T26" fmla="*/ 66 w 66"/>
                <a:gd name="T27" fmla="*/ 65 h 89"/>
                <a:gd name="T28" fmla="*/ 66 w 66"/>
                <a:gd name="T29" fmla="*/ 62 h 89"/>
                <a:gd name="T30" fmla="*/ 65 w 66"/>
                <a:gd name="T31" fmla="*/ 58 h 89"/>
                <a:gd name="T32" fmla="*/ 50 w 66"/>
                <a:gd name="T33" fmla="*/ 6 h 89"/>
                <a:gd name="T34" fmla="*/ 48 w 66"/>
                <a:gd name="T35" fmla="*/ 3 h 89"/>
                <a:gd name="T36" fmla="*/ 46 w 66"/>
                <a:gd name="T37" fmla="*/ 1 h 89"/>
                <a:gd name="T38" fmla="*/ 43 w 66"/>
                <a:gd name="T39" fmla="*/ 0 h 89"/>
                <a:gd name="T40" fmla="*/ 40 w 66"/>
                <a:gd name="T41" fmla="*/ 1 h 89"/>
                <a:gd name="T42" fmla="*/ 40 w 66"/>
                <a:gd name="T43" fmla="*/ 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 h="89">
                  <a:moveTo>
                    <a:pt x="40" y="1"/>
                  </a:moveTo>
                  <a:lnTo>
                    <a:pt x="5" y="20"/>
                  </a:lnTo>
                  <a:cubicBezTo>
                    <a:pt x="4" y="21"/>
                    <a:pt x="3" y="22"/>
                    <a:pt x="2" y="22"/>
                  </a:cubicBezTo>
                  <a:cubicBezTo>
                    <a:pt x="2" y="23"/>
                    <a:pt x="1" y="24"/>
                    <a:pt x="1" y="25"/>
                  </a:cubicBezTo>
                  <a:cubicBezTo>
                    <a:pt x="1" y="26"/>
                    <a:pt x="0" y="28"/>
                    <a:pt x="0" y="29"/>
                  </a:cubicBezTo>
                  <a:cubicBezTo>
                    <a:pt x="0" y="30"/>
                    <a:pt x="1" y="31"/>
                    <a:pt x="1" y="32"/>
                  </a:cubicBezTo>
                  <a:lnTo>
                    <a:pt x="16" y="83"/>
                  </a:lnTo>
                  <a:cubicBezTo>
                    <a:pt x="17" y="84"/>
                    <a:pt x="17" y="85"/>
                    <a:pt x="18" y="86"/>
                  </a:cubicBezTo>
                  <a:cubicBezTo>
                    <a:pt x="18" y="87"/>
                    <a:pt x="19" y="88"/>
                    <a:pt x="20" y="88"/>
                  </a:cubicBezTo>
                  <a:cubicBezTo>
                    <a:pt x="21" y="89"/>
                    <a:pt x="22" y="89"/>
                    <a:pt x="22" y="89"/>
                  </a:cubicBezTo>
                  <a:cubicBezTo>
                    <a:pt x="23" y="89"/>
                    <a:pt x="24" y="89"/>
                    <a:pt x="25" y="89"/>
                  </a:cubicBezTo>
                  <a:lnTo>
                    <a:pt x="62" y="70"/>
                  </a:lnTo>
                  <a:cubicBezTo>
                    <a:pt x="63" y="70"/>
                    <a:pt x="63" y="69"/>
                    <a:pt x="64" y="68"/>
                  </a:cubicBezTo>
                  <a:cubicBezTo>
                    <a:pt x="65" y="67"/>
                    <a:pt x="65" y="66"/>
                    <a:pt x="66" y="65"/>
                  </a:cubicBezTo>
                  <a:cubicBezTo>
                    <a:pt x="66" y="64"/>
                    <a:pt x="66" y="63"/>
                    <a:pt x="66" y="62"/>
                  </a:cubicBezTo>
                  <a:cubicBezTo>
                    <a:pt x="66" y="60"/>
                    <a:pt x="66" y="59"/>
                    <a:pt x="65" y="58"/>
                  </a:cubicBezTo>
                  <a:lnTo>
                    <a:pt x="50" y="6"/>
                  </a:lnTo>
                  <a:cubicBezTo>
                    <a:pt x="49" y="5"/>
                    <a:pt x="49" y="4"/>
                    <a:pt x="48" y="3"/>
                  </a:cubicBezTo>
                  <a:cubicBezTo>
                    <a:pt x="47" y="2"/>
                    <a:pt x="47" y="1"/>
                    <a:pt x="46" y="1"/>
                  </a:cubicBezTo>
                  <a:cubicBezTo>
                    <a:pt x="45" y="0"/>
                    <a:pt x="44" y="0"/>
                    <a:pt x="43" y="0"/>
                  </a:cubicBezTo>
                  <a:cubicBezTo>
                    <a:pt x="42" y="0"/>
                    <a:pt x="41" y="0"/>
                    <a:pt x="40" y="1"/>
                  </a:cubicBezTo>
                  <a:lnTo>
                    <a:pt x="40" y="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331">
              <a:extLst>
                <a:ext uri="{FF2B5EF4-FFF2-40B4-BE49-F238E27FC236}">
                  <a16:creationId xmlns:a16="http://schemas.microsoft.com/office/drawing/2014/main" id="{C4D7523A-03CB-477A-A359-B7190614059E}"/>
                </a:ext>
              </a:extLst>
            </p:cNvPr>
            <p:cNvSpPr>
              <a:spLocks/>
            </p:cNvSpPr>
            <p:nvPr/>
          </p:nvSpPr>
          <p:spPr bwMode="auto">
            <a:xfrm>
              <a:off x="3948113" y="3043238"/>
              <a:ext cx="47625" cy="65088"/>
            </a:xfrm>
            <a:custGeom>
              <a:avLst/>
              <a:gdLst>
                <a:gd name="T0" fmla="*/ 38 w 62"/>
                <a:gd name="T1" fmla="*/ 0 h 85"/>
                <a:gd name="T2" fmla="*/ 4 w 62"/>
                <a:gd name="T3" fmla="*/ 16 h 85"/>
                <a:gd name="T4" fmla="*/ 2 w 62"/>
                <a:gd name="T5" fmla="*/ 18 h 85"/>
                <a:gd name="T6" fmla="*/ 0 w 62"/>
                <a:gd name="T7" fmla="*/ 20 h 85"/>
                <a:gd name="T8" fmla="*/ 0 w 62"/>
                <a:gd name="T9" fmla="*/ 24 h 85"/>
                <a:gd name="T10" fmla="*/ 0 w 62"/>
                <a:gd name="T11" fmla="*/ 27 h 85"/>
                <a:gd name="T12" fmla="*/ 15 w 62"/>
                <a:gd name="T13" fmla="*/ 78 h 85"/>
                <a:gd name="T14" fmla="*/ 16 w 62"/>
                <a:gd name="T15" fmla="*/ 81 h 85"/>
                <a:gd name="T16" fmla="*/ 18 w 62"/>
                <a:gd name="T17" fmla="*/ 84 h 85"/>
                <a:gd name="T18" fmla="*/ 20 w 62"/>
                <a:gd name="T19" fmla="*/ 85 h 85"/>
                <a:gd name="T20" fmla="*/ 23 w 62"/>
                <a:gd name="T21" fmla="*/ 85 h 85"/>
                <a:gd name="T22" fmla="*/ 58 w 62"/>
                <a:gd name="T23" fmla="*/ 70 h 85"/>
                <a:gd name="T24" fmla="*/ 60 w 62"/>
                <a:gd name="T25" fmla="*/ 68 h 85"/>
                <a:gd name="T26" fmla="*/ 61 w 62"/>
                <a:gd name="T27" fmla="*/ 65 h 85"/>
                <a:gd name="T28" fmla="*/ 62 w 62"/>
                <a:gd name="T29" fmla="*/ 62 h 85"/>
                <a:gd name="T30" fmla="*/ 61 w 62"/>
                <a:gd name="T31" fmla="*/ 58 h 85"/>
                <a:gd name="T32" fmla="*/ 46 w 62"/>
                <a:gd name="T33" fmla="*/ 6 h 85"/>
                <a:gd name="T34" fmla="*/ 45 w 62"/>
                <a:gd name="T35" fmla="*/ 3 h 85"/>
                <a:gd name="T36" fmla="*/ 43 w 62"/>
                <a:gd name="T37" fmla="*/ 1 h 85"/>
                <a:gd name="T38" fmla="*/ 40 w 62"/>
                <a:gd name="T39" fmla="*/ 0 h 85"/>
                <a:gd name="T40" fmla="*/ 38 w 62"/>
                <a:gd name="T41" fmla="*/ 0 h 85"/>
                <a:gd name="T42" fmla="*/ 38 w 62"/>
                <a:gd name="T4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 h="85">
                  <a:moveTo>
                    <a:pt x="38" y="0"/>
                  </a:moveTo>
                  <a:lnTo>
                    <a:pt x="4" y="16"/>
                  </a:lnTo>
                  <a:cubicBezTo>
                    <a:pt x="3" y="16"/>
                    <a:pt x="2" y="17"/>
                    <a:pt x="2" y="18"/>
                  </a:cubicBezTo>
                  <a:cubicBezTo>
                    <a:pt x="1" y="18"/>
                    <a:pt x="0" y="19"/>
                    <a:pt x="0" y="20"/>
                  </a:cubicBezTo>
                  <a:cubicBezTo>
                    <a:pt x="0" y="21"/>
                    <a:pt x="0" y="23"/>
                    <a:pt x="0" y="24"/>
                  </a:cubicBezTo>
                  <a:cubicBezTo>
                    <a:pt x="0" y="25"/>
                    <a:pt x="0" y="26"/>
                    <a:pt x="0" y="27"/>
                  </a:cubicBezTo>
                  <a:lnTo>
                    <a:pt x="15" y="78"/>
                  </a:lnTo>
                  <a:cubicBezTo>
                    <a:pt x="15" y="79"/>
                    <a:pt x="15" y="81"/>
                    <a:pt x="16" y="81"/>
                  </a:cubicBezTo>
                  <a:cubicBezTo>
                    <a:pt x="17" y="82"/>
                    <a:pt x="17" y="83"/>
                    <a:pt x="18" y="84"/>
                  </a:cubicBezTo>
                  <a:cubicBezTo>
                    <a:pt x="19" y="84"/>
                    <a:pt x="20" y="85"/>
                    <a:pt x="20" y="85"/>
                  </a:cubicBezTo>
                  <a:cubicBezTo>
                    <a:pt x="21" y="85"/>
                    <a:pt x="22" y="85"/>
                    <a:pt x="23" y="85"/>
                  </a:cubicBezTo>
                  <a:lnTo>
                    <a:pt x="58" y="70"/>
                  </a:lnTo>
                  <a:cubicBezTo>
                    <a:pt x="59" y="69"/>
                    <a:pt x="59" y="69"/>
                    <a:pt x="60" y="68"/>
                  </a:cubicBezTo>
                  <a:cubicBezTo>
                    <a:pt x="61" y="67"/>
                    <a:pt x="61" y="66"/>
                    <a:pt x="61" y="65"/>
                  </a:cubicBezTo>
                  <a:cubicBezTo>
                    <a:pt x="62" y="64"/>
                    <a:pt x="62" y="63"/>
                    <a:pt x="62" y="62"/>
                  </a:cubicBezTo>
                  <a:cubicBezTo>
                    <a:pt x="62" y="61"/>
                    <a:pt x="62" y="59"/>
                    <a:pt x="61" y="58"/>
                  </a:cubicBezTo>
                  <a:lnTo>
                    <a:pt x="46" y="6"/>
                  </a:lnTo>
                  <a:cubicBezTo>
                    <a:pt x="46" y="5"/>
                    <a:pt x="45" y="4"/>
                    <a:pt x="45" y="3"/>
                  </a:cubicBezTo>
                  <a:cubicBezTo>
                    <a:pt x="44" y="2"/>
                    <a:pt x="43" y="1"/>
                    <a:pt x="43" y="1"/>
                  </a:cubicBezTo>
                  <a:cubicBezTo>
                    <a:pt x="42" y="0"/>
                    <a:pt x="41" y="0"/>
                    <a:pt x="40" y="0"/>
                  </a:cubicBezTo>
                  <a:cubicBezTo>
                    <a:pt x="39" y="0"/>
                    <a:pt x="38" y="0"/>
                    <a:pt x="38" y="0"/>
                  </a:cubicBezTo>
                  <a:lnTo>
                    <a:pt x="38"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332">
              <a:extLst>
                <a:ext uri="{FF2B5EF4-FFF2-40B4-BE49-F238E27FC236}">
                  <a16:creationId xmlns:a16="http://schemas.microsoft.com/office/drawing/2014/main" id="{25B7622F-25D1-4672-8CAB-98FB45E0B5E3}"/>
                </a:ext>
              </a:extLst>
            </p:cNvPr>
            <p:cNvSpPr>
              <a:spLocks/>
            </p:cNvSpPr>
            <p:nvPr/>
          </p:nvSpPr>
          <p:spPr bwMode="auto">
            <a:xfrm>
              <a:off x="4019551" y="3008313"/>
              <a:ext cx="52388" cy="69850"/>
            </a:xfrm>
            <a:custGeom>
              <a:avLst/>
              <a:gdLst>
                <a:gd name="T0" fmla="*/ 42 w 68"/>
                <a:gd name="T1" fmla="*/ 0 h 90"/>
                <a:gd name="T2" fmla="*/ 4 w 68"/>
                <a:gd name="T3" fmla="*/ 18 h 90"/>
                <a:gd name="T4" fmla="*/ 2 w 68"/>
                <a:gd name="T5" fmla="*/ 20 h 90"/>
                <a:gd name="T6" fmla="*/ 0 w 68"/>
                <a:gd name="T7" fmla="*/ 23 h 90"/>
                <a:gd name="T8" fmla="*/ 0 w 68"/>
                <a:gd name="T9" fmla="*/ 26 h 90"/>
                <a:gd name="T10" fmla="*/ 0 w 68"/>
                <a:gd name="T11" fmla="*/ 30 h 90"/>
                <a:gd name="T12" fmla="*/ 16 w 68"/>
                <a:gd name="T13" fmla="*/ 83 h 90"/>
                <a:gd name="T14" fmla="*/ 18 w 68"/>
                <a:gd name="T15" fmla="*/ 86 h 90"/>
                <a:gd name="T16" fmla="*/ 20 w 68"/>
                <a:gd name="T17" fmla="*/ 89 h 90"/>
                <a:gd name="T18" fmla="*/ 23 w 68"/>
                <a:gd name="T19" fmla="*/ 90 h 90"/>
                <a:gd name="T20" fmla="*/ 25 w 68"/>
                <a:gd name="T21" fmla="*/ 89 h 90"/>
                <a:gd name="T22" fmla="*/ 64 w 68"/>
                <a:gd name="T23" fmla="*/ 73 h 90"/>
                <a:gd name="T24" fmla="*/ 66 w 68"/>
                <a:gd name="T25" fmla="*/ 71 h 90"/>
                <a:gd name="T26" fmla="*/ 68 w 68"/>
                <a:gd name="T27" fmla="*/ 68 h 90"/>
                <a:gd name="T28" fmla="*/ 68 w 68"/>
                <a:gd name="T29" fmla="*/ 65 h 90"/>
                <a:gd name="T30" fmla="*/ 68 w 68"/>
                <a:gd name="T31" fmla="*/ 61 h 90"/>
                <a:gd name="T32" fmla="*/ 51 w 68"/>
                <a:gd name="T33" fmla="*/ 7 h 90"/>
                <a:gd name="T34" fmla="*/ 49 w 68"/>
                <a:gd name="T35" fmla="*/ 3 h 90"/>
                <a:gd name="T36" fmla="*/ 47 w 68"/>
                <a:gd name="T37" fmla="*/ 1 h 90"/>
                <a:gd name="T38" fmla="*/ 44 w 68"/>
                <a:gd name="T39" fmla="*/ 0 h 90"/>
                <a:gd name="T40" fmla="*/ 42 w 68"/>
                <a:gd name="T41" fmla="*/ 0 h 90"/>
                <a:gd name="T42" fmla="*/ 42 w 68"/>
                <a:gd name="T4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90">
                  <a:moveTo>
                    <a:pt x="42" y="0"/>
                  </a:moveTo>
                  <a:lnTo>
                    <a:pt x="4" y="18"/>
                  </a:lnTo>
                  <a:cubicBezTo>
                    <a:pt x="3" y="18"/>
                    <a:pt x="2" y="19"/>
                    <a:pt x="2" y="20"/>
                  </a:cubicBezTo>
                  <a:cubicBezTo>
                    <a:pt x="1" y="21"/>
                    <a:pt x="1" y="22"/>
                    <a:pt x="0" y="23"/>
                  </a:cubicBezTo>
                  <a:cubicBezTo>
                    <a:pt x="0" y="24"/>
                    <a:pt x="0" y="25"/>
                    <a:pt x="0" y="26"/>
                  </a:cubicBezTo>
                  <a:cubicBezTo>
                    <a:pt x="0" y="27"/>
                    <a:pt x="0" y="29"/>
                    <a:pt x="0" y="30"/>
                  </a:cubicBezTo>
                  <a:lnTo>
                    <a:pt x="16" y="83"/>
                  </a:lnTo>
                  <a:cubicBezTo>
                    <a:pt x="17" y="84"/>
                    <a:pt x="17" y="85"/>
                    <a:pt x="18" y="86"/>
                  </a:cubicBezTo>
                  <a:cubicBezTo>
                    <a:pt x="18" y="87"/>
                    <a:pt x="19" y="88"/>
                    <a:pt x="20" y="89"/>
                  </a:cubicBezTo>
                  <a:cubicBezTo>
                    <a:pt x="21" y="89"/>
                    <a:pt x="22" y="90"/>
                    <a:pt x="23" y="90"/>
                  </a:cubicBezTo>
                  <a:cubicBezTo>
                    <a:pt x="24" y="90"/>
                    <a:pt x="25" y="90"/>
                    <a:pt x="25" y="89"/>
                  </a:cubicBezTo>
                  <a:lnTo>
                    <a:pt x="64" y="73"/>
                  </a:lnTo>
                  <a:cubicBezTo>
                    <a:pt x="65" y="73"/>
                    <a:pt x="66" y="72"/>
                    <a:pt x="66" y="71"/>
                  </a:cubicBezTo>
                  <a:cubicBezTo>
                    <a:pt x="67" y="70"/>
                    <a:pt x="67" y="69"/>
                    <a:pt x="68" y="68"/>
                  </a:cubicBezTo>
                  <a:cubicBezTo>
                    <a:pt x="68" y="67"/>
                    <a:pt x="68" y="66"/>
                    <a:pt x="68" y="65"/>
                  </a:cubicBezTo>
                  <a:cubicBezTo>
                    <a:pt x="68" y="63"/>
                    <a:pt x="68" y="62"/>
                    <a:pt x="68" y="61"/>
                  </a:cubicBezTo>
                  <a:lnTo>
                    <a:pt x="51" y="7"/>
                  </a:lnTo>
                  <a:cubicBezTo>
                    <a:pt x="51" y="5"/>
                    <a:pt x="50" y="4"/>
                    <a:pt x="49" y="3"/>
                  </a:cubicBezTo>
                  <a:cubicBezTo>
                    <a:pt x="49" y="2"/>
                    <a:pt x="48" y="1"/>
                    <a:pt x="47" y="1"/>
                  </a:cubicBezTo>
                  <a:cubicBezTo>
                    <a:pt x="46" y="0"/>
                    <a:pt x="45" y="0"/>
                    <a:pt x="44" y="0"/>
                  </a:cubicBezTo>
                  <a:cubicBezTo>
                    <a:pt x="43" y="0"/>
                    <a:pt x="42" y="0"/>
                    <a:pt x="42" y="0"/>
                  </a:cubicBezTo>
                  <a:lnTo>
                    <a:pt x="42"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333">
              <a:extLst>
                <a:ext uri="{FF2B5EF4-FFF2-40B4-BE49-F238E27FC236}">
                  <a16:creationId xmlns:a16="http://schemas.microsoft.com/office/drawing/2014/main" id="{C91316E4-4E3F-4000-A69F-E18E55B2BFA8}"/>
                </a:ext>
              </a:extLst>
            </p:cNvPr>
            <p:cNvSpPr>
              <a:spLocks/>
            </p:cNvSpPr>
            <p:nvPr/>
          </p:nvSpPr>
          <p:spPr bwMode="auto">
            <a:xfrm>
              <a:off x="4129088" y="2754313"/>
              <a:ext cx="60325" cy="76200"/>
            </a:xfrm>
            <a:custGeom>
              <a:avLst/>
              <a:gdLst>
                <a:gd name="T0" fmla="*/ 48 w 79"/>
                <a:gd name="T1" fmla="*/ 1 h 100"/>
                <a:gd name="T2" fmla="*/ 5 w 79"/>
                <a:gd name="T3" fmla="*/ 27 h 100"/>
                <a:gd name="T4" fmla="*/ 2 w 79"/>
                <a:gd name="T5" fmla="*/ 29 h 100"/>
                <a:gd name="T6" fmla="*/ 1 w 79"/>
                <a:gd name="T7" fmla="*/ 32 h 100"/>
                <a:gd name="T8" fmla="*/ 0 w 79"/>
                <a:gd name="T9" fmla="*/ 36 h 100"/>
                <a:gd name="T10" fmla="*/ 1 w 79"/>
                <a:gd name="T11" fmla="*/ 40 h 100"/>
                <a:gd name="T12" fmla="*/ 19 w 79"/>
                <a:gd name="T13" fmla="*/ 94 h 100"/>
                <a:gd name="T14" fmla="*/ 21 w 79"/>
                <a:gd name="T15" fmla="*/ 97 h 100"/>
                <a:gd name="T16" fmla="*/ 24 w 79"/>
                <a:gd name="T17" fmla="*/ 99 h 100"/>
                <a:gd name="T18" fmla="*/ 27 w 79"/>
                <a:gd name="T19" fmla="*/ 100 h 100"/>
                <a:gd name="T20" fmla="*/ 30 w 79"/>
                <a:gd name="T21" fmla="*/ 99 h 100"/>
                <a:gd name="T22" fmla="*/ 74 w 79"/>
                <a:gd name="T23" fmla="*/ 75 h 100"/>
                <a:gd name="T24" fmla="*/ 77 w 79"/>
                <a:gd name="T25" fmla="*/ 73 h 100"/>
                <a:gd name="T26" fmla="*/ 78 w 79"/>
                <a:gd name="T27" fmla="*/ 69 h 100"/>
                <a:gd name="T28" fmla="*/ 79 w 79"/>
                <a:gd name="T29" fmla="*/ 65 h 100"/>
                <a:gd name="T30" fmla="*/ 78 w 79"/>
                <a:gd name="T31" fmla="*/ 61 h 100"/>
                <a:gd name="T32" fmla="*/ 59 w 79"/>
                <a:gd name="T33" fmla="*/ 6 h 100"/>
                <a:gd name="T34" fmla="*/ 57 w 79"/>
                <a:gd name="T35" fmla="*/ 3 h 100"/>
                <a:gd name="T36" fmla="*/ 54 w 79"/>
                <a:gd name="T37" fmla="*/ 1 h 100"/>
                <a:gd name="T38" fmla="*/ 51 w 79"/>
                <a:gd name="T39" fmla="*/ 0 h 100"/>
                <a:gd name="T40" fmla="*/ 48 w 79"/>
                <a:gd name="T41" fmla="*/ 1 h 100"/>
                <a:gd name="T42" fmla="*/ 48 w 79"/>
                <a:gd name="T43" fmla="*/ 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 h="100">
                  <a:moveTo>
                    <a:pt x="48" y="1"/>
                  </a:moveTo>
                  <a:lnTo>
                    <a:pt x="5" y="27"/>
                  </a:lnTo>
                  <a:cubicBezTo>
                    <a:pt x="4" y="27"/>
                    <a:pt x="3" y="28"/>
                    <a:pt x="2" y="29"/>
                  </a:cubicBezTo>
                  <a:cubicBezTo>
                    <a:pt x="2" y="30"/>
                    <a:pt x="1" y="31"/>
                    <a:pt x="1" y="32"/>
                  </a:cubicBezTo>
                  <a:cubicBezTo>
                    <a:pt x="0" y="34"/>
                    <a:pt x="0" y="35"/>
                    <a:pt x="0" y="36"/>
                  </a:cubicBezTo>
                  <a:cubicBezTo>
                    <a:pt x="0" y="38"/>
                    <a:pt x="0" y="39"/>
                    <a:pt x="1" y="40"/>
                  </a:cubicBezTo>
                  <a:lnTo>
                    <a:pt x="19" y="94"/>
                  </a:lnTo>
                  <a:cubicBezTo>
                    <a:pt x="20" y="95"/>
                    <a:pt x="20" y="96"/>
                    <a:pt x="21" y="97"/>
                  </a:cubicBezTo>
                  <a:cubicBezTo>
                    <a:pt x="22" y="98"/>
                    <a:pt x="23" y="99"/>
                    <a:pt x="24" y="99"/>
                  </a:cubicBezTo>
                  <a:cubicBezTo>
                    <a:pt x="25" y="100"/>
                    <a:pt x="26" y="100"/>
                    <a:pt x="27" y="100"/>
                  </a:cubicBezTo>
                  <a:cubicBezTo>
                    <a:pt x="28" y="100"/>
                    <a:pt x="29" y="100"/>
                    <a:pt x="30" y="99"/>
                  </a:cubicBezTo>
                  <a:lnTo>
                    <a:pt x="74" y="75"/>
                  </a:lnTo>
                  <a:cubicBezTo>
                    <a:pt x="75" y="75"/>
                    <a:pt x="76" y="74"/>
                    <a:pt x="77" y="73"/>
                  </a:cubicBezTo>
                  <a:cubicBezTo>
                    <a:pt x="77" y="72"/>
                    <a:pt x="78" y="71"/>
                    <a:pt x="78" y="69"/>
                  </a:cubicBezTo>
                  <a:cubicBezTo>
                    <a:pt x="79" y="68"/>
                    <a:pt x="79" y="67"/>
                    <a:pt x="79" y="65"/>
                  </a:cubicBezTo>
                  <a:cubicBezTo>
                    <a:pt x="79" y="64"/>
                    <a:pt x="79" y="63"/>
                    <a:pt x="78" y="61"/>
                  </a:cubicBezTo>
                  <a:lnTo>
                    <a:pt x="59" y="6"/>
                  </a:lnTo>
                  <a:cubicBezTo>
                    <a:pt x="59" y="5"/>
                    <a:pt x="58" y="4"/>
                    <a:pt x="57" y="3"/>
                  </a:cubicBezTo>
                  <a:cubicBezTo>
                    <a:pt x="56" y="2"/>
                    <a:pt x="55" y="1"/>
                    <a:pt x="54" y="1"/>
                  </a:cubicBezTo>
                  <a:cubicBezTo>
                    <a:pt x="54" y="0"/>
                    <a:pt x="52" y="0"/>
                    <a:pt x="51" y="0"/>
                  </a:cubicBezTo>
                  <a:cubicBezTo>
                    <a:pt x="50" y="0"/>
                    <a:pt x="49" y="1"/>
                    <a:pt x="48" y="1"/>
                  </a:cubicBezTo>
                  <a:lnTo>
                    <a:pt x="48" y="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334">
              <a:extLst>
                <a:ext uri="{FF2B5EF4-FFF2-40B4-BE49-F238E27FC236}">
                  <a16:creationId xmlns:a16="http://schemas.microsoft.com/office/drawing/2014/main" id="{C8447E67-788D-4195-A547-497A172C1AFD}"/>
                </a:ext>
              </a:extLst>
            </p:cNvPr>
            <p:cNvSpPr>
              <a:spLocks/>
            </p:cNvSpPr>
            <p:nvPr/>
          </p:nvSpPr>
          <p:spPr bwMode="auto">
            <a:xfrm>
              <a:off x="4105276" y="2835276"/>
              <a:ext cx="58738" cy="74613"/>
            </a:xfrm>
            <a:custGeom>
              <a:avLst/>
              <a:gdLst>
                <a:gd name="T0" fmla="*/ 47 w 77"/>
                <a:gd name="T1" fmla="*/ 1 h 97"/>
                <a:gd name="T2" fmla="*/ 5 w 77"/>
                <a:gd name="T3" fmla="*/ 23 h 97"/>
                <a:gd name="T4" fmla="*/ 3 w 77"/>
                <a:gd name="T5" fmla="*/ 26 h 97"/>
                <a:gd name="T6" fmla="*/ 1 w 77"/>
                <a:gd name="T7" fmla="*/ 29 h 97"/>
                <a:gd name="T8" fmla="*/ 0 w 77"/>
                <a:gd name="T9" fmla="*/ 33 h 97"/>
                <a:gd name="T10" fmla="*/ 1 w 77"/>
                <a:gd name="T11" fmla="*/ 36 h 97"/>
                <a:gd name="T12" fmla="*/ 19 w 77"/>
                <a:gd name="T13" fmla="*/ 91 h 97"/>
                <a:gd name="T14" fmla="*/ 20 w 77"/>
                <a:gd name="T15" fmla="*/ 94 h 97"/>
                <a:gd name="T16" fmla="*/ 23 w 77"/>
                <a:gd name="T17" fmla="*/ 96 h 97"/>
                <a:gd name="T18" fmla="*/ 26 w 77"/>
                <a:gd name="T19" fmla="*/ 97 h 97"/>
                <a:gd name="T20" fmla="*/ 29 w 77"/>
                <a:gd name="T21" fmla="*/ 96 h 97"/>
                <a:gd name="T22" fmla="*/ 72 w 77"/>
                <a:gd name="T23" fmla="*/ 75 h 97"/>
                <a:gd name="T24" fmla="*/ 74 w 77"/>
                <a:gd name="T25" fmla="*/ 72 h 97"/>
                <a:gd name="T26" fmla="*/ 76 w 77"/>
                <a:gd name="T27" fmla="*/ 69 h 97"/>
                <a:gd name="T28" fmla="*/ 77 w 77"/>
                <a:gd name="T29" fmla="*/ 65 h 97"/>
                <a:gd name="T30" fmla="*/ 76 w 77"/>
                <a:gd name="T31" fmla="*/ 61 h 97"/>
                <a:gd name="T32" fmla="*/ 57 w 77"/>
                <a:gd name="T33" fmla="*/ 6 h 97"/>
                <a:gd name="T34" fmla="*/ 56 w 77"/>
                <a:gd name="T35" fmla="*/ 3 h 97"/>
                <a:gd name="T36" fmla="*/ 53 w 77"/>
                <a:gd name="T37" fmla="*/ 0 h 97"/>
                <a:gd name="T38" fmla="*/ 50 w 77"/>
                <a:gd name="T39" fmla="*/ 0 h 97"/>
                <a:gd name="T40" fmla="*/ 47 w 77"/>
                <a:gd name="T41" fmla="*/ 1 h 97"/>
                <a:gd name="T42" fmla="*/ 47 w 77"/>
                <a:gd name="T43" fmla="*/ 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7" h="97">
                  <a:moveTo>
                    <a:pt x="47" y="1"/>
                  </a:moveTo>
                  <a:lnTo>
                    <a:pt x="5" y="23"/>
                  </a:lnTo>
                  <a:cubicBezTo>
                    <a:pt x="4" y="24"/>
                    <a:pt x="3" y="25"/>
                    <a:pt x="3" y="26"/>
                  </a:cubicBezTo>
                  <a:cubicBezTo>
                    <a:pt x="2" y="27"/>
                    <a:pt x="1" y="28"/>
                    <a:pt x="1" y="29"/>
                  </a:cubicBezTo>
                  <a:cubicBezTo>
                    <a:pt x="1" y="30"/>
                    <a:pt x="0" y="31"/>
                    <a:pt x="0" y="33"/>
                  </a:cubicBezTo>
                  <a:cubicBezTo>
                    <a:pt x="0" y="34"/>
                    <a:pt x="1" y="35"/>
                    <a:pt x="1" y="36"/>
                  </a:cubicBezTo>
                  <a:lnTo>
                    <a:pt x="19" y="91"/>
                  </a:lnTo>
                  <a:cubicBezTo>
                    <a:pt x="19" y="92"/>
                    <a:pt x="20" y="93"/>
                    <a:pt x="20" y="94"/>
                  </a:cubicBezTo>
                  <a:cubicBezTo>
                    <a:pt x="21" y="95"/>
                    <a:pt x="22" y="96"/>
                    <a:pt x="23" y="96"/>
                  </a:cubicBezTo>
                  <a:cubicBezTo>
                    <a:pt x="24" y="97"/>
                    <a:pt x="25" y="97"/>
                    <a:pt x="26" y="97"/>
                  </a:cubicBezTo>
                  <a:cubicBezTo>
                    <a:pt x="27" y="97"/>
                    <a:pt x="28" y="97"/>
                    <a:pt x="29" y="96"/>
                  </a:cubicBezTo>
                  <a:lnTo>
                    <a:pt x="72" y="75"/>
                  </a:lnTo>
                  <a:cubicBezTo>
                    <a:pt x="73" y="74"/>
                    <a:pt x="74" y="73"/>
                    <a:pt x="74" y="72"/>
                  </a:cubicBezTo>
                  <a:cubicBezTo>
                    <a:pt x="75" y="71"/>
                    <a:pt x="76" y="70"/>
                    <a:pt x="76" y="69"/>
                  </a:cubicBezTo>
                  <a:cubicBezTo>
                    <a:pt x="77" y="68"/>
                    <a:pt x="77" y="66"/>
                    <a:pt x="77" y="65"/>
                  </a:cubicBezTo>
                  <a:cubicBezTo>
                    <a:pt x="77" y="64"/>
                    <a:pt x="77" y="62"/>
                    <a:pt x="76" y="61"/>
                  </a:cubicBezTo>
                  <a:lnTo>
                    <a:pt x="57" y="6"/>
                  </a:lnTo>
                  <a:cubicBezTo>
                    <a:pt x="57" y="5"/>
                    <a:pt x="56" y="3"/>
                    <a:pt x="56" y="3"/>
                  </a:cubicBezTo>
                  <a:cubicBezTo>
                    <a:pt x="55" y="2"/>
                    <a:pt x="54" y="1"/>
                    <a:pt x="53" y="0"/>
                  </a:cubicBezTo>
                  <a:cubicBezTo>
                    <a:pt x="52" y="0"/>
                    <a:pt x="51" y="0"/>
                    <a:pt x="50" y="0"/>
                  </a:cubicBezTo>
                  <a:cubicBezTo>
                    <a:pt x="49" y="0"/>
                    <a:pt x="48" y="0"/>
                    <a:pt x="47" y="1"/>
                  </a:cubicBezTo>
                  <a:lnTo>
                    <a:pt x="47" y="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335">
              <a:extLst>
                <a:ext uri="{FF2B5EF4-FFF2-40B4-BE49-F238E27FC236}">
                  <a16:creationId xmlns:a16="http://schemas.microsoft.com/office/drawing/2014/main" id="{8B0A0C40-4FB5-4C37-893C-36870F5324B0}"/>
                </a:ext>
              </a:extLst>
            </p:cNvPr>
            <p:cNvSpPr>
              <a:spLocks/>
            </p:cNvSpPr>
            <p:nvPr/>
          </p:nvSpPr>
          <p:spPr bwMode="auto">
            <a:xfrm>
              <a:off x="4098926" y="2970213"/>
              <a:ext cx="58738" cy="73025"/>
            </a:xfrm>
            <a:custGeom>
              <a:avLst/>
              <a:gdLst>
                <a:gd name="T0" fmla="*/ 46 w 76"/>
                <a:gd name="T1" fmla="*/ 1 h 95"/>
                <a:gd name="T2" fmla="*/ 4 w 76"/>
                <a:gd name="T3" fmla="*/ 20 h 95"/>
                <a:gd name="T4" fmla="*/ 2 w 76"/>
                <a:gd name="T5" fmla="*/ 22 h 95"/>
                <a:gd name="T6" fmla="*/ 0 w 76"/>
                <a:gd name="T7" fmla="*/ 25 h 95"/>
                <a:gd name="T8" fmla="*/ 0 w 76"/>
                <a:gd name="T9" fmla="*/ 29 h 95"/>
                <a:gd name="T10" fmla="*/ 0 w 76"/>
                <a:gd name="T11" fmla="*/ 33 h 95"/>
                <a:gd name="T12" fmla="*/ 18 w 76"/>
                <a:gd name="T13" fmla="*/ 88 h 95"/>
                <a:gd name="T14" fmla="*/ 20 w 76"/>
                <a:gd name="T15" fmla="*/ 92 h 95"/>
                <a:gd name="T16" fmla="*/ 22 w 76"/>
                <a:gd name="T17" fmla="*/ 94 h 95"/>
                <a:gd name="T18" fmla="*/ 25 w 76"/>
                <a:gd name="T19" fmla="*/ 95 h 95"/>
                <a:gd name="T20" fmla="*/ 28 w 76"/>
                <a:gd name="T21" fmla="*/ 95 h 95"/>
                <a:gd name="T22" fmla="*/ 71 w 76"/>
                <a:gd name="T23" fmla="*/ 77 h 95"/>
                <a:gd name="T24" fmla="*/ 73 w 76"/>
                <a:gd name="T25" fmla="*/ 75 h 95"/>
                <a:gd name="T26" fmla="*/ 75 w 76"/>
                <a:gd name="T27" fmla="*/ 72 h 95"/>
                <a:gd name="T28" fmla="*/ 75 w 76"/>
                <a:gd name="T29" fmla="*/ 68 h 95"/>
                <a:gd name="T30" fmla="*/ 75 w 76"/>
                <a:gd name="T31" fmla="*/ 64 h 95"/>
                <a:gd name="T32" fmla="*/ 56 w 76"/>
                <a:gd name="T33" fmla="*/ 7 h 95"/>
                <a:gd name="T34" fmla="*/ 54 w 76"/>
                <a:gd name="T35" fmla="*/ 4 h 95"/>
                <a:gd name="T36" fmla="*/ 52 w 76"/>
                <a:gd name="T37" fmla="*/ 1 h 95"/>
                <a:gd name="T38" fmla="*/ 49 w 76"/>
                <a:gd name="T39" fmla="*/ 0 h 95"/>
                <a:gd name="T40" fmla="*/ 46 w 76"/>
                <a:gd name="T41" fmla="*/ 1 h 95"/>
                <a:gd name="T42" fmla="*/ 46 w 76"/>
                <a:gd name="T43"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 h="95">
                  <a:moveTo>
                    <a:pt x="46" y="1"/>
                  </a:moveTo>
                  <a:lnTo>
                    <a:pt x="4" y="20"/>
                  </a:lnTo>
                  <a:cubicBezTo>
                    <a:pt x="3" y="21"/>
                    <a:pt x="2" y="21"/>
                    <a:pt x="2" y="22"/>
                  </a:cubicBezTo>
                  <a:cubicBezTo>
                    <a:pt x="1" y="23"/>
                    <a:pt x="1" y="24"/>
                    <a:pt x="0" y="25"/>
                  </a:cubicBezTo>
                  <a:cubicBezTo>
                    <a:pt x="0" y="26"/>
                    <a:pt x="0" y="28"/>
                    <a:pt x="0" y="29"/>
                  </a:cubicBezTo>
                  <a:cubicBezTo>
                    <a:pt x="0" y="30"/>
                    <a:pt x="0" y="32"/>
                    <a:pt x="0" y="33"/>
                  </a:cubicBezTo>
                  <a:lnTo>
                    <a:pt x="18" y="88"/>
                  </a:lnTo>
                  <a:cubicBezTo>
                    <a:pt x="18" y="90"/>
                    <a:pt x="19" y="91"/>
                    <a:pt x="20" y="92"/>
                  </a:cubicBezTo>
                  <a:cubicBezTo>
                    <a:pt x="20" y="93"/>
                    <a:pt x="21" y="94"/>
                    <a:pt x="22" y="94"/>
                  </a:cubicBezTo>
                  <a:cubicBezTo>
                    <a:pt x="23" y="95"/>
                    <a:pt x="24" y="95"/>
                    <a:pt x="25" y="95"/>
                  </a:cubicBezTo>
                  <a:cubicBezTo>
                    <a:pt x="26" y="95"/>
                    <a:pt x="27" y="95"/>
                    <a:pt x="28" y="95"/>
                  </a:cubicBezTo>
                  <a:lnTo>
                    <a:pt x="71" y="77"/>
                  </a:lnTo>
                  <a:cubicBezTo>
                    <a:pt x="72" y="76"/>
                    <a:pt x="72" y="76"/>
                    <a:pt x="73" y="75"/>
                  </a:cubicBezTo>
                  <a:cubicBezTo>
                    <a:pt x="74" y="74"/>
                    <a:pt x="75" y="73"/>
                    <a:pt x="75" y="72"/>
                  </a:cubicBezTo>
                  <a:cubicBezTo>
                    <a:pt x="75" y="70"/>
                    <a:pt x="76" y="69"/>
                    <a:pt x="75" y="68"/>
                  </a:cubicBezTo>
                  <a:cubicBezTo>
                    <a:pt x="75" y="66"/>
                    <a:pt x="75" y="65"/>
                    <a:pt x="75" y="64"/>
                  </a:cubicBezTo>
                  <a:lnTo>
                    <a:pt x="56" y="7"/>
                  </a:lnTo>
                  <a:cubicBezTo>
                    <a:pt x="56" y="6"/>
                    <a:pt x="55" y="5"/>
                    <a:pt x="54" y="4"/>
                  </a:cubicBezTo>
                  <a:cubicBezTo>
                    <a:pt x="54" y="3"/>
                    <a:pt x="53" y="2"/>
                    <a:pt x="52" y="1"/>
                  </a:cubicBezTo>
                  <a:cubicBezTo>
                    <a:pt x="51" y="1"/>
                    <a:pt x="50" y="0"/>
                    <a:pt x="49" y="0"/>
                  </a:cubicBezTo>
                  <a:cubicBezTo>
                    <a:pt x="48" y="0"/>
                    <a:pt x="47" y="0"/>
                    <a:pt x="46" y="1"/>
                  </a:cubicBezTo>
                  <a:lnTo>
                    <a:pt x="46" y="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336">
              <a:extLst>
                <a:ext uri="{FF2B5EF4-FFF2-40B4-BE49-F238E27FC236}">
                  <a16:creationId xmlns:a16="http://schemas.microsoft.com/office/drawing/2014/main" id="{4F21C5EE-246E-49CE-8515-93037B1A8714}"/>
                </a:ext>
              </a:extLst>
            </p:cNvPr>
            <p:cNvSpPr>
              <a:spLocks noEditPoints="1"/>
            </p:cNvSpPr>
            <p:nvPr/>
          </p:nvSpPr>
          <p:spPr bwMode="auto">
            <a:xfrm>
              <a:off x="4160838" y="2471738"/>
              <a:ext cx="665163" cy="611188"/>
            </a:xfrm>
            <a:custGeom>
              <a:avLst/>
              <a:gdLst>
                <a:gd name="T0" fmla="*/ 632 w 872"/>
                <a:gd name="T1" fmla="*/ 67 h 802"/>
                <a:gd name="T2" fmla="*/ 492 w 872"/>
                <a:gd name="T3" fmla="*/ 389 h 802"/>
                <a:gd name="T4" fmla="*/ 389 w 872"/>
                <a:gd name="T5" fmla="*/ 458 h 802"/>
                <a:gd name="T6" fmla="*/ 430 w 872"/>
                <a:gd name="T7" fmla="*/ 473 h 802"/>
                <a:gd name="T8" fmla="*/ 442 w 872"/>
                <a:gd name="T9" fmla="*/ 473 h 802"/>
                <a:gd name="T10" fmla="*/ 454 w 872"/>
                <a:gd name="T11" fmla="*/ 468 h 802"/>
                <a:gd name="T12" fmla="*/ 462 w 872"/>
                <a:gd name="T13" fmla="*/ 458 h 802"/>
                <a:gd name="T14" fmla="*/ 481 w 872"/>
                <a:gd name="T15" fmla="*/ 415 h 802"/>
                <a:gd name="T16" fmla="*/ 253 w 872"/>
                <a:gd name="T17" fmla="*/ 678 h 802"/>
                <a:gd name="T18" fmla="*/ 136 w 872"/>
                <a:gd name="T19" fmla="*/ 366 h 802"/>
                <a:gd name="T20" fmla="*/ 242 w 872"/>
                <a:gd name="T21" fmla="*/ 648 h 802"/>
                <a:gd name="T22" fmla="*/ 183 w 872"/>
                <a:gd name="T23" fmla="*/ 646 h 802"/>
                <a:gd name="T24" fmla="*/ 130 w 872"/>
                <a:gd name="T25" fmla="*/ 670 h 802"/>
                <a:gd name="T26" fmla="*/ 123 w 872"/>
                <a:gd name="T27" fmla="*/ 670 h 802"/>
                <a:gd name="T28" fmla="*/ 118 w 872"/>
                <a:gd name="T29" fmla="*/ 664 h 802"/>
                <a:gd name="T30" fmla="*/ 118 w 872"/>
                <a:gd name="T31" fmla="*/ 663 h 802"/>
                <a:gd name="T32" fmla="*/ 97 w 872"/>
                <a:gd name="T33" fmla="*/ 603 h 802"/>
                <a:gd name="T34" fmla="*/ 97 w 872"/>
                <a:gd name="T35" fmla="*/ 595 h 802"/>
                <a:gd name="T36" fmla="*/ 102 w 872"/>
                <a:gd name="T37" fmla="*/ 590 h 802"/>
                <a:gd name="T38" fmla="*/ 154 w 872"/>
                <a:gd name="T39" fmla="*/ 566 h 802"/>
                <a:gd name="T40" fmla="*/ 161 w 872"/>
                <a:gd name="T41" fmla="*/ 570 h 802"/>
                <a:gd name="T42" fmla="*/ 185 w 872"/>
                <a:gd name="T43" fmla="*/ 634 h 802"/>
                <a:gd name="T44" fmla="*/ 185 w 872"/>
                <a:gd name="T45" fmla="*/ 643 h 802"/>
                <a:gd name="T46" fmla="*/ 447 w 872"/>
                <a:gd name="T47" fmla="*/ 429 h 802"/>
                <a:gd name="T48" fmla="*/ 444 w 872"/>
                <a:gd name="T49" fmla="*/ 435 h 802"/>
                <a:gd name="T50" fmla="*/ 437 w 872"/>
                <a:gd name="T51" fmla="*/ 443 h 802"/>
                <a:gd name="T52" fmla="*/ 426 w 872"/>
                <a:gd name="T53" fmla="*/ 443 h 802"/>
                <a:gd name="T54" fmla="*/ 420 w 872"/>
                <a:gd name="T55" fmla="*/ 441 h 802"/>
                <a:gd name="T56" fmla="*/ 605 w 872"/>
                <a:gd name="T57" fmla="*/ 62 h 802"/>
                <a:gd name="T58" fmla="*/ 651 w 872"/>
                <a:gd name="T59" fmla="*/ 6 h 802"/>
                <a:gd name="T60" fmla="*/ 644 w 872"/>
                <a:gd name="T61" fmla="*/ 0 h 802"/>
                <a:gd name="T62" fmla="*/ 633 w 872"/>
                <a:gd name="T63" fmla="*/ 2 h 802"/>
                <a:gd name="T64" fmla="*/ 80 w 872"/>
                <a:gd name="T65" fmla="*/ 328 h 802"/>
                <a:gd name="T66" fmla="*/ 78 w 872"/>
                <a:gd name="T67" fmla="*/ 335 h 802"/>
                <a:gd name="T68" fmla="*/ 100 w 872"/>
                <a:gd name="T69" fmla="*/ 400 h 802"/>
                <a:gd name="T70" fmla="*/ 99 w 872"/>
                <a:gd name="T71" fmla="*/ 405 h 802"/>
                <a:gd name="T72" fmla="*/ 94 w 872"/>
                <a:gd name="T73" fmla="*/ 410 h 802"/>
                <a:gd name="T74" fmla="*/ 45 w 872"/>
                <a:gd name="T75" fmla="*/ 438 h 802"/>
                <a:gd name="T76" fmla="*/ 42 w 872"/>
                <a:gd name="T77" fmla="*/ 446 h 802"/>
                <a:gd name="T78" fmla="*/ 63 w 872"/>
                <a:gd name="T79" fmla="*/ 506 h 802"/>
                <a:gd name="T80" fmla="*/ 63 w 872"/>
                <a:gd name="T81" fmla="*/ 514 h 802"/>
                <a:gd name="T82" fmla="*/ 58 w 872"/>
                <a:gd name="T83" fmla="*/ 520 h 802"/>
                <a:gd name="T84" fmla="*/ 10 w 872"/>
                <a:gd name="T85" fmla="*/ 545 h 802"/>
                <a:gd name="T86" fmla="*/ 8 w 872"/>
                <a:gd name="T87" fmla="*/ 552 h 802"/>
                <a:gd name="T88" fmla="*/ 21 w 872"/>
                <a:gd name="T89" fmla="*/ 594 h 802"/>
                <a:gd name="T90" fmla="*/ 54 w 872"/>
                <a:gd name="T91" fmla="*/ 691 h 802"/>
                <a:gd name="T92" fmla="*/ 54 w 872"/>
                <a:gd name="T93" fmla="*/ 699 h 802"/>
                <a:gd name="T94" fmla="*/ 49 w 872"/>
                <a:gd name="T95" fmla="*/ 704 h 802"/>
                <a:gd name="T96" fmla="*/ 2 w 872"/>
                <a:gd name="T97" fmla="*/ 725 h 802"/>
                <a:gd name="T98" fmla="*/ 0 w 872"/>
                <a:gd name="T99" fmla="*/ 732 h 802"/>
                <a:gd name="T100" fmla="*/ 19 w 872"/>
                <a:gd name="T101" fmla="*/ 794 h 802"/>
                <a:gd name="T102" fmla="*/ 24 w 872"/>
                <a:gd name="T103" fmla="*/ 801 h 802"/>
                <a:gd name="T104" fmla="*/ 30 w 872"/>
                <a:gd name="T105" fmla="*/ 802 h 802"/>
                <a:gd name="T106" fmla="*/ 76 w 872"/>
                <a:gd name="T107" fmla="*/ 784 h 802"/>
                <a:gd name="T108" fmla="*/ 141 w 872"/>
                <a:gd name="T109" fmla="*/ 759 h 802"/>
                <a:gd name="T110" fmla="*/ 152 w 872"/>
                <a:gd name="T111" fmla="*/ 755 h 802"/>
                <a:gd name="T112" fmla="*/ 159 w 872"/>
                <a:gd name="T113" fmla="*/ 752 h 802"/>
                <a:gd name="T114" fmla="*/ 251 w 872"/>
                <a:gd name="T115" fmla="*/ 717 h 802"/>
                <a:gd name="T116" fmla="*/ 867 w 872"/>
                <a:gd name="T117" fmla="*/ 477 h 802"/>
                <a:gd name="T118" fmla="*/ 872 w 872"/>
                <a:gd name="T119" fmla="*/ 467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2" h="802">
                  <a:moveTo>
                    <a:pt x="492" y="389"/>
                  </a:moveTo>
                  <a:lnTo>
                    <a:pt x="632" y="67"/>
                  </a:lnTo>
                  <a:lnTo>
                    <a:pt x="807" y="436"/>
                  </a:lnTo>
                  <a:lnTo>
                    <a:pt x="492" y="389"/>
                  </a:lnTo>
                  <a:close/>
                  <a:moveTo>
                    <a:pt x="253" y="678"/>
                  </a:moveTo>
                  <a:lnTo>
                    <a:pt x="389" y="458"/>
                  </a:lnTo>
                  <a:lnTo>
                    <a:pt x="428" y="472"/>
                  </a:lnTo>
                  <a:cubicBezTo>
                    <a:pt x="428" y="472"/>
                    <a:pt x="429" y="472"/>
                    <a:pt x="430" y="473"/>
                  </a:cubicBezTo>
                  <a:cubicBezTo>
                    <a:pt x="432" y="473"/>
                    <a:pt x="433" y="473"/>
                    <a:pt x="435" y="473"/>
                  </a:cubicBezTo>
                  <a:cubicBezTo>
                    <a:pt x="437" y="473"/>
                    <a:pt x="440" y="474"/>
                    <a:pt x="442" y="473"/>
                  </a:cubicBezTo>
                  <a:cubicBezTo>
                    <a:pt x="444" y="473"/>
                    <a:pt x="447" y="473"/>
                    <a:pt x="449" y="472"/>
                  </a:cubicBezTo>
                  <a:cubicBezTo>
                    <a:pt x="451" y="471"/>
                    <a:pt x="453" y="469"/>
                    <a:pt x="454" y="468"/>
                  </a:cubicBezTo>
                  <a:cubicBezTo>
                    <a:pt x="456" y="466"/>
                    <a:pt x="458" y="464"/>
                    <a:pt x="459" y="463"/>
                  </a:cubicBezTo>
                  <a:cubicBezTo>
                    <a:pt x="460" y="461"/>
                    <a:pt x="461" y="459"/>
                    <a:pt x="462" y="458"/>
                  </a:cubicBezTo>
                  <a:cubicBezTo>
                    <a:pt x="462" y="457"/>
                    <a:pt x="463" y="456"/>
                    <a:pt x="463" y="456"/>
                  </a:cubicBezTo>
                  <a:lnTo>
                    <a:pt x="481" y="415"/>
                  </a:lnTo>
                  <a:lnTo>
                    <a:pt x="787" y="463"/>
                  </a:lnTo>
                  <a:lnTo>
                    <a:pt x="253" y="678"/>
                  </a:lnTo>
                  <a:close/>
                  <a:moveTo>
                    <a:pt x="242" y="648"/>
                  </a:moveTo>
                  <a:cubicBezTo>
                    <a:pt x="241" y="649"/>
                    <a:pt x="136" y="366"/>
                    <a:pt x="136" y="366"/>
                  </a:cubicBezTo>
                  <a:lnTo>
                    <a:pt x="361" y="450"/>
                  </a:lnTo>
                  <a:cubicBezTo>
                    <a:pt x="361" y="450"/>
                    <a:pt x="243" y="647"/>
                    <a:pt x="242" y="648"/>
                  </a:cubicBezTo>
                  <a:close/>
                  <a:moveTo>
                    <a:pt x="185" y="643"/>
                  </a:moveTo>
                  <a:cubicBezTo>
                    <a:pt x="185" y="644"/>
                    <a:pt x="184" y="645"/>
                    <a:pt x="183" y="646"/>
                  </a:cubicBezTo>
                  <a:cubicBezTo>
                    <a:pt x="182" y="647"/>
                    <a:pt x="181" y="648"/>
                    <a:pt x="180" y="649"/>
                  </a:cubicBezTo>
                  <a:lnTo>
                    <a:pt x="130" y="670"/>
                  </a:lnTo>
                  <a:cubicBezTo>
                    <a:pt x="129" y="670"/>
                    <a:pt x="127" y="671"/>
                    <a:pt x="126" y="671"/>
                  </a:cubicBezTo>
                  <a:cubicBezTo>
                    <a:pt x="125" y="671"/>
                    <a:pt x="124" y="671"/>
                    <a:pt x="123" y="670"/>
                  </a:cubicBezTo>
                  <a:cubicBezTo>
                    <a:pt x="122" y="670"/>
                    <a:pt x="121" y="669"/>
                    <a:pt x="120" y="668"/>
                  </a:cubicBezTo>
                  <a:cubicBezTo>
                    <a:pt x="119" y="667"/>
                    <a:pt x="119" y="666"/>
                    <a:pt x="118" y="664"/>
                  </a:cubicBezTo>
                  <a:lnTo>
                    <a:pt x="118" y="665"/>
                  </a:lnTo>
                  <a:lnTo>
                    <a:pt x="118" y="663"/>
                  </a:lnTo>
                  <a:lnTo>
                    <a:pt x="97" y="604"/>
                  </a:lnTo>
                  <a:lnTo>
                    <a:pt x="97" y="603"/>
                  </a:lnTo>
                  <a:cubicBezTo>
                    <a:pt x="96" y="601"/>
                    <a:pt x="96" y="600"/>
                    <a:pt x="96" y="599"/>
                  </a:cubicBezTo>
                  <a:cubicBezTo>
                    <a:pt x="96" y="597"/>
                    <a:pt x="97" y="596"/>
                    <a:pt x="97" y="595"/>
                  </a:cubicBezTo>
                  <a:cubicBezTo>
                    <a:pt x="97" y="594"/>
                    <a:pt x="98" y="593"/>
                    <a:pt x="99" y="592"/>
                  </a:cubicBezTo>
                  <a:cubicBezTo>
                    <a:pt x="100" y="591"/>
                    <a:pt x="101" y="590"/>
                    <a:pt x="102" y="590"/>
                  </a:cubicBezTo>
                  <a:lnTo>
                    <a:pt x="151" y="567"/>
                  </a:lnTo>
                  <a:cubicBezTo>
                    <a:pt x="152" y="567"/>
                    <a:pt x="153" y="566"/>
                    <a:pt x="154" y="566"/>
                  </a:cubicBezTo>
                  <a:cubicBezTo>
                    <a:pt x="155" y="566"/>
                    <a:pt x="157" y="567"/>
                    <a:pt x="158" y="567"/>
                  </a:cubicBezTo>
                  <a:cubicBezTo>
                    <a:pt x="159" y="568"/>
                    <a:pt x="160" y="569"/>
                    <a:pt x="161" y="570"/>
                  </a:cubicBezTo>
                  <a:cubicBezTo>
                    <a:pt x="162" y="571"/>
                    <a:pt x="162" y="572"/>
                    <a:pt x="163" y="573"/>
                  </a:cubicBezTo>
                  <a:lnTo>
                    <a:pt x="185" y="634"/>
                  </a:lnTo>
                  <a:cubicBezTo>
                    <a:pt x="185" y="636"/>
                    <a:pt x="186" y="637"/>
                    <a:pt x="186" y="639"/>
                  </a:cubicBezTo>
                  <a:cubicBezTo>
                    <a:pt x="186" y="640"/>
                    <a:pt x="185" y="641"/>
                    <a:pt x="185" y="643"/>
                  </a:cubicBezTo>
                  <a:close/>
                  <a:moveTo>
                    <a:pt x="605" y="62"/>
                  </a:moveTo>
                  <a:lnTo>
                    <a:pt x="447" y="429"/>
                  </a:lnTo>
                  <a:cubicBezTo>
                    <a:pt x="447" y="429"/>
                    <a:pt x="446" y="430"/>
                    <a:pt x="446" y="431"/>
                  </a:cubicBezTo>
                  <a:cubicBezTo>
                    <a:pt x="445" y="432"/>
                    <a:pt x="445" y="434"/>
                    <a:pt x="444" y="435"/>
                  </a:cubicBezTo>
                  <a:cubicBezTo>
                    <a:pt x="443" y="437"/>
                    <a:pt x="442" y="438"/>
                    <a:pt x="440" y="440"/>
                  </a:cubicBezTo>
                  <a:cubicBezTo>
                    <a:pt x="439" y="441"/>
                    <a:pt x="438" y="442"/>
                    <a:pt x="437" y="443"/>
                  </a:cubicBezTo>
                  <a:cubicBezTo>
                    <a:pt x="435" y="443"/>
                    <a:pt x="433" y="444"/>
                    <a:pt x="432" y="444"/>
                  </a:cubicBezTo>
                  <a:cubicBezTo>
                    <a:pt x="430" y="444"/>
                    <a:pt x="428" y="443"/>
                    <a:pt x="426" y="443"/>
                  </a:cubicBezTo>
                  <a:cubicBezTo>
                    <a:pt x="424" y="443"/>
                    <a:pt x="423" y="442"/>
                    <a:pt x="422" y="442"/>
                  </a:cubicBezTo>
                  <a:cubicBezTo>
                    <a:pt x="421" y="442"/>
                    <a:pt x="420" y="441"/>
                    <a:pt x="420" y="441"/>
                  </a:cubicBezTo>
                  <a:lnTo>
                    <a:pt x="123" y="337"/>
                  </a:lnTo>
                  <a:lnTo>
                    <a:pt x="605" y="62"/>
                  </a:lnTo>
                  <a:close/>
                  <a:moveTo>
                    <a:pt x="871" y="461"/>
                  </a:moveTo>
                  <a:lnTo>
                    <a:pt x="651" y="6"/>
                  </a:lnTo>
                  <a:cubicBezTo>
                    <a:pt x="650" y="5"/>
                    <a:pt x="649" y="3"/>
                    <a:pt x="648" y="2"/>
                  </a:cubicBezTo>
                  <a:cubicBezTo>
                    <a:pt x="647" y="1"/>
                    <a:pt x="645" y="1"/>
                    <a:pt x="644" y="0"/>
                  </a:cubicBezTo>
                  <a:cubicBezTo>
                    <a:pt x="642" y="0"/>
                    <a:pt x="640" y="0"/>
                    <a:pt x="638" y="0"/>
                  </a:cubicBezTo>
                  <a:cubicBezTo>
                    <a:pt x="637" y="1"/>
                    <a:pt x="635" y="1"/>
                    <a:pt x="633" y="2"/>
                  </a:cubicBezTo>
                  <a:lnTo>
                    <a:pt x="83" y="325"/>
                  </a:lnTo>
                  <a:cubicBezTo>
                    <a:pt x="82" y="326"/>
                    <a:pt x="81" y="327"/>
                    <a:pt x="80" y="328"/>
                  </a:cubicBezTo>
                  <a:cubicBezTo>
                    <a:pt x="79" y="329"/>
                    <a:pt x="79" y="330"/>
                    <a:pt x="78" y="331"/>
                  </a:cubicBezTo>
                  <a:cubicBezTo>
                    <a:pt x="78" y="333"/>
                    <a:pt x="78" y="334"/>
                    <a:pt x="78" y="335"/>
                  </a:cubicBezTo>
                  <a:cubicBezTo>
                    <a:pt x="78" y="337"/>
                    <a:pt x="78" y="338"/>
                    <a:pt x="78" y="340"/>
                  </a:cubicBezTo>
                  <a:lnTo>
                    <a:pt x="100" y="400"/>
                  </a:lnTo>
                  <a:cubicBezTo>
                    <a:pt x="101" y="401"/>
                    <a:pt x="101" y="402"/>
                    <a:pt x="100" y="403"/>
                  </a:cubicBezTo>
                  <a:cubicBezTo>
                    <a:pt x="100" y="404"/>
                    <a:pt x="100" y="404"/>
                    <a:pt x="99" y="405"/>
                  </a:cubicBezTo>
                  <a:cubicBezTo>
                    <a:pt x="99" y="406"/>
                    <a:pt x="98" y="407"/>
                    <a:pt x="97" y="408"/>
                  </a:cubicBezTo>
                  <a:cubicBezTo>
                    <a:pt x="96" y="409"/>
                    <a:pt x="95" y="410"/>
                    <a:pt x="94" y="410"/>
                  </a:cubicBezTo>
                  <a:lnTo>
                    <a:pt x="48" y="436"/>
                  </a:lnTo>
                  <a:cubicBezTo>
                    <a:pt x="46" y="436"/>
                    <a:pt x="46" y="437"/>
                    <a:pt x="45" y="438"/>
                  </a:cubicBezTo>
                  <a:cubicBezTo>
                    <a:pt x="44" y="439"/>
                    <a:pt x="43" y="440"/>
                    <a:pt x="43" y="442"/>
                  </a:cubicBezTo>
                  <a:cubicBezTo>
                    <a:pt x="43" y="443"/>
                    <a:pt x="42" y="444"/>
                    <a:pt x="42" y="446"/>
                  </a:cubicBezTo>
                  <a:cubicBezTo>
                    <a:pt x="42" y="447"/>
                    <a:pt x="43" y="448"/>
                    <a:pt x="43" y="450"/>
                  </a:cubicBezTo>
                  <a:lnTo>
                    <a:pt x="63" y="506"/>
                  </a:lnTo>
                  <a:cubicBezTo>
                    <a:pt x="63" y="507"/>
                    <a:pt x="63" y="509"/>
                    <a:pt x="64" y="510"/>
                  </a:cubicBezTo>
                  <a:cubicBezTo>
                    <a:pt x="64" y="512"/>
                    <a:pt x="63" y="513"/>
                    <a:pt x="63" y="514"/>
                  </a:cubicBezTo>
                  <a:cubicBezTo>
                    <a:pt x="63" y="515"/>
                    <a:pt x="62" y="517"/>
                    <a:pt x="61" y="518"/>
                  </a:cubicBezTo>
                  <a:cubicBezTo>
                    <a:pt x="60" y="518"/>
                    <a:pt x="59" y="519"/>
                    <a:pt x="58" y="520"/>
                  </a:cubicBezTo>
                  <a:lnTo>
                    <a:pt x="13" y="543"/>
                  </a:lnTo>
                  <a:cubicBezTo>
                    <a:pt x="12" y="543"/>
                    <a:pt x="11" y="544"/>
                    <a:pt x="10" y="545"/>
                  </a:cubicBezTo>
                  <a:cubicBezTo>
                    <a:pt x="10" y="546"/>
                    <a:pt x="9" y="547"/>
                    <a:pt x="9" y="548"/>
                  </a:cubicBezTo>
                  <a:cubicBezTo>
                    <a:pt x="8" y="550"/>
                    <a:pt x="8" y="551"/>
                    <a:pt x="8" y="552"/>
                  </a:cubicBezTo>
                  <a:cubicBezTo>
                    <a:pt x="8" y="554"/>
                    <a:pt x="8" y="555"/>
                    <a:pt x="9" y="556"/>
                  </a:cubicBezTo>
                  <a:lnTo>
                    <a:pt x="21" y="594"/>
                  </a:lnTo>
                  <a:lnTo>
                    <a:pt x="28" y="613"/>
                  </a:lnTo>
                  <a:lnTo>
                    <a:pt x="54" y="691"/>
                  </a:lnTo>
                  <a:cubicBezTo>
                    <a:pt x="55" y="692"/>
                    <a:pt x="55" y="694"/>
                    <a:pt x="55" y="695"/>
                  </a:cubicBezTo>
                  <a:cubicBezTo>
                    <a:pt x="55" y="697"/>
                    <a:pt x="55" y="698"/>
                    <a:pt x="54" y="699"/>
                  </a:cubicBezTo>
                  <a:cubicBezTo>
                    <a:pt x="54" y="700"/>
                    <a:pt x="53" y="701"/>
                    <a:pt x="52" y="702"/>
                  </a:cubicBezTo>
                  <a:cubicBezTo>
                    <a:pt x="52" y="703"/>
                    <a:pt x="51" y="704"/>
                    <a:pt x="49" y="704"/>
                  </a:cubicBezTo>
                  <a:lnTo>
                    <a:pt x="5" y="723"/>
                  </a:lnTo>
                  <a:cubicBezTo>
                    <a:pt x="4" y="724"/>
                    <a:pt x="3" y="724"/>
                    <a:pt x="2" y="725"/>
                  </a:cubicBezTo>
                  <a:cubicBezTo>
                    <a:pt x="1" y="726"/>
                    <a:pt x="1" y="727"/>
                    <a:pt x="0" y="729"/>
                  </a:cubicBezTo>
                  <a:cubicBezTo>
                    <a:pt x="0" y="730"/>
                    <a:pt x="0" y="731"/>
                    <a:pt x="0" y="732"/>
                  </a:cubicBezTo>
                  <a:cubicBezTo>
                    <a:pt x="0" y="734"/>
                    <a:pt x="0" y="735"/>
                    <a:pt x="0" y="737"/>
                  </a:cubicBezTo>
                  <a:lnTo>
                    <a:pt x="19" y="794"/>
                  </a:lnTo>
                  <a:cubicBezTo>
                    <a:pt x="20" y="796"/>
                    <a:pt x="20" y="797"/>
                    <a:pt x="21" y="798"/>
                  </a:cubicBezTo>
                  <a:cubicBezTo>
                    <a:pt x="22" y="799"/>
                    <a:pt x="23" y="800"/>
                    <a:pt x="24" y="801"/>
                  </a:cubicBezTo>
                  <a:cubicBezTo>
                    <a:pt x="25" y="801"/>
                    <a:pt x="26" y="802"/>
                    <a:pt x="27" y="802"/>
                  </a:cubicBezTo>
                  <a:cubicBezTo>
                    <a:pt x="28" y="802"/>
                    <a:pt x="29" y="802"/>
                    <a:pt x="30" y="802"/>
                  </a:cubicBezTo>
                  <a:lnTo>
                    <a:pt x="51" y="794"/>
                  </a:lnTo>
                  <a:lnTo>
                    <a:pt x="76" y="784"/>
                  </a:lnTo>
                  <a:lnTo>
                    <a:pt x="123" y="766"/>
                  </a:lnTo>
                  <a:lnTo>
                    <a:pt x="141" y="759"/>
                  </a:lnTo>
                  <a:cubicBezTo>
                    <a:pt x="143" y="758"/>
                    <a:pt x="145" y="757"/>
                    <a:pt x="147" y="757"/>
                  </a:cubicBezTo>
                  <a:cubicBezTo>
                    <a:pt x="149" y="756"/>
                    <a:pt x="150" y="755"/>
                    <a:pt x="152" y="755"/>
                  </a:cubicBezTo>
                  <a:cubicBezTo>
                    <a:pt x="153" y="754"/>
                    <a:pt x="155" y="754"/>
                    <a:pt x="156" y="753"/>
                  </a:cubicBezTo>
                  <a:cubicBezTo>
                    <a:pt x="157" y="753"/>
                    <a:pt x="158" y="752"/>
                    <a:pt x="159" y="752"/>
                  </a:cubicBezTo>
                  <a:lnTo>
                    <a:pt x="228" y="725"/>
                  </a:lnTo>
                  <a:lnTo>
                    <a:pt x="251" y="717"/>
                  </a:lnTo>
                  <a:lnTo>
                    <a:pt x="862" y="480"/>
                  </a:lnTo>
                  <a:cubicBezTo>
                    <a:pt x="864" y="479"/>
                    <a:pt x="866" y="478"/>
                    <a:pt x="867" y="477"/>
                  </a:cubicBezTo>
                  <a:cubicBezTo>
                    <a:pt x="869" y="476"/>
                    <a:pt x="870" y="474"/>
                    <a:pt x="871" y="472"/>
                  </a:cubicBezTo>
                  <a:cubicBezTo>
                    <a:pt x="872" y="470"/>
                    <a:pt x="872" y="469"/>
                    <a:pt x="872" y="467"/>
                  </a:cubicBezTo>
                  <a:cubicBezTo>
                    <a:pt x="872" y="465"/>
                    <a:pt x="871" y="463"/>
                    <a:pt x="871" y="46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34" name="Connecteur droit 9">
            <a:extLst>
              <a:ext uri="{FF2B5EF4-FFF2-40B4-BE49-F238E27FC236}">
                <a16:creationId xmlns:a16="http://schemas.microsoft.com/office/drawing/2014/main" id="{576F780F-22EB-4266-9939-87A66F2EAD77}"/>
              </a:ext>
            </a:extLst>
          </p:cNvPr>
          <p:cNvCxnSpPr>
            <a:cxnSpLocks/>
          </p:cNvCxnSpPr>
          <p:nvPr/>
        </p:nvCxnSpPr>
        <p:spPr>
          <a:xfrm>
            <a:off x="3442076" y="2258976"/>
            <a:ext cx="19881" cy="22550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 name="Řečová bublina: obdélníkový bublinový popisek se zakulacenými rohy 36">
            <a:extLst>
              <a:ext uri="{FF2B5EF4-FFF2-40B4-BE49-F238E27FC236}">
                <a16:creationId xmlns:a16="http://schemas.microsoft.com/office/drawing/2014/main" id="{0CF74652-A6B2-4AE2-AD53-A469AA6BD452}"/>
              </a:ext>
            </a:extLst>
          </p:cNvPr>
          <p:cNvSpPr/>
          <p:nvPr/>
        </p:nvSpPr>
        <p:spPr>
          <a:xfrm>
            <a:off x="431171" y="1528227"/>
            <a:ext cx="2265699" cy="721690"/>
          </a:xfrm>
          <a:prstGeom prst="wedgeRoundRectCallout">
            <a:avLst>
              <a:gd name="adj1" fmla="val 53582"/>
              <a:gd name="adj2" fmla="val -9035"/>
              <a:gd name="adj3"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i="1" dirty="0">
                <a:solidFill>
                  <a:schemeClr val="bg1">
                    <a:lumMod val="65000"/>
                  </a:schemeClr>
                </a:solidFill>
              </a:rPr>
              <a:t>Can you please send me AEC-Q200 </a:t>
            </a:r>
            <a:r>
              <a:rPr lang="en-GB" sz="1400" i="1" dirty="0" err="1">
                <a:solidFill>
                  <a:schemeClr val="bg1">
                    <a:lumMod val="65000"/>
                  </a:schemeClr>
                </a:solidFill>
              </a:rPr>
              <a:t>datapack</a:t>
            </a:r>
            <a:r>
              <a:rPr lang="en-GB" sz="1400" i="1" dirty="0">
                <a:solidFill>
                  <a:schemeClr val="bg1">
                    <a:lumMod val="65000"/>
                  </a:schemeClr>
                </a:solidFill>
              </a:rPr>
              <a:t> on Capacitors under # order ? </a:t>
            </a:r>
            <a:endParaRPr lang="cs-CZ" sz="1400" i="1" dirty="0">
              <a:solidFill>
                <a:schemeClr val="bg1">
                  <a:lumMod val="65000"/>
                </a:schemeClr>
              </a:solidFill>
            </a:endParaRPr>
          </a:p>
        </p:txBody>
      </p:sp>
      <p:sp>
        <p:nvSpPr>
          <p:cNvPr id="38" name="Řečová bublina: oválný bublinový popisek 37">
            <a:extLst>
              <a:ext uri="{FF2B5EF4-FFF2-40B4-BE49-F238E27FC236}">
                <a16:creationId xmlns:a16="http://schemas.microsoft.com/office/drawing/2014/main" id="{A3F921F5-DA9E-4EF9-80C2-133D398FDD48}"/>
              </a:ext>
            </a:extLst>
          </p:cNvPr>
          <p:cNvSpPr/>
          <p:nvPr/>
        </p:nvSpPr>
        <p:spPr>
          <a:xfrm>
            <a:off x="9419026" y="2582653"/>
            <a:ext cx="2328201" cy="843206"/>
          </a:xfrm>
          <a:prstGeom prst="wedgeEllipseCallout">
            <a:avLst>
              <a:gd name="adj1" fmla="val -54545"/>
              <a:gd name="adj2" fmla="val -3512"/>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t>
            </a:r>
            <a:r>
              <a:rPr lang="en-US" sz="1400" i="1" dirty="0"/>
              <a:t>patience please, I am checking on our side”</a:t>
            </a:r>
            <a:endParaRPr lang="cs-CZ" sz="1400" i="1" dirty="0"/>
          </a:p>
        </p:txBody>
      </p:sp>
      <p:sp>
        <p:nvSpPr>
          <p:cNvPr id="40" name="TextovéPole 39">
            <a:extLst>
              <a:ext uri="{FF2B5EF4-FFF2-40B4-BE49-F238E27FC236}">
                <a16:creationId xmlns:a16="http://schemas.microsoft.com/office/drawing/2014/main" id="{3D7BE078-59C2-4E08-82CC-0DA422FF40B5}"/>
              </a:ext>
            </a:extLst>
          </p:cNvPr>
          <p:cNvSpPr txBox="1"/>
          <p:nvPr/>
        </p:nvSpPr>
        <p:spPr>
          <a:xfrm>
            <a:off x="7855613" y="1700164"/>
            <a:ext cx="596638" cy="369332"/>
          </a:xfrm>
          <a:prstGeom prst="rect">
            <a:avLst/>
          </a:prstGeom>
          <a:noFill/>
        </p:spPr>
        <p:txBody>
          <a:bodyPr wrap="none" rtlCol="0">
            <a:spAutoFit/>
          </a:bodyPr>
          <a:lstStyle/>
          <a:p>
            <a:r>
              <a:rPr lang="en-GB" dirty="0"/>
              <a:t>EPCI</a:t>
            </a:r>
            <a:endParaRPr lang="cs-CZ" dirty="0"/>
          </a:p>
        </p:txBody>
      </p:sp>
      <p:sp>
        <p:nvSpPr>
          <p:cNvPr id="41" name="TextovéPole 40">
            <a:extLst>
              <a:ext uri="{FF2B5EF4-FFF2-40B4-BE49-F238E27FC236}">
                <a16:creationId xmlns:a16="http://schemas.microsoft.com/office/drawing/2014/main" id="{2CB74317-25B5-4C4F-9B79-C922238BCF8A}"/>
              </a:ext>
            </a:extLst>
          </p:cNvPr>
          <p:cNvSpPr txBox="1"/>
          <p:nvPr/>
        </p:nvSpPr>
        <p:spPr>
          <a:xfrm>
            <a:off x="9452244" y="1719486"/>
            <a:ext cx="1197764" cy="369332"/>
          </a:xfrm>
          <a:prstGeom prst="rect">
            <a:avLst/>
          </a:prstGeom>
          <a:noFill/>
        </p:spPr>
        <p:txBody>
          <a:bodyPr wrap="none" rtlCol="0">
            <a:spAutoFit/>
          </a:bodyPr>
          <a:lstStyle/>
          <a:p>
            <a:r>
              <a:rPr lang="en-GB" dirty="0"/>
              <a:t>Distributor</a:t>
            </a:r>
            <a:endParaRPr lang="cs-CZ" dirty="0"/>
          </a:p>
        </p:txBody>
      </p:sp>
      <p:sp>
        <p:nvSpPr>
          <p:cNvPr id="42" name="Řečová bublina: obdélníkový bublinový popisek se zakulacenými rohy 41">
            <a:extLst>
              <a:ext uri="{FF2B5EF4-FFF2-40B4-BE49-F238E27FC236}">
                <a16:creationId xmlns:a16="http://schemas.microsoft.com/office/drawing/2014/main" id="{0D2AA3EA-8F5A-4BD4-BF9D-CC4ABBFE7EF3}"/>
              </a:ext>
            </a:extLst>
          </p:cNvPr>
          <p:cNvSpPr/>
          <p:nvPr/>
        </p:nvSpPr>
        <p:spPr>
          <a:xfrm>
            <a:off x="6522749" y="2582653"/>
            <a:ext cx="2256740" cy="450604"/>
          </a:xfrm>
          <a:prstGeom prst="wedgeRoundRectCallout">
            <a:avLst>
              <a:gd name="adj1" fmla="val 62108"/>
              <a:gd name="adj2" fmla="val -14983"/>
              <a:gd name="adj3" fmla="val 1666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400" i="1" dirty="0" err="1"/>
              <a:t>We</a:t>
            </a:r>
            <a:r>
              <a:rPr lang="cs-CZ" sz="1400" i="1" dirty="0"/>
              <a:t> </a:t>
            </a:r>
            <a:r>
              <a:rPr lang="cs-CZ" sz="1400" i="1" dirty="0" err="1"/>
              <a:t>were</a:t>
            </a:r>
            <a:r>
              <a:rPr lang="cs-CZ" sz="1400" i="1" dirty="0"/>
              <a:t> </a:t>
            </a:r>
            <a:r>
              <a:rPr lang="cs-CZ" sz="1400" i="1" dirty="0" err="1"/>
              <a:t>told</a:t>
            </a:r>
            <a:r>
              <a:rPr lang="cs-CZ" sz="1400" i="1" dirty="0"/>
              <a:t> to </a:t>
            </a:r>
            <a:r>
              <a:rPr lang="cs-CZ" sz="1400" i="1" dirty="0" err="1"/>
              <a:t>get</a:t>
            </a:r>
            <a:r>
              <a:rPr lang="cs-CZ" sz="1400" i="1" dirty="0"/>
              <a:t> </a:t>
            </a:r>
            <a:r>
              <a:rPr lang="en-GB" sz="1400" i="1" dirty="0"/>
              <a:t>AEC-Q200 </a:t>
            </a:r>
            <a:r>
              <a:rPr lang="en-GB" sz="1400" i="1" dirty="0" err="1"/>
              <a:t>datapack</a:t>
            </a:r>
            <a:r>
              <a:rPr lang="en-GB" sz="1400" i="1" dirty="0"/>
              <a:t> </a:t>
            </a:r>
            <a:r>
              <a:rPr lang="cs-CZ" sz="1400" i="1" dirty="0"/>
              <a:t>from </a:t>
            </a:r>
            <a:r>
              <a:rPr lang="cs-CZ" sz="1400" i="1" dirty="0" err="1"/>
              <a:t>you</a:t>
            </a:r>
            <a:r>
              <a:rPr lang="en-GB" sz="1400" i="1" dirty="0"/>
              <a:t> </a:t>
            </a:r>
            <a:r>
              <a:rPr lang="en-GB" sz="1400" dirty="0"/>
              <a:t>…</a:t>
            </a:r>
            <a:endParaRPr lang="cs-CZ" sz="1400" dirty="0"/>
          </a:p>
        </p:txBody>
      </p:sp>
      <p:sp>
        <p:nvSpPr>
          <p:cNvPr id="47" name="TextovéPole 46">
            <a:extLst>
              <a:ext uri="{FF2B5EF4-FFF2-40B4-BE49-F238E27FC236}">
                <a16:creationId xmlns:a16="http://schemas.microsoft.com/office/drawing/2014/main" id="{57BA76BA-9254-4992-BC78-FF80E557872C}"/>
              </a:ext>
            </a:extLst>
          </p:cNvPr>
          <p:cNvSpPr txBox="1"/>
          <p:nvPr/>
        </p:nvSpPr>
        <p:spPr>
          <a:xfrm>
            <a:off x="383721" y="1115958"/>
            <a:ext cx="2211311" cy="369332"/>
          </a:xfrm>
          <a:prstGeom prst="rect">
            <a:avLst/>
          </a:prstGeom>
          <a:noFill/>
        </p:spPr>
        <p:txBody>
          <a:bodyPr wrap="none" rtlCol="0">
            <a:spAutoFit/>
          </a:bodyPr>
          <a:lstStyle/>
          <a:p>
            <a:r>
              <a:rPr lang="en-US" dirty="0"/>
              <a:t>Email communication</a:t>
            </a:r>
          </a:p>
        </p:txBody>
      </p:sp>
      <p:sp>
        <p:nvSpPr>
          <p:cNvPr id="45" name="TextovéPole 44">
            <a:extLst>
              <a:ext uri="{FF2B5EF4-FFF2-40B4-BE49-F238E27FC236}">
                <a16:creationId xmlns:a16="http://schemas.microsoft.com/office/drawing/2014/main" id="{AD516978-E8A2-4CEA-B32D-A7B17A3FCF4A}"/>
              </a:ext>
            </a:extLst>
          </p:cNvPr>
          <p:cNvSpPr txBox="1"/>
          <p:nvPr/>
        </p:nvSpPr>
        <p:spPr>
          <a:xfrm>
            <a:off x="6921453" y="600996"/>
            <a:ext cx="5270545" cy="369332"/>
          </a:xfrm>
          <a:prstGeom prst="rect">
            <a:avLst/>
          </a:prstGeom>
          <a:noFill/>
        </p:spPr>
        <p:txBody>
          <a:bodyPr wrap="none" rtlCol="0">
            <a:spAutoFit/>
          </a:bodyPr>
          <a:lstStyle/>
          <a:p>
            <a:r>
              <a:rPr lang="en-GB" b="1" dirty="0" err="1">
                <a:solidFill>
                  <a:schemeClr val="bg1">
                    <a:lumMod val="85000"/>
                  </a:schemeClr>
                </a:solidFill>
              </a:rPr>
              <a:t>Datapack</a:t>
            </a:r>
            <a:r>
              <a:rPr lang="en-GB" b="1" dirty="0">
                <a:solidFill>
                  <a:schemeClr val="bg1">
                    <a:lumMod val="85000"/>
                  </a:schemeClr>
                </a:solidFill>
              </a:rPr>
              <a:t> Request – Communication – Manufacturers</a:t>
            </a:r>
            <a:endParaRPr lang="cs-CZ" b="1" dirty="0">
              <a:solidFill>
                <a:schemeClr val="bg1">
                  <a:lumMod val="85000"/>
                </a:schemeClr>
              </a:solidFill>
            </a:endParaRPr>
          </a:p>
        </p:txBody>
      </p:sp>
      <p:sp>
        <p:nvSpPr>
          <p:cNvPr id="48" name="TextovéPole 47">
            <a:extLst>
              <a:ext uri="{FF2B5EF4-FFF2-40B4-BE49-F238E27FC236}">
                <a16:creationId xmlns:a16="http://schemas.microsoft.com/office/drawing/2014/main" id="{B2B64215-F695-4A57-9935-F23B32A46CEA}"/>
              </a:ext>
            </a:extLst>
          </p:cNvPr>
          <p:cNvSpPr txBox="1"/>
          <p:nvPr/>
        </p:nvSpPr>
        <p:spPr>
          <a:xfrm>
            <a:off x="4359202" y="1678602"/>
            <a:ext cx="1567801" cy="369332"/>
          </a:xfrm>
          <a:prstGeom prst="rect">
            <a:avLst/>
          </a:prstGeom>
          <a:noFill/>
        </p:spPr>
        <p:txBody>
          <a:bodyPr wrap="none" rtlCol="0">
            <a:spAutoFit/>
          </a:bodyPr>
          <a:lstStyle/>
          <a:p>
            <a:r>
              <a:rPr lang="cs-CZ" dirty="0" err="1"/>
              <a:t>Manufacturers</a:t>
            </a:r>
            <a:endParaRPr lang="cs-CZ" dirty="0"/>
          </a:p>
        </p:txBody>
      </p:sp>
      <p:sp>
        <p:nvSpPr>
          <p:cNvPr id="49" name="Řečová bublina: oválný bublinový popisek 48">
            <a:extLst>
              <a:ext uri="{FF2B5EF4-FFF2-40B4-BE49-F238E27FC236}">
                <a16:creationId xmlns:a16="http://schemas.microsoft.com/office/drawing/2014/main" id="{FFDDDA73-1B79-4617-B31B-9E211C302E49}"/>
              </a:ext>
            </a:extLst>
          </p:cNvPr>
          <p:cNvSpPr/>
          <p:nvPr/>
        </p:nvSpPr>
        <p:spPr>
          <a:xfrm>
            <a:off x="4110804" y="2139912"/>
            <a:ext cx="2273495" cy="843206"/>
          </a:xfrm>
          <a:prstGeom prst="wedgeEllipseCallout">
            <a:avLst>
              <a:gd name="adj1" fmla="val -71813"/>
              <a:gd name="adj2" fmla="val 1838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100" dirty="0" err="1"/>
              <a:t>Supplier</a:t>
            </a:r>
            <a:r>
              <a:rPr lang="cs-CZ" sz="1100" dirty="0"/>
              <a:t> 3,5,6: „t</a:t>
            </a:r>
            <a:r>
              <a:rPr lang="en-US" sz="1100" dirty="0"/>
              <a:t>his kind of information shall be supported by the direct distributor</a:t>
            </a:r>
            <a:r>
              <a:rPr lang="cs-CZ" sz="1100" dirty="0"/>
              <a:t>“</a:t>
            </a:r>
            <a:endParaRPr lang="cs-CZ" sz="1100" i="1" dirty="0"/>
          </a:p>
        </p:txBody>
      </p:sp>
      <p:cxnSp>
        <p:nvCxnSpPr>
          <p:cNvPr id="51" name="Connecteur droit 9">
            <a:extLst>
              <a:ext uri="{FF2B5EF4-FFF2-40B4-BE49-F238E27FC236}">
                <a16:creationId xmlns:a16="http://schemas.microsoft.com/office/drawing/2014/main" id="{A546D5B6-E245-471E-9D5C-5E10C7DD001B}"/>
              </a:ext>
            </a:extLst>
          </p:cNvPr>
          <p:cNvCxnSpPr>
            <a:cxnSpLocks/>
          </p:cNvCxnSpPr>
          <p:nvPr/>
        </p:nvCxnSpPr>
        <p:spPr>
          <a:xfrm>
            <a:off x="9170007" y="2139912"/>
            <a:ext cx="0" cy="263845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2" name="Šipka: kruhová 51">
            <a:extLst>
              <a:ext uri="{FF2B5EF4-FFF2-40B4-BE49-F238E27FC236}">
                <a16:creationId xmlns:a16="http://schemas.microsoft.com/office/drawing/2014/main" id="{74B9D085-891D-449F-98F9-E73A979865BF}"/>
              </a:ext>
            </a:extLst>
          </p:cNvPr>
          <p:cNvSpPr/>
          <p:nvPr/>
        </p:nvSpPr>
        <p:spPr>
          <a:xfrm rot="19548439">
            <a:off x="5761660" y="1743004"/>
            <a:ext cx="1669352" cy="1509124"/>
          </a:xfrm>
          <a:prstGeom prst="circularArrow">
            <a:avLst>
              <a:gd name="adj1" fmla="val 12500"/>
              <a:gd name="adj2" fmla="val 1142319"/>
              <a:gd name="adj3" fmla="val 20457681"/>
              <a:gd name="adj4" fmla="val 16142121"/>
              <a:gd name="adj5" fmla="val 12500"/>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chemeClr val="tx1"/>
              </a:solidFill>
            </a:endParaRPr>
          </a:p>
        </p:txBody>
      </p:sp>
      <p:sp>
        <p:nvSpPr>
          <p:cNvPr id="53" name="TextovéPole 52">
            <a:extLst>
              <a:ext uri="{FF2B5EF4-FFF2-40B4-BE49-F238E27FC236}">
                <a16:creationId xmlns:a16="http://schemas.microsoft.com/office/drawing/2014/main" id="{6602EE53-2936-4D42-95C9-7C07D8475276}"/>
              </a:ext>
            </a:extLst>
          </p:cNvPr>
          <p:cNvSpPr txBox="1"/>
          <p:nvPr/>
        </p:nvSpPr>
        <p:spPr>
          <a:xfrm>
            <a:off x="2715851" y="1770580"/>
            <a:ext cx="596638" cy="369332"/>
          </a:xfrm>
          <a:prstGeom prst="rect">
            <a:avLst/>
          </a:prstGeom>
          <a:noFill/>
        </p:spPr>
        <p:txBody>
          <a:bodyPr wrap="none" rtlCol="0">
            <a:spAutoFit/>
          </a:bodyPr>
          <a:lstStyle/>
          <a:p>
            <a:r>
              <a:rPr lang="en-GB" dirty="0"/>
              <a:t>EPCI</a:t>
            </a:r>
            <a:endParaRPr lang="cs-CZ" dirty="0"/>
          </a:p>
        </p:txBody>
      </p:sp>
      <p:sp>
        <p:nvSpPr>
          <p:cNvPr id="54" name="TextovéPole 53">
            <a:extLst>
              <a:ext uri="{FF2B5EF4-FFF2-40B4-BE49-F238E27FC236}">
                <a16:creationId xmlns:a16="http://schemas.microsoft.com/office/drawing/2014/main" id="{ADEF07B8-097B-45ED-90C0-E319C972BAC0}"/>
              </a:ext>
            </a:extLst>
          </p:cNvPr>
          <p:cNvSpPr txBox="1"/>
          <p:nvPr/>
        </p:nvSpPr>
        <p:spPr>
          <a:xfrm>
            <a:off x="3461957" y="3087047"/>
            <a:ext cx="500458" cy="215444"/>
          </a:xfrm>
          <a:prstGeom prst="rect">
            <a:avLst/>
          </a:prstGeom>
          <a:noFill/>
        </p:spPr>
        <p:txBody>
          <a:bodyPr wrap="none" rtlCol="0">
            <a:spAutoFit/>
          </a:bodyPr>
          <a:lstStyle/>
          <a:p>
            <a:r>
              <a:rPr lang="cs-CZ" sz="800" dirty="0"/>
              <a:t>15</a:t>
            </a:r>
            <a:r>
              <a:rPr lang="en-GB" sz="800" dirty="0"/>
              <a:t> </a:t>
            </a:r>
            <a:r>
              <a:rPr lang="cs-CZ" sz="800" dirty="0" err="1"/>
              <a:t>days</a:t>
            </a:r>
            <a:endParaRPr lang="cs-CZ" sz="800" dirty="0"/>
          </a:p>
        </p:txBody>
      </p:sp>
      <p:sp>
        <p:nvSpPr>
          <p:cNvPr id="7" name="Vývojový diagram: alternativní postup 6">
            <a:extLst>
              <a:ext uri="{FF2B5EF4-FFF2-40B4-BE49-F238E27FC236}">
                <a16:creationId xmlns:a16="http://schemas.microsoft.com/office/drawing/2014/main" id="{4B31CA67-52A6-40C8-87E4-2143C5D6AB4A}"/>
              </a:ext>
            </a:extLst>
          </p:cNvPr>
          <p:cNvSpPr/>
          <p:nvPr/>
        </p:nvSpPr>
        <p:spPr>
          <a:xfrm>
            <a:off x="4100491" y="3247287"/>
            <a:ext cx="2047711" cy="428942"/>
          </a:xfrm>
          <a:prstGeom prst="flowChartAlternateProcess">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err="1"/>
              <a:t>Supplier</a:t>
            </a:r>
            <a:r>
              <a:rPr lang="cs-CZ" sz="1200" dirty="0"/>
              <a:t> 2 </a:t>
            </a:r>
            <a:r>
              <a:rPr lang="cs-CZ" sz="1200" dirty="0" err="1"/>
              <a:t>provided</a:t>
            </a:r>
            <a:r>
              <a:rPr lang="cs-CZ" sz="1200" dirty="0"/>
              <a:t> AEC-Q200 </a:t>
            </a:r>
            <a:r>
              <a:rPr lang="cs-CZ" sz="1200" dirty="0" err="1"/>
              <a:t>datapackage</a:t>
            </a:r>
            <a:endParaRPr lang="cs-CZ" sz="1200" dirty="0"/>
          </a:p>
        </p:txBody>
      </p:sp>
      <p:sp>
        <p:nvSpPr>
          <p:cNvPr id="55" name="TextovéPole 54">
            <a:extLst>
              <a:ext uri="{FF2B5EF4-FFF2-40B4-BE49-F238E27FC236}">
                <a16:creationId xmlns:a16="http://schemas.microsoft.com/office/drawing/2014/main" id="{A53D238E-0C40-4C44-B709-5CF816438C81}"/>
              </a:ext>
            </a:extLst>
          </p:cNvPr>
          <p:cNvSpPr txBox="1"/>
          <p:nvPr/>
        </p:nvSpPr>
        <p:spPr>
          <a:xfrm>
            <a:off x="3478112" y="3722648"/>
            <a:ext cx="500458" cy="215444"/>
          </a:xfrm>
          <a:prstGeom prst="rect">
            <a:avLst/>
          </a:prstGeom>
          <a:noFill/>
        </p:spPr>
        <p:txBody>
          <a:bodyPr wrap="none" rtlCol="0">
            <a:spAutoFit/>
          </a:bodyPr>
          <a:lstStyle/>
          <a:p>
            <a:r>
              <a:rPr lang="cs-CZ" sz="800" dirty="0"/>
              <a:t>30</a:t>
            </a:r>
            <a:r>
              <a:rPr lang="en-GB" sz="800" dirty="0"/>
              <a:t> </a:t>
            </a:r>
            <a:r>
              <a:rPr lang="cs-CZ" sz="800" dirty="0" err="1"/>
              <a:t>days</a:t>
            </a:r>
            <a:endParaRPr lang="cs-CZ" sz="800" dirty="0"/>
          </a:p>
        </p:txBody>
      </p:sp>
      <p:sp>
        <p:nvSpPr>
          <p:cNvPr id="56" name="Vývojový diagram: alternativní postup 55">
            <a:extLst>
              <a:ext uri="{FF2B5EF4-FFF2-40B4-BE49-F238E27FC236}">
                <a16:creationId xmlns:a16="http://schemas.microsoft.com/office/drawing/2014/main" id="{8037EDBA-F2BA-411B-B4C2-6E2F46D8B869}"/>
              </a:ext>
            </a:extLst>
          </p:cNvPr>
          <p:cNvSpPr/>
          <p:nvPr/>
        </p:nvSpPr>
        <p:spPr>
          <a:xfrm>
            <a:off x="4108614" y="4025656"/>
            <a:ext cx="2047711" cy="428942"/>
          </a:xfrm>
          <a:prstGeom prst="flowChartAlternateProcess">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err="1"/>
              <a:t>Supplier</a:t>
            </a:r>
            <a:r>
              <a:rPr lang="cs-CZ" sz="1200" dirty="0"/>
              <a:t> 1 </a:t>
            </a:r>
            <a:r>
              <a:rPr lang="cs-CZ" sz="1200" dirty="0" err="1"/>
              <a:t>provided</a:t>
            </a:r>
            <a:r>
              <a:rPr lang="cs-CZ" sz="1200" dirty="0"/>
              <a:t> AEC-Q200 </a:t>
            </a:r>
            <a:r>
              <a:rPr lang="cs-CZ" sz="1200" dirty="0" err="1"/>
              <a:t>datapackage</a:t>
            </a:r>
            <a:endParaRPr lang="cs-CZ" sz="1200" dirty="0"/>
          </a:p>
        </p:txBody>
      </p:sp>
      <p:sp>
        <p:nvSpPr>
          <p:cNvPr id="57" name="Vývojový diagram: alternativní postup 56">
            <a:extLst>
              <a:ext uri="{FF2B5EF4-FFF2-40B4-BE49-F238E27FC236}">
                <a16:creationId xmlns:a16="http://schemas.microsoft.com/office/drawing/2014/main" id="{D21305F6-635C-4F9A-90C0-A87E331F5867}"/>
              </a:ext>
            </a:extLst>
          </p:cNvPr>
          <p:cNvSpPr/>
          <p:nvPr/>
        </p:nvSpPr>
        <p:spPr>
          <a:xfrm>
            <a:off x="9477968" y="3726408"/>
            <a:ext cx="2047711" cy="568230"/>
          </a:xfrm>
          <a:prstGeom prst="flowChartAlternateProcess">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t>Distributor </a:t>
            </a:r>
            <a:r>
              <a:rPr lang="cs-CZ" sz="1200" dirty="0" err="1"/>
              <a:t>provided</a:t>
            </a:r>
            <a:r>
              <a:rPr lang="cs-CZ" sz="1200" dirty="0"/>
              <a:t> AEC-Q200 and </a:t>
            </a:r>
            <a:r>
              <a:rPr lang="cs-CZ" sz="1200" b="1" dirty="0"/>
              <a:t>PPAP</a:t>
            </a:r>
            <a:r>
              <a:rPr lang="cs-CZ" sz="1200" dirty="0"/>
              <a:t> </a:t>
            </a:r>
            <a:r>
              <a:rPr lang="cs-CZ" sz="1200" dirty="0" err="1"/>
              <a:t>datapackage</a:t>
            </a:r>
            <a:r>
              <a:rPr lang="cs-CZ" sz="1200" dirty="0"/>
              <a:t> from </a:t>
            </a:r>
            <a:r>
              <a:rPr lang="cs-CZ" sz="1200" dirty="0" err="1"/>
              <a:t>supplier</a:t>
            </a:r>
            <a:r>
              <a:rPr lang="cs-CZ" sz="1200" dirty="0"/>
              <a:t> 3 </a:t>
            </a:r>
          </a:p>
        </p:txBody>
      </p:sp>
      <p:sp>
        <p:nvSpPr>
          <p:cNvPr id="58" name="TextovéPole 57">
            <a:extLst>
              <a:ext uri="{FF2B5EF4-FFF2-40B4-BE49-F238E27FC236}">
                <a16:creationId xmlns:a16="http://schemas.microsoft.com/office/drawing/2014/main" id="{B228B4E6-189F-4375-9365-B26B6967ECBF}"/>
              </a:ext>
            </a:extLst>
          </p:cNvPr>
          <p:cNvSpPr txBox="1"/>
          <p:nvPr/>
        </p:nvSpPr>
        <p:spPr>
          <a:xfrm>
            <a:off x="9103126" y="3482291"/>
            <a:ext cx="500458" cy="215444"/>
          </a:xfrm>
          <a:prstGeom prst="rect">
            <a:avLst/>
          </a:prstGeom>
          <a:noFill/>
        </p:spPr>
        <p:txBody>
          <a:bodyPr wrap="none" rtlCol="0">
            <a:spAutoFit/>
          </a:bodyPr>
          <a:lstStyle/>
          <a:p>
            <a:r>
              <a:rPr lang="cs-CZ" sz="800" dirty="0"/>
              <a:t>15</a:t>
            </a:r>
            <a:r>
              <a:rPr lang="en-GB" sz="800" dirty="0"/>
              <a:t> </a:t>
            </a:r>
            <a:r>
              <a:rPr lang="cs-CZ" sz="800" dirty="0" err="1"/>
              <a:t>days</a:t>
            </a:r>
            <a:endParaRPr lang="cs-CZ" sz="800" dirty="0"/>
          </a:p>
        </p:txBody>
      </p:sp>
      <p:sp>
        <p:nvSpPr>
          <p:cNvPr id="59" name="TextovéPole 58">
            <a:extLst>
              <a:ext uri="{FF2B5EF4-FFF2-40B4-BE49-F238E27FC236}">
                <a16:creationId xmlns:a16="http://schemas.microsoft.com/office/drawing/2014/main" id="{777F1DF9-2E3E-49DB-9D37-FBCDA4E50E01}"/>
              </a:ext>
            </a:extLst>
          </p:cNvPr>
          <p:cNvSpPr txBox="1"/>
          <p:nvPr/>
        </p:nvSpPr>
        <p:spPr>
          <a:xfrm>
            <a:off x="9133784" y="4387766"/>
            <a:ext cx="500458" cy="215444"/>
          </a:xfrm>
          <a:prstGeom prst="rect">
            <a:avLst/>
          </a:prstGeom>
          <a:noFill/>
        </p:spPr>
        <p:txBody>
          <a:bodyPr wrap="none" rtlCol="0">
            <a:spAutoFit/>
          </a:bodyPr>
          <a:lstStyle/>
          <a:p>
            <a:r>
              <a:rPr lang="cs-CZ" sz="800" dirty="0"/>
              <a:t>30</a:t>
            </a:r>
            <a:r>
              <a:rPr lang="en-GB" sz="800" dirty="0"/>
              <a:t> </a:t>
            </a:r>
            <a:r>
              <a:rPr lang="cs-CZ" sz="800" dirty="0" err="1"/>
              <a:t>days</a:t>
            </a:r>
            <a:endParaRPr lang="cs-CZ" sz="800" dirty="0"/>
          </a:p>
        </p:txBody>
      </p:sp>
      <p:sp>
        <p:nvSpPr>
          <p:cNvPr id="60" name="Vývojový diagram: alternativní postup 59">
            <a:extLst>
              <a:ext uri="{FF2B5EF4-FFF2-40B4-BE49-F238E27FC236}">
                <a16:creationId xmlns:a16="http://schemas.microsoft.com/office/drawing/2014/main" id="{B07D2F61-72F9-4D85-8BB8-952833CA505E}"/>
              </a:ext>
            </a:extLst>
          </p:cNvPr>
          <p:cNvSpPr/>
          <p:nvPr/>
        </p:nvSpPr>
        <p:spPr>
          <a:xfrm>
            <a:off x="9476619" y="4603061"/>
            <a:ext cx="2047711" cy="568230"/>
          </a:xfrm>
          <a:prstGeom prst="flowChartAlternateProcess">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t>Distributor </a:t>
            </a:r>
            <a:r>
              <a:rPr lang="cs-CZ" sz="1200" dirty="0" err="1"/>
              <a:t>informed</a:t>
            </a:r>
            <a:r>
              <a:rPr lang="cs-CZ" sz="1200" dirty="0"/>
              <a:t> </a:t>
            </a:r>
            <a:r>
              <a:rPr lang="cs-CZ" sz="1200" dirty="0" err="1"/>
              <a:t>us</a:t>
            </a:r>
            <a:r>
              <a:rPr lang="cs-CZ" sz="1200" dirty="0"/>
              <a:t> </a:t>
            </a:r>
            <a:r>
              <a:rPr lang="cs-CZ" sz="1200" dirty="0" err="1"/>
              <a:t>that</a:t>
            </a:r>
            <a:r>
              <a:rPr lang="cs-CZ" sz="1200" dirty="0"/>
              <a:t> </a:t>
            </a:r>
            <a:r>
              <a:rPr lang="cs-CZ" sz="1200" dirty="0" err="1"/>
              <a:t>Suppliers</a:t>
            </a:r>
            <a:r>
              <a:rPr lang="cs-CZ" sz="1200" dirty="0"/>
              <a:t> 4,5,6 </a:t>
            </a:r>
            <a:r>
              <a:rPr lang="cs-CZ" sz="1200" dirty="0" err="1"/>
              <a:t>refused</a:t>
            </a:r>
            <a:r>
              <a:rPr lang="cs-CZ" sz="1200" dirty="0"/>
              <a:t> to support </a:t>
            </a:r>
            <a:r>
              <a:rPr lang="cs-CZ" sz="1200" dirty="0" err="1"/>
              <a:t>this</a:t>
            </a:r>
            <a:r>
              <a:rPr lang="cs-CZ" sz="1200" dirty="0"/>
              <a:t> </a:t>
            </a:r>
            <a:r>
              <a:rPr lang="cs-CZ" sz="1200" dirty="0" err="1"/>
              <a:t>request</a:t>
            </a:r>
            <a:endParaRPr lang="cs-CZ" sz="1200" dirty="0"/>
          </a:p>
        </p:txBody>
      </p:sp>
      <p:pic>
        <p:nvPicPr>
          <p:cNvPr id="2" name="Obrázek 1">
            <a:extLst>
              <a:ext uri="{FF2B5EF4-FFF2-40B4-BE49-F238E27FC236}">
                <a16:creationId xmlns:a16="http://schemas.microsoft.com/office/drawing/2014/main" id="{1580415E-9C19-413E-AB3E-356AB99D0121}"/>
              </a:ext>
            </a:extLst>
          </p:cNvPr>
          <p:cNvPicPr>
            <a:picLocks noChangeAspect="1"/>
          </p:cNvPicPr>
          <p:nvPr/>
        </p:nvPicPr>
        <p:blipFill>
          <a:blip r:embed="rId5"/>
          <a:stretch>
            <a:fillRect/>
          </a:stretch>
        </p:blipFill>
        <p:spPr>
          <a:xfrm>
            <a:off x="805037" y="5147372"/>
            <a:ext cx="7757160" cy="1120140"/>
          </a:xfrm>
          <a:prstGeom prst="rect">
            <a:avLst/>
          </a:prstGeom>
        </p:spPr>
      </p:pic>
      <p:sp>
        <p:nvSpPr>
          <p:cNvPr id="43" name="Zástupný symbol pro zápatí 2">
            <a:extLst>
              <a:ext uri="{FF2B5EF4-FFF2-40B4-BE49-F238E27FC236}">
                <a16:creationId xmlns:a16="http://schemas.microsoft.com/office/drawing/2014/main" id="{0FEC672C-8050-4781-9355-930E297667CD}"/>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6" name="Zvuk 5">
            <a:hlinkClick r:id="" action="ppaction://media"/>
            <a:extLst>
              <a:ext uri="{FF2B5EF4-FFF2-40B4-BE49-F238E27FC236}">
                <a16:creationId xmlns:a16="http://schemas.microsoft.com/office/drawing/2014/main" id="{0C60E1C2-536B-4844-BC0B-54FE0BB98926}"/>
              </a:ext>
            </a:extLst>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558615066"/>
      </p:ext>
    </p:extLst>
  </p:cSld>
  <p:clrMapOvr>
    <a:masterClrMapping/>
  </p:clrMapOvr>
  <mc:AlternateContent xmlns:mc="http://schemas.openxmlformats.org/markup-compatibility/2006">
    <mc:Choice xmlns:p14="http://schemas.microsoft.com/office/powerpoint/2010/main" Requires="p14">
      <p:transition spd="slow" p14:dur="2000" advTm="53949"/>
    </mc:Choice>
    <mc:Fallback>
      <p:transition spd="slow" advTm="5394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extLst>
    <p:ext uri="{3A86A75C-4F4B-4683-9AE1-C65F6400EC91}">
      <p14:laserTraceLst xmlns:p14="http://schemas.microsoft.com/office/powerpoint/2010/main">
        <p14:tracePtLst>
          <p14:tracePt t="31686" x="12147550" y="3687763"/>
          <p14:tracePt t="31688" x="12107863" y="3695700"/>
          <p14:tracePt t="31689" x="12091988" y="3703638"/>
          <p14:tracePt t="31691" x="12055475" y="3711575"/>
          <p14:tracePt t="31693" x="12015788" y="3722688"/>
          <p14:tracePt t="31694" x="11999913" y="3727450"/>
          <p14:tracePt t="31694" x="11979275" y="3730625"/>
          <p14:tracePt t="31695" x="11960225" y="3735388"/>
          <p14:tracePt t="31698" x="11918950" y="3746500"/>
          <p14:tracePt t="31699" x="11899900" y="3751263"/>
          <p14:tracePt t="31700" x="11887200" y="3756025"/>
          <p14:tracePt t="31701" x="11868150" y="3759200"/>
          <p14:tracePt t="31704" x="11807825" y="3775075"/>
          <p14:tracePt t="31704" x="11791950" y="3779838"/>
          <p14:tracePt t="31705" x="11779250" y="3783013"/>
          <p14:tracePt t="31706" x="11752263" y="3783013"/>
          <p14:tracePt t="31707" x="11739563" y="3790950"/>
          <p14:tracePt t="31708" x="11723688" y="3795713"/>
          <p14:tracePt t="31709" x="11710988" y="3798888"/>
          <p14:tracePt t="31710" x="11695113" y="3803650"/>
          <p14:tracePt t="31711" x="11684000" y="3806825"/>
          <p14:tracePt t="31714" x="11642725" y="3819525"/>
          <p14:tracePt t="31715" x="11626850" y="3822700"/>
          <p14:tracePt t="31716" x="11615738" y="3827463"/>
          <p14:tracePt t="31717" x="11595100" y="3830638"/>
          <p14:tracePt t="31718" x="11571288" y="3835400"/>
          <p14:tracePt t="31719" x="11558588" y="3843338"/>
          <p14:tracePt t="31720" x="11542713" y="3848100"/>
          <p14:tracePt t="31722" x="11531600" y="3851275"/>
          <p14:tracePt t="31722" x="11515725" y="3856038"/>
          <p14:tracePt t="31724" x="11507788" y="3856038"/>
          <p14:tracePt t="31724" x="11491913" y="3859213"/>
          <p14:tracePt t="31726" x="11483975" y="3863975"/>
          <p14:tracePt t="31726" x="11471275" y="3871913"/>
          <p14:tracePt t="31727" x="11455400" y="3875088"/>
          <p14:tracePt t="31729" x="11447463" y="3875088"/>
          <p14:tracePt t="31730" x="11439525" y="3879850"/>
          <p14:tracePt t="31731" x="11431588" y="3883025"/>
          <p14:tracePt t="31731" x="11415713" y="3883025"/>
          <p14:tracePt t="31734" x="11391900" y="3890963"/>
          <p14:tracePt t="31735" x="11383963" y="3895725"/>
          <p14:tracePt t="31736" x="11374438" y="3898900"/>
          <p14:tracePt t="31737" x="11366500" y="3898900"/>
          <p14:tracePt t="31738" x="11355388" y="3903663"/>
          <p14:tracePt t="31739" x="11347450" y="3903663"/>
          <p14:tracePt t="31740" x="11342688" y="3906838"/>
          <p14:tracePt t="31741" x="11334750" y="3911600"/>
          <p14:tracePt t="31742" x="11326813" y="3911600"/>
          <p14:tracePt t="31743" x="11323638" y="3914775"/>
          <p14:tracePt t="31744" x="11318875" y="3914775"/>
          <p14:tracePt t="31745" x="11315700" y="3919538"/>
          <p14:tracePt t="31747" x="11303000" y="3922713"/>
          <p14:tracePt t="31748" x="11295063" y="3922713"/>
          <p14:tracePt t="31750" x="11287125" y="3927475"/>
          <p14:tracePt t="31751" x="11282363" y="3930650"/>
          <p14:tracePt t="31752" x="11279188" y="3930650"/>
          <p14:tracePt t="31753" x="11274425" y="3935413"/>
          <p14:tracePt t="31754" x="11271250" y="3935413"/>
          <p14:tracePt t="31755" x="11266488" y="3940175"/>
          <p14:tracePt t="31757" x="11263313" y="3940175"/>
          <p14:tracePt t="31759" x="11258550" y="3943350"/>
          <p14:tracePt t="31761" x="11255375" y="3943350"/>
          <p14:tracePt t="31765" x="11250613" y="3943350"/>
          <p14:tracePt t="31767" x="11250613" y="3948113"/>
          <p14:tracePt t="31875" x="11255375" y="3948113"/>
          <p14:tracePt t="31877" x="11258550" y="3948113"/>
          <p14:tracePt t="31879" x="11263313" y="3948113"/>
          <p14:tracePt t="31881" x="11266488" y="3948113"/>
          <p14:tracePt t="31882" x="11271250" y="3948113"/>
          <p14:tracePt t="31882" x="11274425" y="3948113"/>
          <p14:tracePt t="31883" x="11282363" y="3951288"/>
          <p14:tracePt t="31898" x="11439525" y="3990975"/>
          <p14:tracePt t="31899" x="11447463" y="3995738"/>
          <p14:tracePt t="31900" x="11463338" y="3995738"/>
          <p14:tracePt t="31902" x="11476038" y="3998913"/>
          <p14:tracePt t="31902" x="11491913" y="4006850"/>
          <p14:tracePt t="31904" x="11503025" y="4014788"/>
          <p14:tracePt t="31906" x="11534775" y="4032250"/>
          <p14:tracePt t="31907" x="11555413" y="4043363"/>
          <p14:tracePt t="31908" x="11563350" y="4048125"/>
          <p14:tracePt t="31909" x="11576050" y="4051300"/>
          <p14:tracePt t="31910" x="11583988" y="4059238"/>
          <p14:tracePt t="31911" x="11591925" y="4064000"/>
          <p14:tracePt t="31913" x="11615738" y="4083050"/>
          <p14:tracePt t="31914" x="11623675" y="4090988"/>
          <p14:tracePt t="31915" x="11631613" y="4095750"/>
          <p14:tracePt t="31916" x="11642725" y="4106863"/>
          <p14:tracePt t="31918" x="11652250" y="4116388"/>
          <p14:tracePt t="31919" x="11660188" y="4124325"/>
          <p14:tracePt t="31921" x="11668125" y="4135438"/>
          <p14:tracePt t="31921" x="11676063" y="4143375"/>
          <p14:tracePt t="31922" x="11687175" y="4156075"/>
          <p14:tracePt t="31923" x="11691938" y="4164013"/>
          <p14:tracePt t="31924" x="11695113" y="4171950"/>
          <p14:tracePt t="31925" x="11699875" y="4179888"/>
          <p14:tracePt t="31926" x="11703050" y="4187825"/>
          <p14:tracePt t="31927" x="11707813" y="4203700"/>
          <p14:tracePt t="31928" x="11710988" y="4208463"/>
          <p14:tracePt t="31930" x="11715750" y="4216400"/>
          <p14:tracePt t="31931" x="11718925" y="4224338"/>
          <p14:tracePt t="31931" x="11723688" y="4232275"/>
          <p14:tracePt t="31934" x="11726863" y="4256088"/>
          <p14:tracePt t="31935" x="11734800" y="4264025"/>
          <p14:tracePt t="31936" x="11734800" y="4271963"/>
          <p14:tracePt t="31936" x="11739563" y="4279900"/>
          <p14:tracePt t="31937" x="11739563" y="4295775"/>
          <p14:tracePt t="31938" x="11744325" y="4303713"/>
          <p14:tracePt t="31939" x="11744325" y="4311650"/>
          <p14:tracePt t="31940" x="11747500" y="4319588"/>
          <p14:tracePt t="31941" x="11747500" y="4327525"/>
          <p14:tracePt t="31942" x="11752263" y="4335463"/>
          <p14:tracePt t="31943" x="11752263" y="4343400"/>
          <p14:tracePt t="31944" x="11752263" y="4351338"/>
          <p14:tracePt t="31945" x="11752263" y="4359275"/>
          <p14:tracePt t="31947" x="11752263" y="4375150"/>
          <p14:tracePt t="31948" x="11752263" y="4383088"/>
          <p14:tracePt t="31949" x="11752263" y="4392613"/>
          <p14:tracePt t="31951" x="11755438" y="4416425"/>
          <p14:tracePt t="31953" x="11760200" y="4424363"/>
          <p14:tracePt t="31953" x="11760200" y="4432300"/>
          <p14:tracePt t="31954" x="11760200" y="4440238"/>
          <p14:tracePt t="31955" x="11760200" y="4451350"/>
          <p14:tracePt t="31956" x="11763375" y="4459288"/>
          <p14:tracePt t="31957" x="11763375" y="4467225"/>
          <p14:tracePt t="31958" x="11763375" y="4475163"/>
          <p14:tracePt t="31959" x="11763375" y="4479925"/>
          <p14:tracePt t="31960" x="11763375" y="4487863"/>
          <p14:tracePt t="31961" x="11768138" y="4495800"/>
          <p14:tracePt t="31963" x="11768138" y="4508500"/>
          <p14:tracePt t="31966" x="11768138" y="4516438"/>
          <p14:tracePt t="31967" x="11771313" y="4524375"/>
          <p14:tracePt t="31969" x="11771313" y="4527550"/>
          <p14:tracePt t="31969" x="11771313" y="4532313"/>
          <p14:tracePt t="31970" x="11776075" y="4535488"/>
          <p14:tracePt t="31971" x="11776075" y="4540250"/>
          <p14:tracePt t="31972" x="11776075" y="4543425"/>
          <p14:tracePt t="31973" x="11776075" y="4548188"/>
          <p14:tracePt t="31974" x="11779250" y="4551363"/>
          <p14:tracePt t="31975" x="11779250" y="4556125"/>
          <p14:tracePt t="31976" x="11779250" y="4559300"/>
          <p14:tracePt t="31979" x="11779250" y="4564063"/>
          <p14:tracePt t="31980" x="11784013" y="4564063"/>
          <p14:tracePt t="31982" x="11787188" y="4567238"/>
          <p14:tracePt t="31986" x="11787188" y="4572000"/>
          <p14:tracePt t="31987" x="11791950" y="4576763"/>
          <p14:tracePt t="31995" x="11791950" y="4579938"/>
          <p14:tracePt t="32111" x="11795125" y="4579938"/>
          <p14:tracePt t="43289" x="11799888" y="4579938"/>
          <p14:tracePt t="43292" x="11803063" y="4579938"/>
          <p14:tracePt t="43295" x="11807825" y="4579938"/>
          <p14:tracePt t="43300" x="11811000" y="4579938"/>
          <p14:tracePt t="43302" x="11815763" y="4579938"/>
          <p14:tracePt t="43303" x="11818938" y="4579938"/>
          <p14:tracePt t="43305" x="11823700" y="4579938"/>
          <p14:tracePt t="43307" x="11826875" y="4579938"/>
          <p14:tracePt t="43312" x="11831638" y="4579938"/>
          <p14:tracePt t="43314" x="11836400" y="4579938"/>
          <p14:tracePt t="43317" x="11839575" y="4579938"/>
          <p14:tracePt t="43319" x="11844338" y="4579938"/>
          <p14:tracePt t="43322" x="11847513" y="4579938"/>
          <p14:tracePt t="43327" x="11852275" y="4576763"/>
          <p14:tracePt t="43331" x="11855450" y="4576763"/>
          <p14:tracePt t="43332" x="11860213" y="4576763"/>
          <p14:tracePt t="43335" x="11863388" y="4576763"/>
          <p14:tracePt t="43338" x="11868150" y="4576763"/>
          <p14:tracePt t="43342" x="11871325" y="4576763"/>
          <p14:tracePt t="43343" x="11876088" y="4572000"/>
          <p14:tracePt t="43345" x="11879263" y="4572000"/>
          <p14:tracePt t="43348" x="11884025" y="4572000"/>
          <p14:tracePt t="43349" x="11887200" y="4572000"/>
          <p14:tracePt t="43352" x="11891963" y="4572000"/>
          <p14:tracePt t="43353" x="11895138" y="4572000"/>
          <p14:tracePt t="43355" x="11899900" y="4572000"/>
          <p14:tracePt t="43356" x="11903075" y="4572000"/>
          <p14:tracePt t="43357" x="11907838" y="4572000"/>
          <p14:tracePt t="43359" x="11911013" y="4572000"/>
          <p14:tracePt t="43360" x="11915775" y="4572000"/>
          <p14:tracePt t="43362" x="11918950" y="4572000"/>
          <p14:tracePt t="43364" x="11923713" y="4572000"/>
          <p14:tracePt t="43365" x="11928475" y="4572000"/>
          <p14:tracePt t="43369" x="11931650" y="4572000"/>
          <p14:tracePt t="43370" x="11936413" y="4572000"/>
          <p14:tracePt t="43371" x="11939588" y="4572000"/>
          <p14:tracePt t="43373" x="11944350" y="4572000"/>
          <p14:tracePt t="43376" x="11947525" y="4572000"/>
          <p14:tracePt t="43377" x="11952288" y="4572000"/>
          <p14:tracePt t="43381" x="11955463" y="4572000"/>
          <p14:tracePt t="43382" x="11960225" y="4572000"/>
          <p14:tracePt t="43385" x="11963400" y="4572000"/>
          <p14:tracePt t="43388" x="11968163" y="4576763"/>
          <p14:tracePt t="43395" x="11971338" y="4576763"/>
          <p14:tracePt t="43396" x="11971338" y="4579938"/>
          <p14:tracePt t="43400" x="11976100" y="4584700"/>
          <p14:tracePt t="43408" x="11979275" y="4587875"/>
          <p14:tracePt t="43411" x="11979275" y="4592638"/>
          <p14:tracePt t="43414" x="11984038" y="4595813"/>
          <p14:tracePt t="43417" x="11984038" y="4600575"/>
          <p14:tracePt t="43421" x="11984038" y="4603750"/>
          <p14:tracePt t="43424" x="11987213" y="4603750"/>
          <p14:tracePt t="43425" x="11987213" y="4608513"/>
          <p14:tracePt t="43427" x="11987213" y="4611688"/>
          <p14:tracePt t="43429" x="11987213" y="4616450"/>
          <p14:tracePt t="43431" x="11987213" y="4619625"/>
          <p14:tracePt t="43433" x="11987213" y="4624388"/>
          <p14:tracePt t="43434" x="11987213" y="4627563"/>
          <p14:tracePt t="43436" x="11987213" y="4632325"/>
          <p14:tracePt t="43437" x="11987213" y="4635500"/>
          <p14:tracePt t="43438" x="11987213" y="4640263"/>
          <p14:tracePt t="43439" x="11987213" y="4643438"/>
          <p14:tracePt t="43442" x="11987213" y="4648200"/>
          <p14:tracePt t="43443" x="11987213" y="4651375"/>
          <p14:tracePt t="43444" x="11987213" y="4656138"/>
          <p14:tracePt t="43445" x="11987213" y="4659313"/>
          <p14:tracePt t="43446" x="11987213" y="4664075"/>
          <p14:tracePt t="43448" x="11987213" y="4672013"/>
          <p14:tracePt t="43448" x="11987213" y="4676775"/>
          <p14:tracePt t="43449" x="11987213" y="4679950"/>
          <p14:tracePt t="43450" x="11984038" y="4687888"/>
          <p14:tracePt t="43452" x="11984038" y="4692650"/>
          <p14:tracePt t="43452" x="11984038" y="4695825"/>
          <p14:tracePt t="43453" x="11979275" y="4700588"/>
          <p14:tracePt t="43454" x="11979275" y="4703763"/>
          <p14:tracePt t="43455" x="11976100" y="4708525"/>
          <p14:tracePt t="43456" x="11976100" y="4711700"/>
          <p14:tracePt t="43457" x="11976100" y="4719638"/>
          <p14:tracePt t="43458" x="11971338" y="4727575"/>
          <p14:tracePt t="43459" x="11971338" y="4732338"/>
          <p14:tracePt t="43460" x="11968163" y="4735513"/>
          <p14:tracePt t="43461" x="11968163" y="4743450"/>
          <p14:tracePt t="43462" x="11963400" y="4748213"/>
          <p14:tracePt t="43464" x="11960225" y="4764088"/>
          <p14:tracePt t="43465" x="11960225" y="4768850"/>
          <p14:tracePt t="43466" x="11955463" y="4776788"/>
          <p14:tracePt t="43467" x="11952288" y="4779963"/>
          <p14:tracePt t="43468" x="11952288" y="4787900"/>
          <p14:tracePt t="43469" x="11947525" y="4795838"/>
          <p14:tracePt t="43470" x="11944350" y="4800600"/>
          <p14:tracePt t="43471" x="11944350" y="4808538"/>
          <p14:tracePt t="43472" x="11939588" y="4811713"/>
          <p14:tracePt t="43473" x="11936413" y="4819650"/>
          <p14:tracePt t="43474" x="11931650" y="4827588"/>
          <p14:tracePt t="43475" x="11931650" y="4832350"/>
          <p14:tracePt t="43476" x="11928475" y="4840288"/>
          <p14:tracePt t="43477" x="11923713" y="4848225"/>
          <p14:tracePt t="43478" x="11918950" y="4856163"/>
          <p14:tracePt t="43479" x="11915775" y="4860925"/>
          <p14:tracePt t="43481" x="11907838" y="4872038"/>
          <p14:tracePt t="43482" x="11907838" y="4879975"/>
          <p14:tracePt t="43483" x="11899900" y="4887913"/>
          <p14:tracePt t="43484" x="11899900" y="4895850"/>
          <p14:tracePt t="43485" x="11895138" y="4900613"/>
          <p14:tracePt t="43486" x="11891963" y="4908550"/>
          <p14:tracePt t="43487" x="11887200" y="4919663"/>
          <p14:tracePt t="43488" x="11879263" y="4927600"/>
          <p14:tracePt t="43489" x="11879263" y="4932363"/>
          <p14:tracePt t="43490" x="11876088" y="4940300"/>
          <p14:tracePt t="43491" x="11871325" y="4948238"/>
          <p14:tracePt t="43492" x="11860213" y="4956175"/>
          <p14:tracePt t="43493" x="11860213" y="4960938"/>
          <p14:tracePt t="43494" x="11855450" y="4968875"/>
          <p14:tracePt t="43495" x="11852275" y="4972050"/>
          <p14:tracePt t="43496" x="11847513" y="4979988"/>
          <p14:tracePt t="43498" x="11844338" y="4987925"/>
          <p14:tracePt t="43499" x="11831638" y="4995863"/>
          <p14:tracePt t="43500" x="11826875" y="5000625"/>
          <p14:tracePt t="43501" x="11823700" y="5008563"/>
          <p14:tracePt t="43501" x="11818938" y="5019675"/>
          <p14:tracePt t="43502" x="11815763" y="5019675"/>
          <p14:tracePt t="43503" x="11811000" y="5027613"/>
          <p14:tracePt t="43504" x="11807825" y="5032375"/>
          <p14:tracePt t="43505" x="11803063" y="5040313"/>
          <p14:tracePt t="43506" x="11795125" y="5045075"/>
          <p14:tracePt t="43507" x="11791950" y="5048250"/>
          <p14:tracePt t="43508" x="11787188" y="5056188"/>
          <p14:tracePt t="43509" x="11784013" y="5060950"/>
          <p14:tracePt t="43510" x="11779250" y="5064125"/>
          <p14:tracePt t="43511" x="11779250" y="5068888"/>
          <p14:tracePt t="43512" x="11776075" y="5076825"/>
          <p14:tracePt t="43514" x="11768138" y="5084763"/>
          <p14:tracePt t="43515" x="11763375" y="5087938"/>
          <p14:tracePt t="43517" x="11760200" y="5092700"/>
          <p14:tracePt t="43518" x="11752263" y="5095875"/>
          <p14:tracePt t="43518" x="11747500" y="5095875"/>
          <p14:tracePt t="43519" x="11744325" y="5100638"/>
          <p14:tracePt t="43520" x="11744325" y="5103813"/>
          <p14:tracePt t="43521" x="11739563" y="5108575"/>
          <p14:tracePt t="43522" x="11734800" y="5108575"/>
          <p14:tracePt t="43523" x="11731625" y="5108575"/>
          <p14:tracePt t="43524" x="11731625" y="5111750"/>
          <p14:tracePt t="43525" x="11726863" y="5111750"/>
          <p14:tracePt t="43526" x="11726863" y="5116513"/>
          <p14:tracePt t="43527" x="11723688" y="5119688"/>
          <p14:tracePt t="43529" x="11718925" y="5124450"/>
          <p14:tracePt t="43531" x="11715750" y="5124450"/>
          <p14:tracePt t="43533" x="11710988" y="5129213"/>
          <p14:tracePt t="43535" x="11707813" y="5132388"/>
          <p14:tracePt t="43537" x="11703050" y="5132388"/>
          <p14:tracePt t="43538" x="11703050" y="5137150"/>
          <p14:tracePt t="43541" x="11699875" y="5137150"/>
          <p14:tracePt t="43542" x="11699875" y="5140325"/>
          <p14:tracePt t="43543" x="11695113" y="5140325"/>
          <p14:tracePt t="43545" x="11691938" y="5140325"/>
          <p14:tracePt t="43548" x="11687175" y="5145088"/>
          <p14:tracePt t="43550" x="11687175" y="5148263"/>
          <p14:tracePt t="43553" x="11684000" y="5148263"/>
          <p14:tracePt t="43555" x="11679238" y="5153025"/>
          <p14:tracePt t="43556" x="11676063" y="5153025"/>
          <p14:tracePt t="43557" x="11671300" y="5153025"/>
          <p14:tracePt t="43558" x="11671300" y="5156200"/>
          <p14:tracePt t="43559" x="11668125" y="5156200"/>
          <p14:tracePt t="43560" x="11668125" y="5160963"/>
          <p14:tracePt t="43561" x="11663363" y="5160963"/>
          <p14:tracePt t="43562" x="11660188" y="5164138"/>
          <p14:tracePt t="43564" x="11655425" y="5168900"/>
          <p14:tracePt t="43565" x="11652250" y="5172075"/>
          <p14:tracePt t="43566" x="11647488" y="5172075"/>
          <p14:tracePt t="43567" x="11647488" y="5176838"/>
          <p14:tracePt t="43569" x="11642725" y="5180013"/>
          <p14:tracePt t="43570" x="11639550" y="5184775"/>
          <p14:tracePt t="43571" x="11634788" y="5184775"/>
          <p14:tracePt t="43572" x="11631613" y="5187950"/>
          <p14:tracePt t="43573" x="11626850" y="5187950"/>
          <p14:tracePt t="43574" x="11623675" y="5187950"/>
          <p14:tracePt t="43575" x="11618913" y="5192713"/>
          <p14:tracePt t="43576" x="11615738" y="5195888"/>
          <p14:tracePt t="43577" x="11610975" y="5200650"/>
          <p14:tracePt t="43578" x="11607800" y="5203825"/>
          <p14:tracePt t="43579" x="11607800" y="5208588"/>
          <p14:tracePt t="43581" x="11603038" y="5208588"/>
          <p14:tracePt t="43582" x="11595100" y="5213350"/>
          <p14:tracePt t="43583" x="11591925" y="5216525"/>
          <p14:tracePt t="43583" x="11587163" y="5221288"/>
          <p14:tracePt t="43585" x="11583988" y="5224463"/>
          <p14:tracePt t="43585" x="11579225" y="5229225"/>
          <p14:tracePt t="43586" x="11571288" y="5237163"/>
          <p14:tracePt t="43587" x="11568113" y="5240338"/>
          <p14:tracePt t="43588" x="11558588" y="5240338"/>
          <p14:tracePt t="43589" x="11555413" y="5240338"/>
          <p14:tracePt t="43590" x="11547475" y="5253038"/>
          <p14:tracePt t="43591" x="11542713" y="5253038"/>
          <p14:tracePt t="43592" x="11534775" y="5256213"/>
          <p14:tracePt t="43593" x="11531600" y="5256213"/>
          <p14:tracePt t="43594" x="11526838" y="5264150"/>
          <p14:tracePt t="43595" x="11518900" y="5264150"/>
          <p14:tracePt t="43597" x="11510963" y="5276850"/>
          <p14:tracePt t="43598" x="11499850" y="5284788"/>
          <p14:tracePt t="43599" x="11495088" y="5287963"/>
          <p14:tracePt t="43601" x="11487150" y="5292725"/>
          <p14:tracePt t="43601" x="11479213" y="5295900"/>
          <p14:tracePt t="43602" x="11476038" y="5295900"/>
          <p14:tracePt t="43603" x="11466513" y="5300663"/>
          <p14:tracePt t="43604" x="11463338" y="5305425"/>
          <p14:tracePt t="43605" x="11458575" y="5305425"/>
          <p14:tracePt t="43606" x="11450638" y="5308600"/>
          <p14:tracePt t="43607" x="11442700" y="5316538"/>
          <p14:tracePt t="43608" x="11439525" y="5316538"/>
          <p14:tracePt t="43609" x="11434763" y="5316538"/>
          <p14:tracePt t="43610" x="11426825" y="5321300"/>
          <p14:tracePt t="43611" x="11418888" y="5329238"/>
          <p14:tracePt t="43612" x="11415713" y="5329238"/>
          <p14:tracePt t="43614" x="11403013" y="5332413"/>
          <p14:tracePt t="43615" x="11399838" y="5337175"/>
          <p14:tracePt t="43617" x="11391900" y="5340350"/>
          <p14:tracePt t="43618" x="11387138" y="5345113"/>
          <p14:tracePt t="43618" x="11383963" y="5345113"/>
          <p14:tracePt t="43619" x="11383963" y="5348288"/>
          <p14:tracePt t="43620" x="11379200" y="5348288"/>
          <p14:tracePt t="43621" x="11374438" y="5353050"/>
          <p14:tracePt t="43622" x="11366500" y="5356225"/>
          <p14:tracePt t="43623" x="11363325" y="5356225"/>
          <p14:tracePt t="43624" x="11358563" y="5360988"/>
          <p14:tracePt t="43626" x="11355388" y="5364163"/>
          <p14:tracePt t="43627" x="11350625" y="5364163"/>
          <p14:tracePt t="43628" x="11347450" y="5364163"/>
          <p14:tracePt t="43629" x="11347450" y="5368925"/>
          <p14:tracePt t="43631" x="11339513" y="5368925"/>
          <p14:tracePt t="43631" x="11334750" y="5368925"/>
          <p14:tracePt t="43632" x="11334750" y="5372100"/>
          <p14:tracePt t="43634" x="11331575" y="5372100"/>
          <p14:tracePt t="43635" x="11331575" y="5376863"/>
          <p14:tracePt t="43636" x="11326813" y="5376863"/>
          <p14:tracePt t="43639" x="11323638" y="5376863"/>
          <p14:tracePt t="43641" x="11318875" y="5376863"/>
          <p14:tracePt t="43642" x="11318875" y="5380038"/>
          <p14:tracePt t="44306" x="11315700" y="5380038"/>
          <p14:tracePt t="44309" x="11310938" y="5380038"/>
          <p14:tracePt t="44313" x="11299825" y="5380038"/>
          <p14:tracePt t="44316" x="11291888" y="5384800"/>
          <p14:tracePt t="44319" x="11287125" y="5384800"/>
          <p14:tracePt t="44321" x="11279188" y="5384800"/>
          <p14:tracePt t="44323" x="11271250" y="5384800"/>
          <p14:tracePt t="44325" x="11263313" y="5384800"/>
          <p14:tracePt t="44327" x="11255375" y="5387975"/>
          <p14:tracePt t="44329" x="11247438" y="5387975"/>
          <p14:tracePt t="44331" x="11239500" y="5392738"/>
          <p14:tracePt t="44336" x="11210925" y="5400675"/>
          <p14:tracePt t="44338" x="11199813" y="5405438"/>
          <p14:tracePt t="44340" x="11187113" y="5408613"/>
          <p14:tracePt t="44341" x="11179175" y="5408613"/>
          <p14:tracePt t="44344" x="11155363" y="5416550"/>
          <p14:tracePt t="44345" x="11150600" y="5416550"/>
          <p14:tracePt t="44347" x="11131550" y="5424488"/>
          <p14:tracePt t="44349" x="11110913" y="5429250"/>
          <p14:tracePt t="44350" x="11102975" y="5437188"/>
          <p14:tracePt t="44351" x="11090275" y="5437188"/>
          <p14:tracePt t="44351" x="11082338" y="5440363"/>
          <p14:tracePt t="44352" x="11071225" y="5445125"/>
          <p14:tracePt t="44353" x="11058525" y="5445125"/>
          <p14:tracePt t="44354" x="11042650" y="5448300"/>
          <p14:tracePt t="44355" x="11034713" y="5453063"/>
          <p14:tracePt t="44356" x="11023600" y="5456238"/>
          <p14:tracePt t="44358" x="11014075" y="5456238"/>
          <p14:tracePt t="44358" x="10998200" y="5461000"/>
          <p14:tracePt t="44359" x="10987088" y="5468938"/>
          <p14:tracePt t="44360" x="10971213" y="5472113"/>
          <p14:tracePt t="44361" x="10958513" y="5476875"/>
          <p14:tracePt t="44362" x="10942638" y="5476875"/>
          <p14:tracePt t="44365" x="10910888" y="5484813"/>
          <p14:tracePt t="44366" x="10895013" y="5489575"/>
          <p14:tracePt t="44368" x="10866438" y="5500688"/>
          <p14:tracePt t="44369" x="10855325" y="5505450"/>
          <p14:tracePt t="44369" x="10826750" y="5516563"/>
          <p14:tracePt t="44370" x="10810875" y="5521325"/>
          <p14:tracePt t="44371" x="10795000" y="5524500"/>
          <p14:tracePt t="44372" x="10779125" y="5529263"/>
          <p14:tracePt t="44373" x="10758488" y="5532438"/>
          <p14:tracePt t="44374" x="10737850" y="5540375"/>
          <p14:tracePt t="44375" x="10718800" y="5545138"/>
          <p14:tracePt t="44376" x="10698163" y="5548313"/>
          <p14:tracePt t="44377" x="10687050" y="5553075"/>
          <p14:tracePt t="44378" x="10666413" y="5561013"/>
          <p14:tracePt t="44379" x="10629900" y="5564188"/>
          <p14:tracePt t="44381" x="10590213" y="5576888"/>
          <p14:tracePt t="44382" x="10571163" y="5581650"/>
          <p14:tracePt t="44384" x="10550525" y="5584825"/>
          <p14:tracePt t="44385" x="10514013" y="5589588"/>
          <p14:tracePt t="44385" x="10487025" y="5597525"/>
          <p14:tracePt t="44386" x="10466388" y="5600700"/>
          <p14:tracePt t="44387" x="10445750" y="5613400"/>
          <p14:tracePt t="44388" x="10410825" y="5616575"/>
          <p14:tracePt t="44389" x="10382250" y="5624513"/>
          <p14:tracePt t="44390" x="10353675" y="5629275"/>
          <p14:tracePt t="44391" x="10326688" y="5640388"/>
          <p14:tracePt t="44392" x="10306050" y="5645150"/>
          <p14:tracePt t="44393" x="10277475" y="5653088"/>
          <p14:tracePt t="44394" x="10234613" y="5664200"/>
          <p14:tracePt t="44395" x="10206038" y="5668963"/>
          <p14:tracePt t="44396" x="10177463" y="5676900"/>
          <p14:tracePt t="44398" x="10150475" y="5684838"/>
          <p14:tracePt t="44399" x="10106025" y="5692775"/>
          <p14:tracePt t="44399" x="10074275" y="5705475"/>
          <p14:tracePt t="44402" x="10009188" y="5721350"/>
          <p14:tracePt t="44403" x="9945688" y="5732463"/>
          <p14:tracePt t="44404" x="9901238" y="5745163"/>
          <p14:tracePt t="44405" x="9866313" y="5753100"/>
          <p14:tracePt t="44406" x="9837738" y="5765800"/>
          <p14:tracePt t="44407" x="9801225" y="5768975"/>
          <p14:tracePt t="44408" x="9748838" y="5784850"/>
          <p14:tracePt t="44409" x="9717088" y="5797550"/>
          <p14:tracePt t="44410" x="9682163" y="5800725"/>
          <p14:tracePt t="44411" x="9645650" y="5813425"/>
          <p14:tracePt t="44412" x="9609138" y="5821363"/>
          <p14:tracePt t="44414" x="9529763" y="5837238"/>
          <p14:tracePt t="44415" x="9493250" y="5845175"/>
          <p14:tracePt t="44417" x="9456738" y="5857875"/>
          <p14:tracePt t="44418" x="9369425" y="5876925"/>
          <p14:tracePt t="44419" x="9329738" y="5889625"/>
          <p14:tracePt t="44420" x="9293225" y="5892800"/>
          <p14:tracePt t="44421" x="9256713" y="5900738"/>
          <p14:tracePt t="44422" x="9221788" y="5913438"/>
          <p14:tracePt t="44423" x="9169400" y="5924550"/>
          <p14:tracePt t="44424" x="9132888" y="5932488"/>
          <p14:tracePt t="44425" x="9096375" y="5937250"/>
          <p14:tracePt t="44426" x="9061450" y="5949950"/>
          <p14:tracePt t="44427" x="9024938" y="5957888"/>
          <p14:tracePt t="44428" x="8964613" y="5969000"/>
          <p14:tracePt t="44429" x="8928100" y="5976938"/>
          <p14:tracePt t="44431" x="8893175" y="5981700"/>
          <p14:tracePt t="44432" x="8853488" y="5992813"/>
          <p14:tracePt t="44432" x="8801100" y="6000750"/>
          <p14:tracePt t="44434" x="8764588" y="6013450"/>
          <p14:tracePt t="44435" x="8728075" y="6016625"/>
          <p14:tracePt t="44435" x="8693150" y="6024563"/>
          <p14:tracePt t="44436" x="8656638" y="6037263"/>
          <p14:tracePt t="44437" x="8620125" y="6042025"/>
          <p14:tracePt t="44438" x="8567738" y="6057900"/>
          <p14:tracePt t="44439" x="8524875" y="6061075"/>
          <p14:tracePt t="44440" x="8488363" y="6069013"/>
          <p14:tracePt t="44441" x="8448675" y="6081713"/>
          <p14:tracePt t="44442" x="8396288" y="6092825"/>
          <p14:tracePt t="44443" x="8359775" y="6100763"/>
          <p14:tracePt t="44444" x="8324850" y="6105525"/>
          <p14:tracePt t="44445" x="8288338" y="6116638"/>
          <p14:tracePt t="44446" x="8251825" y="6124575"/>
          <p14:tracePt t="44448" x="8215313" y="6129338"/>
          <p14:tracePt t="44448" x="8172450" y="6142038"/>
          <p14:tracePt t="44449" x="8135938" y="6149975"/>
          <p14:tracePt t="44453" x="8027988" y="6173788"/>
          <p14:tracePt t="44455" x="7935913" y="6189663"/>
          <p14:tracePt t="44456" x="7899400" y="6197600"/>
          <p14:tracePt t="44457" x="7872413" y="6200775"/>
          <p14:tracePt t="44458" x="7827963" y="6208713"/>
          <p14:tracePt t="44459" x="7799388" y="6213475"/>
          <p14:tracePt t="44460" x="7780338" y="6216650"/>
          <p14:tracePt t="44461" x="7751763" y="6226175"/>
          <p14:tracePt t="44462" x="7707313" y="6229350"/>
          <p14:tracePt t="44463" x="7680325" y="6237288"/>
          <p14:tracePt t="44465" x="7654925" y="6237288"/>
          <p14:tracePt t="44466" x="7635875" y="6242050"/>
          <p14:tracePt t="44467" x="7607300" y="6245225"/>
          <p14:tracePt t="44467" x="7570788" y="6253163"/>
          <p14:tracePt t="44469" x="7551738" y="6253163"/>
          <p14:tracePt t="44471" x="7507288" y="6257925"/>
          <p14:tracePt t="44472" x="7478713" y="6265863"/>
          <p14:tracePt t="44472" x="7443788" y="6269038"/>
          <p14:tracePt t="44473" x="7423150" y="6273800"/>
          <p14:tracePt t="44474" x="7402513" y="6273800"/>
          <p14:tracePt t="44475" x="7378700" y="6273800"/>
          <p14:tracePt t="44476" x="7359650" y="6276975"/>
          <p14:tracePt t="44477" x="7331075" y="6276975"/>
          <p14:tracePt t="44478" x="7310438" y="6284913"/>
          <p14:tracePt t="44479" x="7294563" y="6284913"/>
          <p14:tracePt t="44481" x="7254875" y="6289675"/>
          <p14:tracePt t="44482" x="7227888" y="6289675"/>
          <p14:tracePt t="44484" x="7207250" y="6292850"/>
          <p14:tracePt t="44485" x="7191375" y="6292850"/>
          <p14:tracePt t="44485" x="7170738" y="6297613"/>
          <p14:tracePt t="44486" x="7143750" y="6297613"/>
          <p14:tracePt t="44487" x="7131050" y="6305550"/>
          <p14:tracePt t="44488" x="7110413" y="6305550"/>
          <p14:tracePt t="44489" x="7091363" y="6310313"/>
          <p14:tracePt t="44490" x="7075488" y="6310313"/>
          <p14:tracePt t="44491" x="7062788" y="6313488"/>
          <p14:tracePt t="44492" x="7038975" y="6313488"/>
          <p14:tracePt t="44493" x="7023100" y="6318250"/>
          <p14:tracePt t="44495" x="7010400" y="6318250"/>
          <p14:tracePt t="44495" x="6994525" y="6318250"/>
          <p14:tracePt t="44496" x="6975475" y="6321425"/>
          <p14:tracePt t="44498" x="6967538" y="6321425"/>
          <p14:tracePt t="44499" x="6954838" y="6321425"/>
          <p14:tracePt t="44500" x="6938963" y="6329363"/>
          <p14:tracePt t="44501" x="6926263" y="6329363"/>
          <p14:tracePt t="44502" x="6918325" y="6329363"/>
          <p14:tracePt t="44502" x="6899275" y="6334125"/>
          <p14:tracePt t="44504" x="6891338" y="6334125"/>
          <p14:tracePt t="44504" x="6883400" y="6334125"/>
          <p14:tracePt t="44506" x="6867525" y="6337300"/>
          <p14:tracePt t="44506" x="6854825" y="6337300"/>
          <p14:tracePt t="44507" x="6846888" y="6337300"/>
          <p14:tracePt t="44508" x="6838950" y="6342063"/>
          <p14:tracePt t="44509" x="6823075" y="6342063"/>
          <p14:tracePt t="44510" x="6815138" y="6342063"/>
          <p14:tracePt t="44511" x="6802438" y="6345238"/>
          <p14:tracePt t="44512" x="6794500" y="6345238"/>
          <p14:tracePt t="44515" x="6783388" y="6345238"/>
          <p14:tracePt t="44516" x="6775450" y="6345238"/>
          <p14:tracePt t="44517" x="6757988" y="6345238"/>
          <p14:tracePt t="44518" x="6754813" y="6345238"/>
          <p14:tracePt t="44518" x="6750050" y="6345238"/>
          <p14:tracePt t="44520" x="6738938" y="6350000"/>
          <p14:tracePt t="44520" x="6731000" y="6350000"/>
          <p14:tracePt t="44521" x="6723063" y="6350000"/>
          <p14:tracePt t="44522" x="6718300" y="6350000"/>
          <p14:tracePt t="44523" x="6710363" y="6350000"/>
          <p14:tracePt t="44524" x="6702425" y="6350000"/>
          <p14:tracePt t="44525" x="6699250" y="6350000"/>
          <p14:tracePt t="44526" x="6691313" y="6350000"/>
          <p14:tracePt t="44527" x="6681788" y="6350000"/>
          <p14:tracePt t="44530" x="6673850" y="6353175"/>
          <p14:tracePt t="44531" x="6662738" y="6353175"/>
          <p14:tracePt t="44533" x="6657975" y="6353175"/>
          <p14:tracePt t="44534" x="6650038" y="6353175"/>
          <p14:tracePt t="44534" x="6646863" y="6353175"/>
          <p14:tracePt t="44536" x="6638925" y="6353175"/>
          <p14:tracePt t="44537" x="6634163" y="6353175"/>
          <p14:tracePt t="44537" x="6626225" y="6353175"/>
          <p14:tracePt t="44538" x="6623050" y="6353175"/>
          <p14:tracePt t="44539" x="6618288" y="6353175"/>
          <p14:tracePt t="44540" x="6610350" y="6353175"/>
          <p14:tracePt t="44541" x="6607175" y="6353175"/>
          <p14:tracePt t="44542" x="6602413" y="6353175"/>
          <p14:tracePt t="44545" x="6589713" y="6353175"/>
          <p14:tracePt t="44546" x="6586538" y="6353175"/>
          <p14:tracePt t="44548" x="6581775" y="6353175"/>
          <p14:tracePt t="44549" x="6578600" y="6353175"/>
          <p14:tracePt t="44550" x="6565900" y="6353175"/>
          <p14:tracePt t="44552" x="6562725" y="6353175"/>
          <p14:tracePt t="44552" x="6557963" y="6350000"/>
          <p14:tracePt t="44553" x="6554788" y="6350000"/>
          <p14:tracePt t="44554" x="6550025" y="6350000"/>
          <p14:tracePt t="44556" x="6546850" y="6350000"/>
          <p14:tracePt t="44557" x="6542088" y="6350000"/>
          <p14:tracePt t="44558" x="6538913" y="6350000"/>
          <p14:tracePt t="44559" x="6534150" y="6350000"/>
          <p14:tracePt t="44560" x="6530975" y="6350000"/>
          <p14:tracePt t="44561" x="6526213" y="6345238"/>
          <p14:tracePt t="44562" x="6523038" y="6345238"/>
          <p14:tracePt t="44565" x="6515100" y="6345238"/>
          <p14:tracePt t="44567" x="6510338" y="6345238"/>
          <p14:tracePt t="44567" x="6510338" y="6342063"/>
          <p14:tracePt t="44569" x="6507163" y="6342063"/>
          <p14:tracePt t="44570" x="6502400" y="6337300"/>
          <p14:tracePt t="44572" x="6497638" y="6337300"/>
          <p14:tracePt t="44573" x="6494463" y="6337300"/>
          <p14:tracePt t="44574" x="6494463" y="6334125"/>
          <p14:tracePt t="44575" x="6489700" y="6334125"/>
          <p14:tracePt t="44577" x="6486525" y="6334125"/>
          <p14:tracePt t="44577" x="6481763" y="6329363"/>
          <p14:tracePt t="44579" x="6478588" y="6329363"/>
          <p14:tracePt t="44581" x="6470650" y="6329363"/>
          <p14:tracePt t="44582" x="6470650" y="6326188"/>
          <p14:tracePt t="44584" x="6465888" y="6326188"/>
          <p14:tracePt t="44585" x="6462713" y="6321425"/>
          <p14:tracePt t="44586" x="6457950" y="6321425"/>
          <p14:tracePt t="44588" x="6454775" y="6318250"/>
          <p14:tracePt t="44589" x="6450013" y="6318250"/>
          <p14:tracePt t="44590" x="6446838" y="6318250"/>
          <p14:tracePt t="44591" x="6442075" y="6313488"/>
          <p14:tracePt t="44592" x="6438900" y="6313488"/>
          <p14:tracePt t="44593" x="6434138" y="6310313"/>
          <p14:tracePt t="44594" x="6426200" y="6310313"/>
          <p14:tracePt t="44596" x="6423025" y="6310313"/>
          <p14:tracePt t="44598" x="6418263" y="6310313"/>
          <p14:tracePt t="44598" x="6415088" y="6310313"/>
          <p14:tracePt t="44599" x="6410325" y="6305550"/>
          <p14:tracePt t="44600" x="6405563" y="6305550"/>
          <p14:tracePt t="44601" x="6402388" y="6300788"/>
          <p14:tracePt t="44602" x="6397625" y="6300788"/>
          <p14:tracePt t="44603" x="6394450" y="6297613"/>
          <p14:tracePt t="44604" x="6386513" y="6297613"/>
          <p14:tracePt t="44605" x="6381750" y="6292850"/>
          <p14:tracePt t="44606" x="6378575" y="6292850"/>
          <p14:tracePt t="44608" x="6373813" y="6289675"/>
          <p14:tracePt t="44609" x="6365875" y="6289675"/>
          <p14:tracePt t="44610" x="6362700" y="6289675"/>
          <p14:tracePt t="44611" x="6357938" y="6284913"/>
          <p14:tracePt t="44612" x="6354763" y="6284913"/>
          <p14:tracePt t="44613" x="6350000" y="6281738"/>
          <p14:tracePt t="44615" x="6346825" y="6281738"/>
          <p14:tracePt t="44616" x="6342063" y="6281738"/>
          <p14:tracePt t="44618" x="6334125" y="6276975"/>
          <p14:tracePt t="44619" x="6330950" y="6276975"/>
          <p14:tracePt t="44620" x="6326188" y="6273800"/>
          <p14:tracePt t="44621" x="6323013" y="6273800"/>
          <p14:tracePt t="44622" x="6318250" y="6273800"/>
          <p14:tracePt t="44623" x="6313488" y="6273800"/>
          <p14:tracePt t="44624" x="6305550" y="6269038"/>
          <p14:tracePt t="44625" x="6302375" y="6269038"/>
          <p14:tracePt t="44626" x="6297613" y="6269038"/>
          <p14:tracePt t="44627" x="6294438" y="6265863"/>
          <p14:tracePt t="44628" x="6286500" y="6265863"/>
          <p14:tracePt t="44629" x="6281738" y="6265863"/>
          <p14:tracePt t="44631" x="6273800" y="6265863"/>
          <p14:tracePt t="44633" x="6265863" y="6265863"/>
          <p14:tracePt t="44634" x="6257925" y="6265863"/>
          <p14:tracePt t="44635" x="6254750" y="6265863"/>
          <p14:tracePt t="44636" x="6246813" y="6261100"/>
          <p14:tracePt t="44637" x="6242050" y="6261100"/>
          <p14:tracePt t="44638" x="6234113" y="6261100"/>
          <p14:tracePt t="44639" x="6229350" y="6261100"/>
          <p14:tracePt t="44640" x="6221413" y="6261100"/>
          <p14:tracePt t="44641" x="6218238" y="6261100"/>
          <p14:tracePt t="44642" x="6210300" y="6261100"/>
          <p14:tracePt t="44643" x="6205538" y="6257925"/>
          <p14:tracePt t="44644" x="6202363" y="6257925"/>
          <p14:tracePt t="44645" x="6189663" y="6257925"/>
          <p14:tracePt t="44648" x="6181725" y="6253163"/>
          <p14:tracePt t="44649" x="6173788" y="6253163"/>
          <p14:tracePt t="44650" x="6162675" y="6253163"/>
          <p14:tracePt t="44651" x="6154738" y="6249988"/>
          <p14:tracePt t="44652" x="6146800" y="6249988"/>
          <p14:tracePt t="44654" x="6134100" y="6249988"/>
          <p14:tracePt t="44655" x="6126163" y="6249988"/>
          <p14:tracePt t="44656" x="6121400" y="6245225"/>
          <p14:tracePt t="44657" x="6113463" y="6245225"/>
          <p14:tracePt t="44658" x="6105525" y="6245225"/>
          <p14:tracePt t="44659" x="6097588" y="6245225"/>
          <p14:tracePt t="44661" x="6094413" y="6245225"/>
          <p14:tracePt t="44661" x="6086475" y="6245225"/>
          <p14:tracePt t="44662" x="6081713" y="6242050"/>
          <p14:tracePt t="44665" x="6065838" y="6242050"/>
          <p14:tracePt t="44666" x="6049963" y="6242050"/>
          <p14:tracePt t="44667" x="6042025" y="6237288"/>
          <p14:tracePt t="44668" x="6034088" y="6237288"/>
          <p14:tracePt t="44669" x="6026150" y="6237288"/>
          <p14:tracePt t="44671" x="6021388" y="6237288"/>
          <p14:tracePt t="44671" x="6013450" y="6237288"/>
          <p14:tracePt t="44672" x="6005513" y="6237288"/>
          <p14:tracePt t="44673" x="5997575" y="6234113"/>
          <p14:tracePt t="44674" x="5989638" y="6234113"/>
          <p14:tracePt t="44675" x="5986463" y="6234113"/>
          <p14:tracePt t="44676" x="5978525" y="6234113"/>
          <p14:tracePt t="44677" x="5970588" y="6234113"/>
          <p14:tracePt t="44678" x="5957888" y="6229350"/>
          <p14:tracePt t="44679" x="5949950" y="6229350"/>
          <p14:tracePt t="44681" x="5942013" y="6226175"/>
          <p14:tracePt t="44682" x="5929313" y="6226175"/>
          <p14:tracePt t="44683" x="5921375" y="6226175"/>
          <p14:tracePt t="44684" x="5913438" y="6226175"/>
          <p14:tracePt t="44685" x="5905500" y="6226175"/>
          <p14:tracePt t="44686" x="5897563" y="6226175"/>
          <p14:tracePt t="44687" x="5889625" y="6216650"/>
          <p14:tracePt t="44688" x="5881688" y="6216650"/>
          <p14:tracePt t="44689" x="5873750" y="6213475"/>
          <p14:tracePt t="44690" x="5865813" y="6213475"/>
          <p14:tracePt t="44691" x="5861050" y="6213475"/>
          <p14:tracePt t="44692" x="5849938" y="6208713"/>
          <p14:tracePt t="44693" x="5842000" y="6208713"/>
          <p14:tracePt t="44694" x="5837238" y="6208713"/>
          <p14:tracePt t="44695" x="5829300" y="6205538"/>
          <p14:tracePt t="44696" x="5821363" y="6205538"/>
          <p14:tracePt t="44698" x="5813425" y="6205538"/>
          <p14:tracePt t="44699" x="5805488" y="6205538"/>
          <p14:tracePt t="44700" x="5786438" y="6200775"/>
          <p14:tracePt t="44702" x="5776913" y="6200775"/>
          <p14:tracePt t="44702" x="5765800" y="6197600"/>
          <p14:tracePt t="44703" x="5757863" y="6197600"/>
          <p14:tracePt t="44704" x="5753100" y="6197600"/>
          <p14:tracePt t="44705" x="5745163" y="6192838"/>
          <p14:tracePt t="44706" x="5737225" y="6192838"/>
          <p14:tracePt t="44707" x="5729288" y="6189663"/>
          <p14:tracePt t="44708" x="5721350" y="6189663"/>
          <p14:tracePt t="44709" x="5710238" y="6184900"/>
          <p14:tracePt t="44710" x="5702300" y="6184900"/>
          <p14:tracePt t="44711" x="5694363" y="6184900"/>
          <p14:tracePt t="44712" x="5681663" y="6181725"/>
          <p14:tracePt t="44713" x="5673725" y="6181725"/>
          <p14:tracePt t="44715" x="5665788" y="6176963"/>
          <p14:tracePt t="44717" x="5645150" y="6173788"/>
          <p14:tracePt t="44718" x="5634038" y="6173788"/>
          <p14:tracePt t="44718" x="5626100" y="6165850"/>
          <p14:tracePt t="44719" x="5610225" y="6165850"/>
          <p14:tracePt t="44720" x="5602288" y="6161088"/>
          <p14:tracePt t="44721" x="5592763" y="6157913"/>
          <p14:tracePt t="44722" x="5581650" y="6157913"/>
          <p14:tracePt t="44723" x="5568950" y="6153150"/>
          <p14:tracePt t="44724" x="5561013" y="6153150"/>
          <p14:tracePt t="44725" x="5553075" y="6149975"/>
          <p14:tracePt t="44726" x="5541963" y="6149975"/>
          <p14:tracePt t="44727" x="5534025" y="6145213"/>
          <p14:tracePt t="44729" x="5521325" y="6145213"/>
          <p14:tracePt t="44729" x="5513388" y="6142038"/>
          <p14:tracePt t="44731" x="5497513" y="6137275"/>
          <p14:tracePt t="44733" x="5481638" y="6134100"/>
          <p14:tracePt t="44735" x="5473700" y="6134100"/>
          <p14:tracePt t="44735" x="5465763" y="6129338"/>
          <p14:tracePt t="44737" x="5457825" y="6129338"/>
          <p14:tracePt t="44737" x="5445125" y="6121400"/>
          <p14:tracePt t="44739" x="5437188" y="6121400"/>
          <p14:tracePt t="44740" x="5434013" y="6121400"/>
          <p14:tracePt t="44740" x="5426075" y="6121400"/>
          <p14:tracePt t="44741" x="5426075" y="6116638"/>
          <p14:tracePt t="44742" x="5416550" y="6113463"/>
          <p14:tracePt t="44743" x="5413375" y="6113463"/>
          <p14:tracePt t="44744" x="5405438" y="6108700"/>
          <p14:tracePt t="44745" x="5400675" y="6108700"/>
          <p14:tracePt t="44746" x="5397500" y="6105525"/>
          <p14:tracePt t="44748" x="5389563" y="6105525"/>
          <p14:tracePt t="44749" x="5384800" y="6100763"/>
          <p14:tracePt t="44750" x="5376863" y="6100763"/>
          <p14:tracePt t="44752" x="5373688" y="6097588"/>
          <p14:tracePt t="44752" x="5368925" y="6097588"/>
          <p14:tracePt t="44753" x="5365750" y="6092825"/>
          <p14:tracePt t="44756" x="5360988" y="6089650"/>
          <p14:tracePt t="44758" x="5357813" y="6084888"/>
          <p14:tracePt t="44759" x="5353050" y="6084888"/>
          <p14:tracePt t="44759" x="5349875" y="6084888"/>
          <p14:tracePt t="44762" x="5341938" y="6081713"/>
          <p14:tracePt t="44763" x="5337175" y="6081713"/>
          <p14:tracePt t="44765" x="5334000" y="6076950"/>
          <p14:tracePt t="44766" x="5329238" y="6076950"/>
          <p14:tracePt t="44767" x="5324475" y="6073775"/>
          <p14:tracePt t="44769" x="5321300" y="6073775"/>
          <p14:tracePt t="44771" x="5316538" y="6069013"/>
          <p14:tracePt t="44774" x="5313363" y="6069013"/>
          <p14:tracePt t="44778" x="5308600" y="6069013"/>
          <p14:tracePt t="44780" x="5305425" y="6065838"/>
          <p14:tracePt t="44782" x="5300663" y="6065838"/>
          <p14:tracePt t="44784" x="5297488" y="6061075"/>
          <p14:tracePt t="44788" x="5292725" y="6061075"/>
          <p14:tracePt t="44790" x="5289550" y="6057900"/>
          <p14:tracePt t="44793" x="5284788" y="6057900"/>
          <p14:tracePt t="44797" x="5281613" y="6053138"/>
          <p14:tracePt t="44798" x="5276850" y="6053138"/>
          <p14:tracePt t="44800" x="5273675" y="6053138"/>
          <p14:tracePt t="44806" x="5268913" y="6053138"/>
          <p14:tracePt t="44807" x="5268913" y="6049963"/>
          <p14:tracePt t="44810" x="5265738" y="6049963"/>
          <p14:tracePt t="44813" x="5260975" y="6049963"/>
          <p14:tracePt t="44817" x="5257800" y="6049963"/>
          <p14:tracePt t="44821" x="5253038" y="6049963"/>
          <p14:tracePt t="44822" x="5249863" y="6049963"/>
          <p14:tracePt t="44825" x="5245100" y="6049963"/>
          <p14:tracePt t="44829" x="5241925" y="6049963"/>
          <p14:tracePt t="44834" x="5237163" y="6049963"/>
          <p14:tracePt t="44837" x="5232400" y="6049963"/>
          <p14:tracePt t="44846" x="5229225" y="6049963"/>
          <p14:tracePt t="45073" x="5229225" y="6045200"/>
          <p14:tracePt t="45103" x="5229225" y="6042025"/>
          <p14:tracePt t="45109" x="5229225" y="6037263"/>
          <p14:tracePt t="45112" x="5229225" y="6032500"/>
          <p14:tracePt t="45116" x="5232400" y="6029325"/>
          <p14:tracePt t="45120" x="5237163" y="6029325"/>
          <p14:tracePt t="45122" x="5237163" y="6024563"/>
          <p14:tracePt t="45125" x="5241925" y="6024563"/>
          <p14:tracePt t="45126" x="5241925" y="6021388"/>
          <p14:tracePt t="45132" x="5245100" y="6016625"/>
          <p14:tracePt t="45139" x="5245100" y="6013450"/>
          <p14:tracePt t="45140" x="5249863" y="6013450"/>
          <p14:tracePt t="45142" x="5249863" y="6008688"/>
          <p14:tracePt t="45145" x="5253038" y="6008688"/>
          <p14:tracePt t="45146" x="5253038" y="6005513"/>
          <p14:tracePt t="45149" x="5253038" y="6000750"/>
          <p14:tracePt t="45151" x="5257800" y="6000750"/>
          <p14:tracePt t="45152" x="5257800" y="5997575"/>
          <p14:tracePt t="45156" x="5260975" y="5997575"/>
          <p14:tracePt t="45157" x="5260975" y="5992813"/>
          <p14:tracePt t="45159" x="5265738" y="5992813"/>
          <p14:tracePt t="45162" x="5265738" y="5989638"/>
          <p14:tracePt t="45165" x="5268913" y="5989638"/>
          <p14:tracePt t="45168" x="5268913" y="5984875"/>
          <p14:tracePt t="45173" x="5273675" y="5981700"/>
          <p14:tracePt t="45177" x="5273675" y="5976938"/>
          <p14:tracePt t="45178" x="5276850" y="5976938"/>
          <p14:tracePt t="45182" x="5276850" y="5973763"/>
          <p14:tracePt t="45187" x="5281613" y="5973763"/>
          <p14:tracePt t="45203" x="5281613" y="5969000"/>
          <p14:tracePt t="45267" x="5281613" y="5965825"/>
          <p14:tracePt t="45285" x="5284788" y="5961063"/>
          <p14:tracePt t="45289" x="5284788" y="5957888"/>
          <p14:tracePt t="45294" x="5289550" y="5957888"/>
          <p14:tracePt t="45296" x="5289550" y="5953125"/>
          <p14:tracePt t="45301" x="5289550" y="5949950"/>
          <p14:tracePt t="45542" x="5292725" y="5949950"/>
          <p14:tracePt t="45609" x="5297488" y="5949950"/>
          <p14:tracePt t="45612" x="5300663" y="5949950"/>
          <p14:tracePt t="45615" x="5305425" y="5949950"/>
          <p14:tracePt t="45618" x="5308600" y="5949950"/>
          <p14:tracePt t="45621" x="5313363" y="5949950"/>
          <p14:tracePt t="45623" x="5316538" y="5945188"/>
          <p14:tracePt t="45625" x="5321300" y="5945188"/>
          <p14:tracePt t="45627" x="5324475" y="5945188"/>
          <p14:tracePt t="45629" x="5329238" y="5945188"/>
          <p14:tracePt t="45631" x="5334000" y="5945188"/>
          <p14:tracePt t="45634" x="5341938" y="5940425"/>
          <p14:tracePt t="45636" x="5345113" y="5940425"/>
          <p14:tracePt t="45639" x="5349875" y="5940425"/>
          <p14:tracePt t="45640" x="5353050" y="5940425"/>
          <p14:tracePt t="45647" x="5357813" y="5940425"/>
          <p14:tracePt t="45650" x="5360988" y="5940425"/>
          <p14:tracePt t="45654" x="5360988" y="5937250"/>
          <p14:tracePt t="45656" x="5365750" y="5937250"/>
          <p14:tracePt t="45660" x="5368925" y="5937250"/>
          <p14:tracePt t="45663" x="5373688" y="5937250"/>
          <p14:tracePt t="45667" x="5376863" y="5937250"/>
          <p14:tracePt t="45671" x="5381625" y="5937250"/>
          <p14:tracePt t="45676" x="5384800" y="5937250"/>
          <p14:tracePt t="45679" x="5389563" y="5937250"/>
          <p14:tracePt t="45685" x="5392738" y="5937250"/>
          <p14:tracePt t="45693" x="5397500" y="5937250"/>
          <p14:tracePt t="45698" x="5400675" y="5937250"/>
          <p14:tracePt t="45702" x="5405438" y="5937250"/>
          <p14:tracePt t="45705" x="5408613" y="5937250"/>
          <p14:tracePt t="45709" x="5413375" y="5937250"/>
          <p14:tracePt t="45714" x="5416550" y="5937250"/>
          <p14:tracePt t="45717" x="5421313" y="5937250"/>
          <p14:tracePt t="45719" x="5426075" y="5937250"/>
          <p14:tracePt t="45723" x="5429250" y="5937250"/>
          <p14:tracePt t="45726" x="5434013" y="5937250"/>
          <p14:tracePt t="45733" x="5437188" y="5937250"/>
          <p14:tracePt t="45738" x="5441950" y="5937250"/>
          <p14:tracePt t="45742" x="5445125" y="5937250"/>
          <p14:tracePt t="45749" x="5449888" y="5937250"/>
          <p14:tracePt t="45756" x="5453063" y="5937250"/>
          <p14:tracePt t="45759" x="5457825" y="5937250"/>
          <p14:tracePt t="45761" x="5461000" y="5937250"/>
          <p14:tracePt t="45765" x="5465763" y="5937250"/>
          <p14:tracePt t="45769" x="5468938" y="5937250"/>
          <p14:tracePt t="45772" x="5473700" y="5937250"/>
          <p14:tracePt t="45776" x="5476875" y="5937250"/>
          <p14:tracePt t="45777" x="5481638" y="5937250"/>
          <p14:tracePt t="45780" x="5484813" y="5937250"/>
          <p14:tracePt t="45782" x="5489575" y="5937250"/>
          <p14:tracePt t="45782" x="5492750" y="5937250"/>
          <p14:tracePt t="45785" x="5497513" y="5937250"/>
          <p14:tracePt t="45786" x="5500688" y="5937250"/>
          <p14:tracePt t="45789" x="5505450" y="5937250"/>
          <p14:tracePt t="45790" x="5510213" y="5937250"/>
          <p14:tracePt t="45792" x="5513388" y="5937250"/>
          <p14:tracePt t="45797" x="5518150" y="5937250"/>
          <p14:tracePt t="45799" x="5521325" y="5937250"/>
          <p14:tracePt t="45801" x="5526088" y="5937250"/>
          <p14:tracePt t="45804" x="5529263" y="5937250"/>
          <p14:tracePt t="45805" x="5534025" y="5937250"/>
          <p14:tracePt t="45810" x="5537200" y="5937250"/>
          <p14:tracePt t="45812" x="5541963" y="5937250"/>
          <p14:tracePt t="45816" x="5545138" y="5937250"/>
          <p14:tracePt t="45819" x="5549900" y="5937250"/>
          <p14:tracePt t="45826" x="5553075" y="5937250"/>
          <p14:tracePt t="45843" x="5557838" y="5937250"/>
          <p14:tracePt t="45859" x="5561013" y="5937250"/>
          <p14:tracePt t="45861" x="5565775" y="5937250"/>
          <p14:tracePt t="46353" x="5568950" y="5937250"/>
          <p14:tracePt t="46382" x="5573713" y="5937250"/>
          <p14:tracePt t="47120" x="5576888" y="5937250"/>
          <p14:tracePt t="47131" x="5581650" y="5937250"/>
          <p14:tracePt t="47134" x="5584825" y="5937250"/>
          <p14:tracePt t="47136" x="5589588" y="5937250"/>
          <p14:tracePt t="47139" x="5592763" y="5937250"/>
          <p14:tracePt t="47140" x="5597525" y="5937250"/>
          <p14:tracePt t="47141" x="5605463" y="5937250"/>
          <p14:tracePt t="47142" x="5610225" y="5937250"/>
          <p14:tracePt t="47143" x="5613400" y="5937250"/>
          <p14:tracePt t="47144" x="5618163" y="5937250"/>
          <p14:tracePt t="47145" x="5626100" y="5937250"/>
          <p14:tracePt t="47146" x="5629275" y="5937250"/>
          <p14:tracePt t="47148" x="5641975" y="5937250"/>
          <p14:tracePt t="47149" x="5645150" y="5937250"/>
          <p14:tracePt t="47151" x="5653088" y="5937250"/>
          <p14:tracePt t="47151" x="5661025" y="5937250"/>
          <p14:tracePt t="47152" x="5668963" y="5937250"/>
          <p14:tracePt t="47155" x="5684838" y="5932488"/>
          <p14:tracePt t="47155" x="5694363" y="5932488"/>
          <p14:tracePt t="47156" x="5702300" y="5932488"/>
          <p14:tracePt t="47157" x="5710238" y="5932488"/>
          <p14:tracePt t="47158" x="5718175" y="5932488"/>
          <p14:tracePt t="47159" x="5726113" y="5932488"/>
          <p14:tracePt t="47160" x="5734050" y="5929313"/>
          <p14:tracePt t="47161" x="5749925" y="5929313"/>
          <p14:tracePt t="47162" x="5757863" y="5929313"/>
          <p14:tracePt t="47163" x="5765800" y="5929313"/>
          <p14:tracePt t="47165" x="5773738" y="5929313"/>
          <p14:tracePt t="47166" x="5786438" y="5929313"/>
          <p14:tracePt t="47166" x="5802313" y="5929313"/>
          <p14:tracePt t="47167" x="5810250" y="5921375"/>
          <p14:tracePt t="47168" x="5818188" y="5921375"/>
          <p14:tracePt t="47170" x="5845175" y="5921375"/>
          <p14:tracePt t="47171" x="5853113" y="5921375"/>
          <p14:tracePt t="47172" x="5865813" y="5921375"/>
          <p14:tracePt t="47173" x="5873750" y="5921375"/>
          <p14:tracePt t="47174" x="5889625" y="5921375"/>
          <p14:tracePt t="47175" x="5902325" y="5921375"/>
          <p14:tracePt t="47176" x="5918200" y="5921375"/>
          <p14:tracePt t="47177" x="5926138" y="5916613"/>
          <p14:tracePt t="47178" x="5937250" y="5916613"/>
          <p14:tracePt t="47179" x="5945188" y="5916613"/>
          <p14:tracePt t="47181" x="5973763" y="5916613"/>
          <p14:tracePt t="47183" x="5981700" y="5916613"/>
          <p14:tracePt t="47183" x="5997575" y="5913438"/>
          <p14:tracePt t="47184" x="6005513" y="5913438"/>
          <p14:tracePt t="47186" x="6034088" y="5913438"/>
          <p14:tracePt t="47187" x="6042025" y="5913438"/>
          <p14:tracePt t="47188" x="6054725" y="5913438"/>
          <p14:tracePt t="47189" x="6062663" y="5913438"/>
          <p14:tracePt t="47190" x="6078538" y="5913438"/>
          <p14:tracePt t="47191" x="6086475" y="5913438"/>
          <p14:tracePt t="47192" x="6094413" y="5913438"/>
          <p14:tracePt t="47193" x="6105525" y="5913438"/>
          <p14:tracePt t="47194" x="6113463" y="5913438"/>
          <p14:tracePt t="47195" x="6121400" y="5913438"/>
          <p14:tracePt t="47196" x="6129338" y="5913438"/>
          <p14:tracePt t="47198" x="6146800" y="5913438"/>
          <p14:tracePt t="47199" x="6154738" y="5913438"/>
          <p14:tracePt t="47201" x="6173788" y="5908675"/>
          <p14:tracePt t="47203" x="6181725" y="5908675"/>
          <p14:tracePt t="47203" x="6186488" y="5908675"/>
          <p14:tracePt t="47204" x="6189663" y="5908675"/>
          <p14:tracePt t="47205" x="6197600" y="5908675"/>
          <p14:tracePt t="47206" x="6202363" y="5908675"/>
          <p14:tracePt t="47207" x="6210300" y="5908675"/>
          <p14:tracePt t="47208" x="6213475" y="5908675"/>
          <p14:tracePt t="47210" x="6218238" y="5908675"/>
          <p14:tracePt t="47211" x="6226175" y="5908675"/>
          <p14:tracePt t="47211" x="6229350" y="5908675"/>
          <p14:tracePt t="47213" x="6234113" y="5908675"/>
          <p14:tracePt t="47214" x="6238875" y="5908675"/>
          <p14:tracePt t="47215" x="6246813" y="5908675"/>
          <p14:tracePt t="47218" x="6249988" y="5908675"/>
          <p14:tracePt t="47220" x="6254750" y="5908675"/>
          <p14:tracePt t="47221" x="6257925" y="5908675"/>
          <p14:tracePt t="47223" x="6262688" y="5908675"/>
          <p14:tracePt t="47225" x="6265863" y="5908675"/>
          <p14:tracePt t="47229" x="6270625" y="5908675"/>
          <p14:tracePt t="47257" x="6273800" y="5908675"/>
          <p14:tracePt t="47266" x="6278563" y="5908675"/>
          <p14:tracePt t="47269" x="6281738" y="5908675"/>
          <p14:tracePt t="47269" x="6286500" y="5908675"/>
          <p14:tracePt t="47272" x="6289675" y="5908675"/>
          <p14:tracePt t="47276" x="6294438" y="5908675"/>
          <p14:tracePt t="47277" x="6297613" y="5908675"/>
          <p14:tracePt t="47278" x="6302375" y="5908675"/>
          <p14:tracePt t="47280" x="6305550" y="5908675"/>
          <p14:tracePt t="47282" x="6313488" y="5913438"/>
          <p14:tracePt t="47283" x="6318250" y="5913438"/>
          <p14:tracePt t="47284" x="6323013" y="5913438"/>
          <p14:tracePt t="47284" x="6326188" y="5913438"/>
          <p14:tracePt t="47285" x="6334125" y="5916613"/>
          <p14:tracePt t="47286" x="6338888" y="5916613"/>
          <p14:tracePt t="47288" x="6346825" y="5921375"/>
          <p14:tracePt t="47289" x="6357938" y="5921375"/>
          <p14:tracePt t="47291" x="6365875" y="5924550"/>
          <p14:tracePt t="47292" x="6373813" y="5924550"/>
          <p14:tracePt t="47293" x="6386513" y="5924550"/>
          <p14:tracePt t="47295" x="6394450" y="5929313"/>
          <p14:tracePt t="47296" x="6402388" y="5929313"/>
          <p14:tracePt t="47298" x="6410325" y="5929313"/>
          <p14:tracePt t="47299" x="6430963" y="5932488"/>
          <p14:tracePt t="47300" x="6438900" y="5932488"/>
          <p14:tracePt t="47301" x="6446838" y="5932488"/>
          <p14:tracePt t="47302" x="6457950" y="5932488"/>
          <p14:tracePt t="47303" x="6465888" y="5937250"/>
          <p14:tracePt t="47304" x="6473825" y="5937250"/>
          <p14:tracePt t="47305" x="6486525" y="5937250"/>
          <p14:tracePt t="47306" x="6494463" y="5940425"/>
          <p14:tracePt t="47307" x="6502400" y="5940425"/>
          <p14:tracePt t="47308" x="6515100" y="5940425"/>
          <p14:tracePt t="47310" x="6530975" y="5945188"/>
          <p14:tracePt t="47311" x="6538913" y="5945188"/>
          <p14:tracePt t="47312" x="6554788" y="5949950"/>
          <p14:tracePt t="47313" x="6562725" y="5949950"/>
          <p14:tracePt t="47315" x="6570663" y="5949950"/>
          <p14:tracePt t="47316" x="6578600" y="5949950"/>
          <p14:tracePt t="47316" x="6586538" y="5953125"/>
          <p14:tracePt t="47317" x="6602413" y="5953125"/>
          <p14:tracePt t="47318" x="6610350" y="5953125"/>
          <p14:tracePt t="47319" x="6618288" y="5961063"/>
          <p14:tracePt t="47320" x="6626225" y="5961063"/>
          <p14:tracePt t="47321" x="6634163" y="5961063"/>
          <p14:tracePt t="47322" x="6642100" y="5965825"/>
          <p14:tracePt t="47323" x="6650038" y="5965825"/>
          <p14:tracePt t="47324" x="6657975" y="5965825"/>
          <p14:tracePt t="47325" x="6662738" y="5969000"/>
          <p14:tracePt t="47327" x="6678613" y="5973763"/>
          <p14:tracePt t="47328" x="6686550" y="5973763"/>
          <p14:tracePt t="47329" x="6694488" y="5973763"/>
          <p14:tracePt t="47332" x="6707188" y="5973763"/>
          <p14:tracePt t="47333" x="6715125" y="5976938"/>
          <p14:tracePt t="47334" x="6723063" y="5976938"/>
          <p14:tracePt t="47334" x="6731000" y="5976938"/>
          <p14:tracePt t="47335" x="6734175" y="5976938"/>
          <p14:tracePt t="47336" x="6742113" y="5981700"/>
          <p14:tracePt t="47337" x="6750050" y="5981700"/>
          <p14:tracePt t="47338" x="6754813" y="5981700"/>
          <p14:tracePt t="47339" x="6762750" y="5981700"/>
          <p14:tracePt t="47340" x="6765925" y="5984875"/>
          <p14:tracePt t="47341" x="6775450" y="5984875"/>
          <p14:tracePt t="47342" x="6783388" y="5984875"/>
          <p14:tracePt t="47343" x="6791325" y="5984875"/>
          <p14:tracePt t="47344" x="6799263" y="5984875"/>
          <p14:tracePt t="47345" x="6802438" y="5984875"/>
          <p14:tracePt t="47346" x="6810375" y="5984875"/>
          <p14:tracePt t="47348" x="6818313" y="5984875"/>
          <p14:tracePt t="47349" x="6826250" y="5984875"/>
          <p14:tracePt t="47349" x="6831013" y="5984875"/>
          <p14:tracePt t="47351" x="6838950" y="5984875"/>
          <p14:tracePt t="47351" x="6846888" y="5984875"/>
          <p14:tracePt t="47352" x="6854825" y="5984875"/>
          <p14:tracePt t="47353" x="6862763" y="5984875"/>
          <p14:tracePt t="47354" x="6867525" y="5984875"/>
          <p14:tracePt t="47355" x="6875463" y="5984875"/>
          <p14:tracePt t="47356" x="6883400" y="5992813"/>
          <p14:tracePt t="47357" x="6891338" y="5992813"/>
          <p14:tracePt t="47358" x="6894513" y="5992813"/>
          <p14:tracePt t="47359" x="6902450" y="5992813"/>
          <p14:tracePt t="47360" x="6907213" y="5992813"/>
          <p14:tracePt t="47361" x="6918325" y="5992813"/>
          <p14:tracePt t="47362" x="6923088" y="5992813"/>
          <p14:tracePt t="47363" x="6931025" y="5992813"/>
          <p14:tracePt t="47365" x="6934200" y="5992813"/>
          <p14:tracePt t="47366" x="6946900" y="5997575"/>
          <p14:tracePt t="47367" x="6954838" y="5997575"/>
          <p14:tracePt t="47368" x="6959600" y="5997575"/>
          <p14:tracePt t="47369" x="6967538" y="5997575"/>
          <p14:tracePt t="47371" x="6975475" y="5997575"/>
          <p14:tracePt t="47372" x="6978650" y="5997575"/>
          <p14:tracePt t="47374" x="6986588" y="5997575"/>
          <p14:tracePt t="47374" x="6991350" y="5997575"/>
          <p14:tracePt t="47375" x="6999288" y="6000750"/>
          <p14:tracePt t="47376" x="7007225" y="6000750"/>
          <p14:tracePt t="47377" x="7010400" y="6000750"/>
          <p14:tracePt t="47378" x="7015163" y="6000750"/>
          <p14:tracePt t="47379" x="7023100" y="6000750"/>
          <p14:tracePt t="47380" x="7026275" y="6000750"/>
          <p14:tracePt t="47382" x="7038975" y="6000750"/>
          <p14:tracePt t="47383" x="7046913" y="6000750"/>
          <p14:tracePt t="47384" x="7051675" y="6000750"/>
          <p14:tracePt t="47387" x="7059613" y="6000750"/>
          <p14:tracePt t="47387" x="7067550" y="6000750"/>
          <p14:tracePt t="47388" x="7070725" y="6000750"/>
          <p14:tracePt t="47389" x="7078663" y="6000750"/>
          <p14:tracePt t="47390" x="7086600" y="6008688"/>
          <p14:tracePt t="47391" x="7099300" y="6008688"/>
          <p14:tracePt t="47392" x="7107238" y="6008688"/>
          <p14:tracePt t="47394" x="7115175" y="6008688"/>
          <p14:tracePt t="47395" x="7123113" y="6008688"/>
          <p14:tracePt t="47396" x="7135813" y="6008688"/>
          <p14:tracePt t="47398" x="7151688" y="6013450"/>
          <p14:tracePt t="47399" x="7159625" y="6013450"/>
          <p14:tracePt t="47400" x="7167563" y="6013450"/>
          <p14:tracePt t="47401" x="7175500" y="6013450"/>
          <p14:tracePt t="47402" x="7183438" y="6013450"/>
          <p14:tracePt t="47403" x="7191375" y="6013450"/>
          <p14:tracePt t="47404" x="7199313" y="6013450"/>
          <p14:tracePt t="47405" x="7207250" y="6013450"/>
          <p14:tracePt t="47406" x="7223125" y="6013450"/>
          <p14:tracePt t="47407" x="7231063" y="6013450"/>
          <p14:tracePt t="47408" x="7239000" y="6016625"/>
          <p14:tracePt t="47409" x="7246938" y="6016625"/>
          <p14:tracePt t="47410" x="7254875" y="6016625"/>
          <p14:tracePt t="47411" x="7262813" y="6016625"/>
          <p14:tracePt t="47412" x="7270750" y="6016625"/>
          <p14:tracePt t="47413" x="7278688" y="6016625"/>
          <p14:tracePt t="47415" x="7286625" y="6016625"/>
          <p14:tracePt t="47416" x="7307263" y="6016625"/>
          <p14:tracePt t="47417" x="7319963" y="6021388"/>
          <p14:tracePt t="47418" x="7327900" y="6021388"/>
          <p14:tracePt t="47419" x="7335838" y="6021388"/>
          <p14:tracePt t="47421" x="7346950" y="6021388"/>
          <p14:tracePt t="47421" x="7354888" y="6021388"/>
          <p14:tracePt t="47422" x="7362825" y="6021388"/>
          <p14:tracePt t="47423" x="7370763" y="6021388"/>
          <p14:tracePt t="47424" x="7378700" y="6021388"/>
          <p14:tracePt t="47425" x="7386638" y="6021388"/>
          <p14:tracePt t="47426" x="7394575" y="6021388"/>
          <p14:tracePt t="47427" x="7407275" y="6021388"/>
          <p14:tracePt t="47428" x="7415213" y="6021388"/>
          <p14:tracePt t="47431" x="7439025" y="6021388"/>
          <p14:tracePt t="47432" x="7443788" y="6021388"/>
          <p14:tracePt t="47433" x="7446963" y="6021388"/>
          <p14:tracePt t="47434" x="7454900" y="6021388"/>
          <p14:tracePt t="47435" x="7467600" y="6021388"/>
          <p14:tracePt t="47436" x="7475538" y="6021388"/>
          <p14:tracePt t="47437" x="7478713" y="6021388"/>
          <p14:tracePt t="47438" x="7483475" y="6021388"/>
          <p14:tracePt t="47439" x="7486650" y="6021388"/>
          <p14:tracePt t="47440" x="7494588" y="6021388"/>
          <p14:tracePt t="47441" x="7504113" y="6021388"/>
          <p14:tracePt t="47442" x="7512050" y="6021388"/>
          <p14:tracePt t="47443" x="7515225" y="6021388"/>
          <p14:tracePt t="47444" x="7523163" y="6021388"/>
          <p14:tracePt t="47445" x="7531100" y="6021388"/>
          <p14:tracePt t="47446" x="7539038" y="6021388"/>
          <p14:tracePt t="47448" x="7551738" y="6021388"/>
          <p14:tracePt t="47449" x="7554913" y="6021388"/>
          <p14:tracePt t="47450" x="7562850" y="6021388"/>
          <p14:tracePt t="47452" x="7570788" y="6021388"/>
          <p14:tracePt t="47452" x="7575550" y="6021388"/>
          <p14:tracePt t="47453" x="7583488" y="6021388"/>
          <p14:tracePt t="47454" x="7591425" y="6021388"/>
          <p14:tracePt t="47455" x="7596188" y="6021388"/>
          <p14:tracePt t="47456" x="7604125" y="6021388"/>
          <p14:tracePt t="47457" x="7607300" y="6021388"/>
          <p14:tracePt t="47458" x="7615238" y="6021388"/>
          <p14:tracePt t="47459" x="7623175" y="6021388"/>
          <p14:tracePt t="47460" x="7627938" y="6021388"/>
          <p14:tracePt t="47462" x="7635875" y="6021388"/>
          <p14:tracePt t="47463" x="7639050" y="6021388"/>
          <p14:tracePt t="47465" x="7643813" y="6021388"/>
          <p14:tracePt t="47466" x="7651750" y="6021388"/>
          <p14:tracePt t="47466" x="7654925" y="6021388"/>
          <p14:tracePt t="47468" x="7659688" y="6021388"/>
          <p14:tracePt t="47469" x="7662863" y="6021388"/>
          <p14:tracePt t="47469" x="7670800" y="6021388"/>
          <p14:tracePt t="47470" x="7675563" y="6021388"/>
          <p14:tracePt t="47472" x="7680325" y="6021388"/>
          <p14:tracePt t="47473" x="7683500" y="6021388"/>
          <p14:tracePt t="47476" x="7688263" y="6021388"/>
          <p14:tracePt t="47477" x="7691438" y="6021388"/>
          <p14:tracePt t="47479" x="7696200" y="6021388"/>
          <p14:tracePt t="47483" x="7699375" y="6021388"/>
          <p14:tracePt t="47587" x="7704138" y="6021388"/>
          <p14:tracePt t="47596" x="7707313" y="6021388"/>
          <p14:tracePt t="47599" x="7712075" y="6021388"/>
          <p14:tracePt t="47606" x="7715250" y="6021388"/>
          <p14:tracePt t="47610" x="7720013" y="6021388"/>
          <p14:tracePt t="47612" x="7723188" y="6021388"/>
          <p14:tracePt t="47618" x="7727950" y="6021388"/>
          <p14:tracePt t="47626" x="7731125" y="6021388"/>
          <p14:tracePt t="47630" x="7735888" y="6021388"/>
          <p14:tracePt t="47632" x="7739063" y="6021388"/>
          <p14:tracePt t="47633" x="7743825" y="6021388"/>
          <p14:tracePt t="47635" x="7747000" y="6021388"/>
          <p14:tracePt t="47635" x="7751763" y="6021388"/>
          <p14:tracePt t="47636" x="7754938" y="6021388"/>
          <p14:tracePt t="47638" x="7759700" y="6021388"/>
          <p14:tracePt t="47640" x="7762875" y="6021388"/>
          <p14:tracePt t="47640" x="7767638" y="6021388"/>
          <p14:tracePt t="47642" x="7772400" y="6021388"/>
          <p14:tracePt t="47643" x="7780338" y="6021388"/>
          <p14:tracePt t="47644" x="7783513" y="6021388"/>
          <p14:tracePt t="47645" x="7791450" y="6021388"/>
          <p14:tracePt t="47646" x="7796213" y="6021388"/>
          <p14:tracePt t="47648" x="7807325" y="6021388"/>
          <p14:tracePt t="47649" x="7812088" y="6021388"/>
          <p14:tracePt t="47651" x="7823200" y="6021388"/>
          <p14:tracePt t="47651" x="7831138" y="6021388"/>
          <p14:tracePt t="47652" x="7835900" y="6021388"/>
          <p14:tracePt t="47653" x="7843838" y="6021388"/>
          <p14:tracePt t="47655" x="7851775" y="6021388"/>
          <p14:tracePt t="47655" x="7864475" y="6021388"/>
          <p14:tracePt t="47656" x="7872413" y="6021388"/>
          <p14:tracePt t="47657" x="7888288" y="6021388"/>
          <p14:tracePt t="47658" x="7896225" y="6021388"/>
          <p14:tracePt t="47659" x="7904163" y="6021388"/>
          <p14:tracePt t="47660" x="7915275" y="6021388"/>
          <p14:tracePt t="47661" x="7923213" y="6021388"/>
          <p14:tracePt t="47662" x="7939088" y="6021388"/>
          <p14:tracePt t="47663" x="7948613" y="6021388"/>
          <p14:tracePt t="47665" x="7964488" y="6021388"/>
          <p14:tracePt t="47665" x="7975600" y="6021388"/>
          <p14:tracePt t="47666" x="7983538" y="6021388"/>
          <p14:tracePt t="47667" x="7996238" y="6021388"/>
          <p14:tracePt t="47668" x="8004175" y="6021388"/>
          <p14:tracePt t="47669" x="8012113" y="6021388"/>
          <p14:tracePt t="47670" x="8031163" y="6021388"/>
          <p14:tracePt t="47671" x="8040688" y="6021388"/>
          <p14:tracePt t="47672" x="8048625" y="6021388"/>
          <p14:tracePt t="47673" x="8059738" y="6021388"/>
          <p14:tracePt t="47674" x="8075613" y="6021388"/>
          <p14:tracePt t="47675" x="8083550" y="6021388"/>
          <p14:tracePt t="47676" x="8096250" y="6021388"/>
          <p14:tracePt t="47677" x="8104188" y="6021388"/>
          <p14:tracePt t="47678" x="8112125" y="6021388"/>
          <p14:tracePt t="47679" x="8128000" y="6021388"/>
          <p14:tracePt t="47682" x="8143875" y="6021388"/>
          <p14:tracePt t="47683" x="8151813" y="6021388"/>
          <p14:tracePt t="47684" x="8159750" y="6021388"/>
          <p14:tracePt t="47685" x="8183563" y="6021388"/>
          <p14:tracePt t="47686" x="8191500" y="6021388"/>
          <p14:tracePt t="47687" x="8199438" y="6021388"/>
          <p14:tracePt t="47688" x="8207375" y="6021388"/>
          <p14:tracePt t="47689" x="8212138" y="6021388"/>
          <p14:tracePt t="47690" x="8224838" y="6021388"/>
          <p14:tracePt t="47691" x="8228013" y="6021388"/>
          <p14:tracePt t="47692" x="8235950" y="6016625"/>
          <p14:tracePt t="47693" x="8240713" y="6016625"/>
          <p14:tracePt t="47694" x="8243888" y="6016625"/>
          <p14:tracePt t="47695" x="8256588" y="6016625"/>
          <p14:tracePt t="47698" x="8267700" y="6016625"/>
          <p14:tracePt t="47699" x="8275638" y="6016625"/>
          <p14:tracePt t="47701" x="8280400" y="6013450"/>
          <p14:tracePt t="47701" x="8283575" y="6013450"/>
          <p14:tracePt t="47702" x="8288338" y="6013450"/>
          <p14:tracePt t="47703" x="8291513" y="6013450"/>
          <p14:tracePt t="47704" x="8296275" y="6013450"/>
          <p14:tracePt t="47705" x="8299450" y="6013450"/>
          <p14:tracePt t="47706" x="8304213" y="6013450"/>
          <p14:tracePt t="47709" x="8307388" y="6013450"/>
          <p14:tracePt t="47711" x="8312150" y="6013450"/>
          <p14:tracePt t="47715" x="8316913" y="6013450"/>
          <p14:tracePt t="47847" x="8312150" y="6013450"/>
          <p14:tracePt t="47850" x="8307388" y="6013450"/>
          <p14:tracePt t="47853" x="8304213" y="6013450"/>
          <p14:tracePt t="47854" x="8299450" y="6013450"/>
          <p14:tracePt t="47856" x="8296275" y="6013450"/>
          <p14:tracePt t="47859" x="8288338" y="6013450"/>
          <p14:tracePt t="47860" x="8283575" y="6013450"/>
          <p14:tracePt t="47861" x="8275638" y="6013450"/>
          <p14:tracePt t="47864" x="8272463" y="6013450"/>
          <p14:tracePt t="47867" x="8264525" y="6013450"/>
          <p14:tracePt t="47868" x="8259763" y="6013450"/>
          <p14:tracePt t="47869" x="8256588" y="6013450"/>
          <p14:tracePt t="47870" x="8251825" y="6013450"/>
          <p14:tracePt t="47872" x="8243888" y="6013450"/>
          <p14:tracePt t="47873" x="8240713" y="6013450"/>
          <p14:tracePt t="47876" x="8224838" y="6013450"/>
          <p14:tracePt t="47878" x="8220075" y="6013450"/>
          <p14:tracePt t="47879" x="8215313" y="6013450"/>
          <p14:tracePt t="47880" x="8212138" y="6013450"/>
          <p14:tracePt t="47881" x="8204200" y="6013450"/>
          <p14:tracePt t="47883" x="8188325" y="6013450"/>
          <p14:tracePt t="47884" x="8183563" y="6013450"/>
          <p14:tracePt t="47886" x="8175625" y="6013450"/>
          <p14:tracePt t="47887" x="8172450" y="6013450"/>
          <p14:tracePt t="47899" x="8099425" y="6013450"/>
          <p14:tracePt t="47900" x="8091488" y="6013450"/>
          <p14:tracePt t="47900" x="8083550" y="6013450"/>
          <p14:tracePt t="47902" x="8080375" y="6013450"/>
          <p14:tracePt t="47902" x="8072438" y="6013450"/>
          <p14:tracePt t="47904" x="8067675" y="6013450"/>
          <p14:tracePt t="47905" x="8059738" y="6013450"/>
          <p14:tracePt t="47905" x="8051800" y="6013450"/>
          <p14:tracePt t="47906" x="8048625" y="6013450"/>
          <p14:tracePt t="47907" x="8040688" y="6013450"/>
          <p14:tracePt t="47908" x="8031163" y="6013450"/>
          <p14:tracePt t="47909" x="8027988" y="6013450"/>
          <p14:tracePt t="47910" x="8020050" y="6013450"/>
          <p14:tracePt t="47911" x="8012113" y="6013450"/>
          <p14:tracePt t="47912" x="8004175" y="6013450"/>
          <p14:tracePt t="47914" x="7999413" y="6013450"/>
          <p14:tracePt t="47915" x="7983538" y="6013450"/>
          <p14:tracePt t="47916" x="7975600" y="6013450"/>
          <p14:tracePt t="47919" x="7967663" y="6013450"/>
          <p14:tracePt t="47920" x="7959725" y="6013450"/>
          <p14:tracePt t="47920" x="7956550" y="6013450"/>
          <p14:tracePt t="47921" x="7948613" y="6013450"/>
          <p14:tracePt t="47922" x="7943850" y="6013450"/>
          <p14:tracePt t="47923" x="7935913" y="6013450"/>
          <p14:tracePt t="47924" x="7927975" y="6013450"/>
          <p14:tracePt t="47925" x="7923213" y="6013450"/>
          <p14:tracePt t="47926" x="7915275" y="6016625"/>
          <p14:tracePt t="47927" x="7912100" y="6016625"/>
          <p14:tracePt t="47928" x="7907338" y="6016625"/>
          <p14:tracePt t="47929" x="7899400" y="6016625"/>
          <p14:tracePt t="47930" x="7896225" y="6016625"/>
          <p14:tracePt t="47933" x="7883525" y="6016625"/>
          <p14:tracePt t="47934" x="7875588" y="6016625"/>
          <p14:tracePt t="47936" x="7867650" y="6016625"/>
          <p14:tracePt t="47936" x="7864475" y="6016625"/>
          <p14:tracePt t="47937" x="7859713" y="6016625"/>
          <p14:tracePt t="47938" x="7851775" y="6016625"/>
          <p14:tracePt t="47939" x="7847013" y="6016625"/>
          <p14:tracePt t="47940" x="7839075" y="6016625"/>
          <p14:tracePt t="47941" x="7835900" y="6016625"/>
          <p14:tracePt t="47942" x="7831138" y="6016625"/>
          <p14:tracePt t="47943" x="7827963" y="6016625"/>
          <p14:tracePt t="47944" x="7820025" y="6016625"/>
          <p14:tracePt t="47945" x="7815263" y="6016625"/>
          <p14:tracePt t="47946" x="7812088" y="6016625"/>
          <p14:tracePt t="47948" x="7804150" y="6016625"/>
          <p14:tracePt t="47949" x="7799388" y="6016625"/>
          <p14:tracePt t="47950" x="7791450" y="6016625"/>
          <p14:tracePt t="47952" x="7783513" y="6016625"/>
          <p14:tracePt t="47953" x="7780338" y="6016625"/>
          <p14:tracePt t="47954" x="7772400" y="6016625"/>
          <p14:tracePt t="47955" x="7767638" y="6016625"/>
          <p14:tracePt t="47956" x="7762875" y="6016625"/>
          <p14:tracePt t="47957" x="7759700" y="6016625"/>
          <p14:tracePt t="47958" x="7754938" y="6016625"/>
          <p14:tracePt t="47959" x="7751763" y="6016625"/>
          <p14:tracePt t="47960" x="7747000" y="6016625"/>
          <p14:tracePt t="47961" x="7743825" y="6016625"/>
          <p14:tracePt t="47962" x="7739063" y="6016625"/>
          <p14:tracePt t="47963" x="7735888" y="6016625"/>
          <p14:tracePt t="47965" x="7727950" y="6016625"/>
          <p14:tracePt t="47967" x="7723188" y="6016625"/>
          <p14:tracePt t="47968" x="7720013" y="6016625"/>
          <p14:tracePt t="47968" x="7712075" y="6016625"/>
          <p14:tracePt t="47969" x="7707313" y="6016625"/>
          <p14:tracePt t="47970" x="7704138" y="6016625"/>
          <p14:tracePt t="47972" x="7699375" y="6016625"/>
          <p14:tracePt t="47973" x="7696200" y="6016625"/>
          <p14:tracePt t="47974" x="7691438" y="6016625"/>
          <p14:tracePt t="47975" x="7688263" y="6016625"/>
          <p14:tracePt t="47976" x="7683500" y="6016625"/>
          <p14:tracePt t="47977" x="7680325" y="6016625"/>
          <p14:tracePt t="47978" x="7675563" y="6016625"/>
          <p14:tracePt t="47979" x="7670800" y="6016625"/>
          <p14:tracePt t="47982" x="7667625" y="6016625"/>
          <p14:tracePt t="47983" x="7662863" y="6016625"/>
          <p14:tracePt t="47985" x="7659688" y="6016625"/>
          <p14:tracePt t="47985" x="7654925" y="6016625"/>
          <p14:tracePt t="47987" x="7651750" y="6016625"/>
          <p14:tracePt t="47987" x="7646988" y="6016625"/>
          <p14:tracePt t="47988" x="7643813" y="6016625"/>
          <p14:tracePt t="47990" x="7639050" y="6016625"/>
          <p14:tracePt t="47991" x="7635875" y="6021388"/>
          <p14:tracePt t="47993" x="7631113" y="6021388"/>
          <p14:tracePt t="47994" x="7627938" y="6021388"/>
          <p14:tracePt t="47996" x="7623175" y="6021388"/>
          <p14:tracePt t="47999" x="7620000" y="6021388"/>
          <p14:tracePt t="48001" x="7615238" y="6021388"/>
          <p14:tracePt t="48002" x="7612063" y="6021388"/>
          <p14:tracePt t="48004" x="7612063" y="6024563"/>
          <p14:tracePt t="48004" x="7607300" y="6024563"/>
          <p14:tracePt t="48007" x="7604125" y="6024563"/>
          <p14:tracePt t="48009" x="7599363" y="6024563"/>
          <p14:tracePt t="48014" x="7596188" y="6024563"/>
          <p14:tracePt t="48017" x="7596188" y="6029325"/>
          <p14:tracePt t="48018" x="7591425" y="6029325"/>
          <p14:tracePt t="48027" x="7588250" y="6029325"/>
          <p14:tracePt t="48063" x="7583488" y="6029325"/>
          <p14:tracePt t="48067" x="7578725" y="6029325"/>
          <p14:tracePt t="48071" x="7575550" y="6029325"/>
          <p14:tracePt t="48073" x="7570788" y="6029325"/>
          <p14:tracePt t="48075" x="7567613" y="6029325"/>
          <p14:tracePt t="48077" x="7562850" y="6032500"/>
          <p14:tracePt t="48077" x="7559675" y="6032500"/>
          <p14:tracePt t="48079" x="7554913" y="6032500"/>
          <p14:tracePt t="48080" x="7554913" y="6037263"/>
          <p14:tracePt t="48082" x="7546975" y="6037263"/>
          <p14:tracePt t="48084" x="7543800" y="6037263"/>
          <p14:tracePt t="48087" x="7543800" y="6042025"/>
          <p14:tracePt t="48088" x="7539038" y="6042025"/>
          <p14:tracePt t="48091" x="7535863" y="6042025"/>
          <p14:tracePt t="48092" x="7531100" y="6042025"/>
          <p14:tracePt t="48093" x="7527925" y="6045200"/>
          <p14:tracePt t="48095" x="7523163" y="6045200"/>
          <p14:tracePt t="48099" x="7519988" y="6045200"/>
          <p14:tracePt t="48104" x="7515225" y="6045200"/>
          <p14:tracePt t="48104" x="7515225" y="6049963"/>
          <p14:tracePt t="48106" x="7512050" y="6049963"/>
          <p14:tracePt t="48107" x="7507288" y="6049963"/>
          <p14:tracePt t="48111" x="7504113" y="6049963"/>
          <p14:tracePt t="48120" x="7504113" y="6053138"/>
          <p14:tracePt t="48335" x="7507288" y="6053138"/>
          <p14:tracePt t="48338" x="7512050" y="6053138"/>
          <p14:tracePt t="48341" x="7515225" y="6053138"/>
          <p14:tracePt t="48344" x="7519988" y="6053138"/>
          <p14:tracePt t="48347" x="7523163" y="6053138"/>
          <p14:tracePt t="48350" x="7527925" y="6053138"/>
          <p14:tracePt t="48351" x="7531100" y="6053138"/>
          <p14:tracePt t="48353" x="7535863" y="6053138"/>
          <p14:tracePt t="48355" x="7539038" y="6053138"/>
          <p14:tracePt t="48361" x="7551738" y="6053138"/>
          <p14:tracePt t="48362" x="7554913" y="6053138"/>
          <p14:tracePt t="48364" x="7559675" y="6053138"/>
          <p14:tracePt t="48367" x="7567613" y="6057900"/>
          <p14:tracePt t="48368" x="7575550" y="6057900"/>
          <p14:tracePt t="48371" x="7578725" y="6057900"/>
          <p14:tracePt t="48373" x="7583488" y="6057900"/>
          <p14:tracePt t="48374" x="7591425" y="6057900"/>
          <p14:tracePt t="48375" x="7596188" y="6057900"/>
          <p14:tracePt t="48376" x="7599363" y="6057900"/>
          <p14:tracePt t="48377" x="7604125" y="6057900"/>
          <p14:tracePt t="48378" x="7607300" y="6057900"/>
          <p14:tracePt t="48379" x="7612063" y="6057900"/>
          <p14:tracePt t="48381" x="7620000" y="6057900"/>
          <p14:tracePt t="48383" x="7623175" y="6057900"/>
          <p14:tracePt t="48384" x="7631113" y="6057900"/>
          <p14:tracePt t="48385" x="7639050" y="6057900"/>
          <p14:tracePt t="48386" x="7643813" y="6057900"/>
          <p14:tracePt t="48387" x="7651750" y="6057900"/>
          <p14:tracePt t="48387" x="7654925" y="6057900"/>
          <p14:tracePt t="48388" x="7662863" y="6057900"/>
          <p14:tracePt t="48389" x="7670800" y="6057900"/>
          <p14:tracePt t="48390" x="7680325" y="6057900"/>
          <p14:tracePt t="48391" x="7688263" y="6057900"/>
          <p14:tracePt t="48392" x="7691438" y="6057900"/>
          <p14:tracePt t="48393" x="7704138" y="6057900"/>
          <p14:tracePt t="48394" x="7712075" y="6057900"/>
          <p14:tracePt t="48395" x="7727950" y="6057900"/>
          <p14:tracePt t="48396" x="7735888" y="6057900"/>
          <p14:tracePt t="48399" x="7751763" y="6057900"/>
          <p14:tracePt t="48399" x="7762875" y="6057900"/>
          <p14:tracePt t="48401" x="7772400" y="6057900"/>
          <p14:tracePt t="48401" x="7788275" y="6057900"/>
          <p14:tracePt t="48402" x="7796213" y="6057900"/>
          <p14:tracePt t="48403" x="7807325" y="6057900"/>
          <p14:tracePt t="48405" x="7823200" y="6057900"/>
          <p14:tracePt t="48405" x="7831138" y="6057900"/>
          <p14:tracePt t="48406" x="7843838" y="6057900"/>
          <p14:tracePt t="48407" x="7851775" y="6057900"/>
          <p14:tracePt t="48408" x="7867650" y="6057900"/>
          <p14:tracePt t="48409" x="7880350" y="6057900"/>
          <p14:tracePt t="48410" x="7896225" y="6057900"/>
          <p14:tracePt t="48411" x="7907338" y="6057900"/>
          <p14:tracePt t="48412" x="7915275" y="6057900"/>
          <p14:tracePt t="48413" x="7935913" y="6057900"/>
          <p14:tracePt t="48415" x="7943850" y="6053138"/>
          <p14:tracePt t="48416" x="7956550" y="6053138"/>
          <p14:tracePt t="48416" x="7972425" y="6053138"/>
          <p14:tracePt t="48417" x="7980363" y="6053138"/>
          <p14:tracePt t="48418" x="7999413" y="6053138"/>
          <p14:tracePt t="48420" x="8012113" y="6053138"/>
          <p14:tracePt t="48420" x="8023225" y="6053138"/>
          <p14:tracePt t="48421" x="8040688" y="6053138"/>
          <p14:tracePt t="48422" x="8051800" y="6045200"/>
          <p14:tracePt t="48423" x="8067675" y="6045200"/>
          <p14:tracePt t="48424" x="8088313" y="6045200"/>
          <p14:tracePt t="48425" x="8099425" y="6045200"/>
          <p14:tracePt t="48426" x="8112125" y="6045200"/>
          <p14:tracePt t="48427" x="8128000" y="6045200"/>
          <p14:tracePt t="48428" x="8148638" y="6042025"/>
          <p14:tracePt t="48429" x="8159750" y="6042025"/>
          <p14:tracePt t="48430" x="8175625" y="6042025"/>
          <p14:tracePt t="48432" x="8188325" y="6042025"/>
          <p14:tracePt t="48433" x="8204200" y="6037263"/>
          <p14:tracePt t="48433" x="8220075" y="6037263"/>
          <p14:tracePt t="48434" x="8235950" y="6037263"/>
          <p14:tracePt t="48436" x="8264525" y="6037263"/>
          <p14:tracePt t="48437" x="8275638" y="6037263"/>
          <p14:tracePt t="48438" x="8296275" y="6032500"/>
          <p14:tracePt t="48439" x="8307388" y="6032500"/>
          <p14:tracePt t="48440" x="8328025" y="6032500"/>
          <p14:tracePt t="48441" x="8340725" y="6032500"/>
          <p14:tracePt t="48442" x="8356600" y="6032500"/>
          <p14:tracePt t="48443" x="8375650" y="6029325"/>
          <p14:tracePt t="48444" x="8388350" y="6029325"/>
          <p14:tracePt t="48445" x="8408988" y="6029325"/>
          <p14:tracePt t="48446" x="8420100" y="6029325"/>
          <p14:tracePt t="48448" x="8459788" y="6021388"/>
          <p14:tracePt t="48449" x="8480425" y="6021388"/>
          <p14:tracePt t="48451" x="8493125" y="6021388"/>
          <p14:tracePt t="48452" x="8512175" y="6021388"/>
          <p14:tracePt t="48452" x="8535988" y="6021388"/>
          <p14:tracePt t="48453" x="8551863" y="6021388"/>
          <p14:tracePt t="48454" x="8572500" y="6021388"/>
          <p14:tracePt t="48455" x="8593138" y="6016625"/>
          <p14:tracePt t="48456" x="8604250" y="6016625"/>
          <p14:tracePt t="48457" x="8624888" y="6016625"/>
          <p14:tracePt t="48458" x="8648700" y="6016625"/>
          <p14:tracePt t="48459" x="8667750" y="6016625"/>
          <p14:tracePt t="48460" x="8688388" y="6016625"/>
          <p14:tracePt t="48461" x="8709025" y="6016625"/>
          <p14:tracePt t="48462" x="8740775" y="6016625"/>
          <p14:tracePt t="48463" x="8761413" y="6013450"/>
          <p14:tracePt t="48465" x="8777288" y="6013450"/>
          <p14:tracePt t="48467" x="8816975" y="6013450"/>
          <p14:tracePt t="48468" x="8877300" y="6005513"/>
          <p14:tracePt t="48469" x="8896350" y="6005513"/>
          <p14:tracePt t="48470" x="8920163" y="6005513"/>
          <p14:tracePt t="48471" x="8940800" y="6005513"/>
          <p14:tracePt t="48472" x="8972550" y="6000750"/>
          <p14:tracePt t="48473" x="9001125" y="6000750"/>
          <p14:tracePt t="48474" x="9024938" y="6000750"/>
          <p14:tracePt t="48475" x="9045575" y="5997575"/>
          <p14:tracePt t="48476" x="9072563" y="5997575"/>
          <p14:tracePt t="48477" x="9104313" y="5997575"/>
          <p14:tracePt t="48478" x="9132888" y="5997575"/>
          <p14:tracePt t="48479" x="9169400" y="5989638"/>
          <p14:tracePt t="48480" x="9196388" y="5989638"/>
          <p14:tracePt t="48482" x="9221788" y="5989638"/>
          <p14:tracePt t="48484" x="9293225" y="5989638"/>
          <p14:tracePt t="48485" x="9317038" y="5989638"/>
          <p14:tracePt t="48485" x="9345613" y="5989638"/>
          <p14:tracePt t="48486" x="9369425" y="5989638"/>
          <p14:tracePt t="48487" x="9413875" y="5984875"/>
          <p14:tracePt t="48488" x="9448800" y="5984875"/>
          <p14:tracePt t="48489" x="9477375" y="5984875"/>
          <p14:tracePt t="48490" x="9501188" y="5984875"/>
          <p14:tracePt t="48491" x="9537700" y="5984875"/>
          <p14:tracePt t="48492" x="9582150" y="5976938"/>
          <p14:tracePt t="48493" x="9617075" y="5976938"/>
          <p14:tracePt t="48494" x="9640888" y="5976938"/>
          <p14:tracePt t="48495" x="9677400" y="5976938"/>
          <p14:tracePt t="48496" x="9705975" y="5973763"/>
          <p14:tracePt t="48498" x="9782175" y="5973763"/>
          <p14:tracePt t="48500" x="9809163" y="5965825"/>
          <p14:tracePt t="48500" x="9845675" y="5965825"/>
          <p14:tracePt t="48501" x="9874250" y="5965825"/>
          <p14:tracePt t="48502" x="9917113" y="5961063"/>
          <p14:tracePt t="48503" x="9950450" y="5961063"/>
          <p14:tracePt t="48504" x="9977438" y="5961063"/>
          <p14:tracePt t="48505" x="10013950" y="5953125"/>
          <p14:tracePt t="48506" x="10058400" y="5953125"/>
          <p14:tracePt t="48507" x="10085388" y="5949950"/>
          <p14:tracePt t="48508" x="10118725" y="5949950"/>
          <p14:tracePt t="48509" x="10145713" y="5945188"/>
          <p14:tracePt t="48510" x="10174288" y="5945188"/>
          <p14:tracePt t="48511" x="10206038" y="5945188"/>
          <p14:tracePt t="48512" x="10250488" y="5937250"/>
          <p14:tracePt t="48513" x="10277475" y="5937250"/>
          <p14:tracePt t="48515" x="10313988" y="5932488"/>
          <p14:tracePt t="48516" x="10350500" y="5932488"/>
          <p14:tracePt t="48517" x="10394950" y="5924550"/>
          <p14:tracePt t="48518" x="10421938" y="5921375"/>
          <p14:tracePt t="48518" x="10458450" y="5913438"/>
          <p14:tracePt t="48519" x="10482263" y="5913438"/>
          <p14:tracePt t="48520" x="10518775" y="5908675"/>
          <p14:tracePt t="48521" x="10545763" y="5908675"/>
          <p14:tracePt t="48522" x="10598150" y="5900738"/>
          <p14:tracePt t="48523" x="10626725" y="5897563"/>
          <p14:tracePt t="48524" x="10663238" y="5889625"/>
          <p14:tracePt t="48525" x="10694988" y="5889625"/>
          <p14:tracePt t="48526" x="10737850" y="5881688"/>
          <p14:tracePt t="48527" x="10774363" y="5876925"/>
          <p14:tracePt t="48528" x="10810875" y="5868988"/>
          <p14:tracePt t="48529" x="10839450" y="5865813"/>
          <p14:tracePt t="48530" x="10874375" y="5865813"/>
          <p14:tracePt t="48532" x="10926763" y="5857875"/>
          <p14:tracePt t="48533" x="10955338" y="5853113"/>
          <p14:tracePt t="48534" x="10990263" y="5848350"/>
          <p14:tracePt t="48535" x="11026775" y="5840413"/>
          <p14:tracePt t="48535" x="11063288" y="5837238"/>
          <p14:tracePt t="48537" x="11106150" y="5829300"/>
          <p14:tracePt t="48537" x="11142663" y="5829300"/>
          <p14:tracePt t="48539" x="11179175" y="5824538"/>
          <p14:tracePt t="48540" x="11207750" y="5816600"/>
          <p14:tracePt t="48540" x="11242675" y="5813425"/>
          <p14:tracePt t="48542" x="11295063" y="5805488"/>
          <p14:tracePt t="48542" x="11331575" y="5800725"/>
          <p14:tracePt t="48543" x="11358563" y="5792788"/>
          <p14:tracePt t="48545" x="11426825" y="5789613"/>
          <p14:tracePt t="48546" x="11471275" y="5781675"/>
          <p14:tracePt t="48548" x="11542713" y="5768975"/>
          <p14:tracePt t="48549" x="11571288" y="5765800"/>
          <p14:tracePt t="48551" x="11623675" y="5748338"/>
          <p14:tracePt t="48553" x="11687175" y="5737225"/>
          <p14:tracePt t="48553" x="11723688" y="5737225"/>
          <p14:tracePt t="48554" x="11760200" y="5732463"/>
          <p14:tracePt t="48555" x="11795125" y="5724525"/>
          <p14:tracePt t="48556" x="11839575" y="5721350"/>
          <p14:tracePt t="48557" x="11876088" y="5713413"/>
          <p14:tracePt t="48558" x="11903075" y="5708650"/>
          <p14:tracePt t="48559" x="11939588" y="5705475"/>
          <p14:tracePt t="48560" x="11991975" y="5689600"/>
          <p14:tracePt t="48561" x="12020550" y="5684838"/>
          <p14:tracePt t="48562" x="12055475" y="5676900"/>
          <p14:tracePt t="48564" x="12084050" y="5673725"/>
          <p14:tracePt t="48565" x="12147550" y="5661025"/>
        </p14:tracePtLst>
      </p14:laserTraceLst>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E87DDF46-B07A-4183-A6C4-5CFC46E95960}"/>
              </a:ext>
            </a:extLst>
          </p:cNvPr>
          <p:cNvSpPr>
            <a:spLocks noGrp="1"/>
          </p:cNvSpPr>
          <p:nvPr>
            <p:ph type="sldNum" sz="quarter" idx="12"/>
          </p:nvPr>
        </p:nvSpPr>
        <p:spPr/>
        <p:txBody>
          <a:bodyPr/>
          <a:lstStyle/>
          <a:p>
            <a:fld id="{87170177-53BE-4EA4-8CC9-5D64EAB74717}" type="slidenum">
              <a:rPr lang="cs-CZ" sz="900" smtClean="0"/>
              <a:t>16</a:t>
            </a:fld>
            <a:endParaRPr lang="cs-CZ" sz="900" dirty="0"/>
          </a:p>
        </p:txBody>
      </p:sp>
      <p:sp>
        <p:nvSpPr>
          <p:cNvPr id="4" name="Rectangle 94">
            <a:extLst>
              <a:ext uri="{FF2B5EF4-FFF2-40B4-BE49-F238E27FC236}">
                <a16:creationId xmlns:a16="http://schemas.microsoft.com/office/drawing/2014/main" id="{32C0964D-8390-4CE7-85AE-760E74072C20}"/>
              </a:ext>
            </a:extLst>
          </p:cNvPr>
          <p:cNvSpPr/>
          <p:nvPr/>
        </p:nvSpPr>
        <p:spPr>
          <a:xfrm>
            <a:off x="0" y="-17702"/>
            <a:ext cx="12192001" cy="10800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82">
            <a:extLst>
              <a:ext uri="{FF2B5EF4-FFF2-40B4-BE49-F238E27FC236}">
                <a16:creationId xmlns:a16="http://schemas.microsoft.com/office/drawing/2014/main" id="{D0E75087-D62C-461B-B63C-582B2042EDFC}"/>
              </a:ext>
            </a:extLst>
          </p:cNvPr>
          <p:cNvSpPr txBox="1"/>
          <p:nvPr/>
        </p:nvSpPr>
        <p:spPr>
          <a:xfrm>
            <a:off x="304263" y="200887"/>
            <a:ext cx="11583472" cy="584775"/>
          </a:xfrm>
          <a:prstGeom prst="rect">
            <a:avLst/>
          </a:prstGeom>
          <a:noFill/>
        </p:spPr>
        <p:txBody>
          <a:bodyPr wrap="square" rtlCol="0">
            <a:spAutoFit/>
          </a:bodyPr>
          <a:lstStyle/>
          <a:p>
            <a:r>
              <a:rPr lang="en-GB" sz="3200" b="1" dirty="0">
                <a:solidFill>
                  <a:schemeClr val="bg2"/>
                </a:solidFill>
                <a:latin typeface="+mj-lt"/>
              </a:rPr>
              <a:t>Ageing &amp; Test Evaluation</a:t>
            </a:r>
            <a:endParaRPr lang="en-US" sz="3200" dirty="0">
              <a:solidFill>
                <a:schemeClr val="tx2"/>
              </a:solidFill>
            </a:endParaRPr>
          </a:p>
        </p:txBody>
      </p:sp>
      <p:sp>
        <p:nvSpPr>
          <p:cNvPr id="43" name="TextovéPole 42">
            <a:extLst>
              <a:ext uri="{FF2B5EF4-FFF2-40B4-BE49-F238E27FC236}">
                <a16:creationId xmlns:a16="http://schemas.microsoft.com/office/drawing/2014/main" id="{57E1B2C5-F973-4900-AB4C-EE20BCDE5540}"/>
              </a:ext>
            </a:extLst>
          </p:cNvPr>
          <p:cNvSpPr txBox="1"/>
          <p:nvPr/>
        </p:nvSpPr>
        <p:spPr>
          <a:xfrm>
            <a:off x="10855145" y="525625"/>
            <a:ext cx="1032590" cy="369332"/>
          </a:xfrm>
          <a:prstGeom prst="rect">
            <a:avLst/>
          </a:prstGeom>
          <a:noFill/>
        </p:spPr>
        <p:txBody>
          <a:bodyPr wrap="none" rtlCol="0">
            <a:spAutoFit/>
          </a:bodyPr>
          <a:lstStyle/>
          <a:p>
            <a:r>
              <a:rPr lang="en-GB" b="1" dirty="0">
                <a:solidFill>
                  <a:schemeClr val="bg1">
                    <a:lumMod val="85000"/>
                  </a:schemeClr>
                </a:solidFill>
              </a:rPr>
              <a:t>Test Plan</a:t>
            </a:r>
            <a:endParaRPr lang="cs-CZ" b="1" dirty="0">
              <a:solidFill>
                <a:schemeClr val="bg1">
                  <a:lumMod val="85000"/>
                </a:schemeClr>
              </a:solidFill>
            </a:endParaRPr>
          </a:p>
        </p:txBody>
      </p:sp>
      <p:sp>
        <p:nvSpPr>
          <p:cNvPr id="44" name="TextovéPole 43">
            <a:extLst>
              <a:ext uri="{FF2B5EF4-FFF2-40B4-BE49-F238E27FC236}">
                <a16:creationId xmlns:a16="http://schemas.microsoft.com/office/drawing/2014/main" id="{6A1929DA-B41F-4187-AAC7-837414305A58}"/>
              </a:ext>
            </a:extLst>
          </p:cNvPr>
          <p:cNvSpPr txBox="1"/>
          <p:nvPr/>
        </p:nvSpPr>
        <p:spPr>
          <a:xfrm>
            <a:off x="6400799" y="1235226"/>
            <a:ext cx="2328586" cy="923330"/>
          </a:xfrm>
          <a:prstGeom prst="rect">
            <a:avLst/>
          </a:prstGeom>
          <a:noFill/>
        </p:spPr>
        <p:txBody>
          <a:bodyPr wrap="none" rtlCol="0">
            <a:spAutoFit/>
          </a:bodyPr>
          <a:lstStyle/>
          <a:p>
            <a:r>
              <a:rPr lang="cs-CZ" b="1" dirty="0" err="1"/>
              <a:t>Tantalum</a:t>
            </a:r>
            <a:r>
              <a:rPr lang="cs-CZ" b="1" dirty="0"/>
              <a:t> </a:t>
            </a:r>
            <a:r>
              <a:rPr lang="cs-CZ" b="1" dirty="0" err="1"/>
              <a:t>capacitor</a:t>
            </a:r>
            <a:r>
              <a:rPr lang="cs-CZ" b="1" dirty="0"/>
              <a:t>:</a:t>
            </a:r>
          </a:p>
          <a:p>
            <a:r>
              <a:rPr lang="cs-CZ" dirty="0"/>
              <a:t>A case 1206, 10uF, 10V</a:t>
            </a:r>
          </a:p>
          <a:p>
            <a:endParaRPr lang="cs-CZ" dirty="0"/>
          </a:p>
        </p:txBody>
      </p:sp>
      <p:sp>
        <p:nvSpPr>
          <p:cNvPr id="46" name="TextovéPole 45">
            <a:extLst>
              <a:ext uri="{FF2B5EF4-FFF2-40B4-BE49-F238E27FC236}">
                <a16:creationId xmlns:a16="http://schemas.microsoft.com/office/drawing/2014/main" id="{FA6702B5-21EE-4664-A71F-805B9E66D39B}"/>
              </a:ext>
            </a:extLst>
          </p:cNvPr>
          <p:cNvSpPr txBox="1"/>
          <p:nvPr/>
        </p:nvSpPr>
        <p:spPr>
          <a:xfrm>
            <a:off x="6836190" y="1895645"/>
            <a:ext cx="4018209" cy="1384995"/>
          </a:xfrm>
          <a:prstGeom prst="rect">
            <a:avLst/>
          </a:prstGeom>
          <a:noFill/>
        </p:spPr>
        <p:txBody>
          <a:bodyPr wrap="square">
            <a:spAutoFit/>
          </a:bodyPr>
          <a:lstStyle/>
          <a:p>
            <a:r>
              <a:rPr lang="en-GB" sz="1400" b="1" dirty="0"/>
              <a:t>Test Sample 	</a:t>
            </a:r>
            <a:r>
              <a:rPr lang="cs-CZ" sz="1400" b="1" dirty="0"/>
              <a:t>MFG	GRADE</a:t>
            </a:r>
          </a:p>
          <a:p>
            <a:r>
              <a:rPr lang="en-GB" sz="1400" dirty="0"/>
              <a:t>#1		Supplier 1</a:t>
            </a:r>
            <a:r>
              <a:rPr lang="cs-CZ" sz="1400" dirty="0"/>
              <a:t>	</a:t>
            </a:r>
            <a:r>
              <a:rPr lang="cs-CZ" sz="1400" dirty="0" err="1"/>
              <a:t>Automotive</a:t>
            </a:r>
            <a:endParaRPr lang="cs-CZ" sz="1400" dirty="0"/>
          </a:p>
          <a:p>
            <a:r>
              <a:rPr lang="en-GB" sz="1400" dirty="0"/>
              <a:t>#2		Supplier 2</a:t>
            </a:r>
            <a:r>
              <a:rPr lang="cs-CZ" sz="1400" dirty="0"/>
              <a:t>	</a:t>
            </a:r>
            <a:r>
              <a:rPr lang="cs-CZ" sz="1400" dirty="0" err="1"/>
              <a:t>Automotive</a:t>
            </a:r>
            <a:endParaRPr lang="cs-CZ" sz="1400" dirty="0"/>
          </a:p>
          <a:p>
            <a:r>
              <a:rPr lang="en-GB" sz="1400" dirty="0"/>
              <a:t>#3		Supplier 3</a:t>
            </a:r>
            <a:r>
              <a:rPr lang="cs-CZ" sz="1400" dirty="0"/>
              <a:t>	</a:t>
            </a:r>
            <a:r>
              <a:rPr lang="cs-CZ" sz="1400" dirty="0" err="1"/>
              <a:t>Automotive</a:t>
            </a:r>
            <a:endParaRPr lang="en-GB" sz="1400" dirty="0"/>
          </a:p>
          <a:p>
            <a:r>
              <a:rPr lang="en-GB" sz="1400" dirty="0"/>
              <a:t>#4		Supplier 1	COTS</a:t>
            </a:r>
          </a:p>
          <a:p>
            <a:endParaRPr lang="cs-CZ" sz="1400" dirty="0"/>
          </a:p>
        </p:txBody>
      </p:sp>
      <p:sp>
        <p:nvSpPr>
          <p:cNvPr id="50" name="TextovéPole 49">
            <a:extLst>
              <a:ext uri="{FF2B5EF4-FFF2-40B4-BE49-F238E27FC236}">
                <a16:creationId xmlns:a16="http://schemas.microsoft.com/office/drawing/2014/main" id="{C894ED53-26C1-4C28-AF8A-29E0FC818EC7}"/>
              </a:ext>
            </a:extLst>
          </p:cNvPr>
          <p:cNvSpPr txBox="1"/>
          <p:nvPr/>
        </p:nvSpPr>
        <p:spPr>
          <a:xfrm>
            <a:off x="6458409" y="3411199"/>
            <a:ext cx="2624629" cy="646331"/>
          </a:xfrm>
          <a:prstGeom prst="rect">
            <a:avLst/>
          </a:prstGeom>
          <a:noFill/>
        </p:spPr>
        <p:txBody>
          <a:bodyPr wrap="none" rtlCol="0">
            <a:spAutoFit/>
          </a:bodyPr>
          <a:lstStyle/>
          <a:p>
            <a:r>
              <a:rPr lang="cs-CZ" b="1" dirty="0"/>
              <a:t>MLCC </a:t>
            </a:r>
            <a:r>
              <a:rPr lang="cs-CZ" b="1" dirty="0" err="1"/>
              <a:t>capacitor</a:t>
            </a:r>
            <a:r>
              <a:rPr lang="cs-CZ" b="1" dirty="0"/>
              <a:t>:</a:t>
            </a:r>
          </a:p>
          <a:p>
            <a:r>
              <a:rPr lang="cs-CZ" dirty="0"/>
              <a:t>10uF 25V, X7R, 1210 case:</a:t>
            </a:r>
          </a:p>
        </p:txBody>
      </p:sp>
      <p:sp>
        <p:nvSpPr>
          <p:cNvPr id="61" name="TextovéPole 60">
            <a:extLst>
              <a:ext uri="{FF2B5EF4-FFF2-40B4-BE49-F238E27FC236}">
                <a16:creationId xmlns:a16="http://schemas.microsoft.com/office/drawing/2014/main" id="{836521C8-F670-4DD0-AC20-F1F39493EE22}"/>
              </a:ext>
            </a:extLst>
          </p:cNvPr>
          <p:cNvSpPr txBox="1"/>
          <p:nvPr/>
        </p:nvSpPr>
        <p:spPr>
          <a:xfrm>
            <a:off x="6889591" y="3994935"/>
            <a:ext cx="4018209" cy="954107"/>
          </a:xfrm>
          <a:prstGeom prst="rect">
            <a:avLst/>
          </a:prstGeom>
          <a:noFill/>
        </p:spPr>
        <p:txBody>
          <a:bodyPr wrap="square">
            <a:spAutoFit/>
          </a:bodyPr>
          <a:lstStyle/>
          <a:p>
            <a:r>
              <a:rPr lang="en-GB" sz="1400" b="1" dirty="0"/>
              <a:t>Test Sample 	</a:t>
            </a:r>
            <a:r>
              <a:rPr lang="cs-CZ" sz="1400" b="1" dirty="0"/>
              <a:t>MFG	GRADE</a:t>
            </a:r>
          </a:p>
          <a:p>
            <a:r>
              <a:rPr lang="en-GB" sz="1400" dirty="0"/>
              <a:t>#1		Supplier 4</a:t>
            </a:r>
            <a:r>
              <a:rPr lang="cs-CZ" sz="1400" dirty="0"/>
              <a:t>	</a:t>
            </a:r>
            <a:r>
              <a:rPr lang="cs-CZ" sz="1400" dirty="0" err="1"/>
              <a:t>Automotive</a:t>
            </a:r>
            <a:endParaRPr lang="cs-CZ" sz="1400" dirty="0"/>
          </a:p>
          <a:p>
            <a:r>
              <a:rPr lang="en-GB" sz="1400" dirty="0"/>
              <a:t>#2		Supplier 5</a:t>
            </a:r>
            <a:r>
              <a:rPr lang="cs-CZ" sz="1400" dirty="0"/>
              <a:t>	</a:t>
            </a:r>
            <a:r>
              <a:rPr lang="cs-CZ" sz="1400" dirty="0" err="1"/>
              <a:t>Automotive</a:t>
            </a:r>
            <a:endParaRPr lang="cs-CZ" sz="1400" dirty="0"/>
          </a:p>
          <a:p>
            <a:r>
              <a:rPr lang="en-GB" sz="1400" dirty="0"/>
              <a:t>#3		Supplier 6</a:t>
            </a:r>
            <a:r>
              <a:rPr lang="cs-CZ" sz="1400" dirty="0"/>
              <a:t>	</a:t>
            </a:r>
            <a:r>
              <a:rPr lang="cs-CZ" sz="1400" dirty="0" err="1"/>
              <a:t>Automotive</a:t>
            </a:r>
            <a:endParaRPr lang="en-GB" sz="1400" dirty="0"/>
          </a:p>
        </p:txBody>
      </p:sp>
      <p:sp>
        <p:nvSpPr>
          <p:cNvPr id="62" name="TextovéPole 61">
            <a:extLst>
              <a:ext uri="{FF2B5EF4-FFF2-40B4-BE49-F238E27FC236}">
                <a16:creationId xmlns:a16="http://schemas.microsoft.com/office/drawing/2014/main" id="{AF9E0267-3DFF-4980-9D90-D8BA62F96309}"/>
              </a:ext>
            </a:extLst>
          </p:cNvPr>
          <p:cNvSpPr txBox="1"/>
          <p:nvPr/>
        </p:nvSpPr>
        <p:spPr>
          <a:xfrm>
            <a:off x="6516103" y="4948665"/>
            <a:ext cx="3098443" cy="369332"/>
          </a:xfrm>
          <a:prstGeom prst="rect">
            <a:avLst/>
          </a:prstGeom>
          <a:noFill/>
        </p:spPr>
        <p:txBody>
          <a:bodyPr wrap="square">
            <a:spAutoFit/>
          </a:bodyPr>
          <a:lstStyle/>
          <a:p>
            <a:r>
              <a:rPr lang="cs-CZ" dirty="0"/>
              <a:t>470nF 25V X7R 1210</a:t>
            </a:r>
          </a:p>
        </p:txBody>
      </p:sp>
      <p:sp>
        <p:nvSpPr>
          <p:cNvPr id="64" name="TextovéPole 63">
            <a:extLst>
              <a:ext uri="{FF2B5EF4-FFF2-40B4-BE49-F238E27FC236}">
                <a16:creationId xmlns:a16="http://schemas.microsoft.com/office/drawing/2014/main" id="{365E7E25-6F00-4BBF-8E61-A9F45B13F66F}"/>
              </a:ext>
            </a:extLst>
          </p:cNvPr>
          <p:cNvSpPr txBox="1"/>
          <p:nvPr/>
        </p:nvSpPr>
        <p:spPr>
          <a:xfrm>
            <a:off x="6889591" y="5272219"/>
            <a:ext cx="4018209" cy="738664"/>
          </a:xfrm>
          <a:prstGeom prst="rect">
            <a:avLst/>
          </a:prstGeom>
          <a:noFill/>
        </p:spPr>
        <p:txBody>
          <a:bodyPr wrap="square">
            <a:spAutoFit/>
          </a:bodyPr>
          <a:lstStyle/>
          <a:p>
            <a:r>
              <a:rPr lang="en-GB" sz="1400" b="1" dirty="0"/>
              <a:t>Test Sample 	</a:t>
            </a:r>
            <a:r>
              <a:rPr lang="cs-CZ" sz="1400" b="1" dirty="0"/>
              <a:t>MFG	GRADE</a:t>
            </a:r>
          </a:p>
          <a:p>
            <a:r>
              <a:rPr lang="en-GB" sz="1400" dirty="0"/>
              <a:t>#4		Supplier 1</a:t>
            </a:r>
            <a:r>
              <a:rPr lang="cs-CZ" sz="1400" dirty="0"/>
              <a:t>	</a:t>
            </a:r>
            <a:r>
              <a:rPr lang="cs-CZ" sz="1400" dirty="0" err="1"/>
              <a:t>Automotive</a:t>
            </a:r>
            <a:endParaRPr lang="cs-CZ" sz="1400" dirty="0"/>
          </a:p>
          <a:p>
            <a:r>
              <a:rPr lang="en-GB" sz="1400" dirty="0"/>
              <a:t>#5		Supplier 1</a:t>
            </a:r>
            <a:r>
              <a:rPr lang="cs-CZ" sz="1400" dirty="0"/>
              <a:t>	</a:t>
            </a:r>
            <a:r>
              <a:rPr lang="en-GB" sz="1400" dirty="0"/>
              <a:t>CECC/COTS</a:t>
            </a:r>
            <a:endParaRPr lang="cs-CZ" sz="1400" dirty="0"/>
          </a:p>
        </p:txBody>
      </p:sp>
      <p:pic>
        <p:nvPicPr>
          <p:cNvPr id="2" name="Obrázek 1">
            <a:extLst>
              <a:ext uri="{FF2B5EF4-FFF2-40B4-BE49-F238E27FC236}">
                <a16:creationId xmlns:a16="http://schemas.microsoft.com/office/drawing/2014/main" id="{3C177CB9-0DE9-4F5C-BF92-FF465D160882}"/>
              </a:ext>
            </a:extLst>
          </p:cNvPr>
          <p:cNvPicPr>
            <a:picLocks noChangeAspect="1"/>
          </p:cNvPicPr>
          <p:nvPr/>
        </p:nvPicPr>
        <p:blipFill>
          <a:blip r:embed="rId4"/>
          <a:stretch>
            <a:fillRect/>
          </a:stretch>
        </p:blipFill>
        <p:spPr>
          <a:xfrm>
            <a:off x="1029130" y="1189990"/>
            <a:ext cx="5196840" cy="5166360"/>
          </a:xfrm>
          <a:prstGeom prst="rect">
            <a:avLst/>
          </a:prstGeom>
        </p:spPr>
      </p:pic>
      <p:pic>
        <p:nvPicPr>
          <p:cNvPr id="6" name="Obrázek 5">
            <a:extLst>
              <a:ext uri="{FF2B5EF4-FFF2-40B4-BE49-F238E27FC236}">
                <a16:creationId xmlns:a16="http://schemas.microsoft.com/office/drawing/2014/main" id="{250B71C7-3BF7-4BDC-A36A-446935EF47EA}"/>
              </a:ext>
            </a:extLst>
          </p:cNvPr>
          <p:cNvPicPr>
            <a:picLocks noChangeAspect="1"/>
          </p:cNvPicPr>
          <p:nvPr/>
        </p:nvPicPr>
        <p:blipFill>
          <a:blip r:embed="rId5"/>
          <a:stretch>
            <a:fillRect/>
          </a:stretch>
        </p:blipFill>
        <p:spPr>
          <a:xfrm>
            <a:off x="9505059" y="1181350"/>
            <a:ext cx="2506980" cy="708660"/>
          </a:xfrm>
          <a:prstGeom prst="rect">
            <a:avLst/>
          </a:prstGeom>
        </p:spPr>
      </p:pic>
      <p:pic>
        <p:nvPicPr>
          <p:cNvPr id="7" name="Obrázek 6">
            <a:extLst>
              <a:ext uri="{FF2B5EF4-FFF2-40B4-BE49-F238E27FC236}">
                <a16:creationId xmlns:a16="http://schemas.microsoft.com/office/drawing/2014/main" id="{4447980C-CBCC-418E-8817-AD8F055F618F}"/>
              </a:ext>
            </a:extLst>
          </p:cNvPr>
          <p:cNvPicPr>
            <a:picLocks noChangeAspect="1"/>
          </p:cNvPicPr>
          <p:nvPr/>
        </p:nvPicPr>
        <p:blipFill>
          <a:blip r:embed="rId6"/>
          <a:stretch>
            <a:fillRect/>
          </a:stretch>
        </p:blipFill>
        <p:spPr>
          <a:xfrm>
            <a:off x="9562209" y="3136301"/>
            <a:ext cx="2392680" cy="739140"/>
          </a:xfrm>
          <a:prstGeom prst="rect">
            <a:avLst/>
          </a:prstGeom>
        </p:spPr>
      </p:pic>
      <p:sp>
        <p:nvSpPr>
          <p:cNvPr id="17" name="Zástupný symbol pro zápatí 2">
            <a:extLst>
              <a:ext uri="{FF2B5EF4-FFF2-40B4-BE49-F238E27FC236}">
                <a16:creationId xmlns:a16="http://schemas.microsoft.com/office/drawing/2014/main" id="{42BF4E4A-0B62-4CD6-8FD5-2D68A1C9F9C5}"/>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8" name="Zvuk 7">
            <a:hlinkClick r:id="" action="ppaction://media"/>
            <a:extLst>
              <a:ext uri="{FF2B5EF4-FFF2-40B4-BE49-F238E27FC236}">
                <a16:creationId xmlns:a16="http://schemas.microsoft.com/office/drawing/2014/main" id="{C410DE94-990F-48CF-8AE1-5A68942F8868}"/>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1782387656"/>
      </p:ext>
    </p:extLst>
  </p:cSld>
  <p:clrMapOvr>
    <a:masterClrMapping/>
  </p:clrMapOvr>
  <mc:AlternateContent xmlns:mc="http://schemas.openxmlformats.org/markup-compatibility/2006">
    <mc:Choice xmlns:p14="http://schemas.microsoft.com/office/powerpoint/2010/main" Requires="p14">
      <p:transition spd="slow" p14:dur="2000" advTm="13663"/>
    </mc:Choice>
    <mc:Fallback>
      <p:transition spd="slow" advTm="1366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E87DDF46-B07A-4183-A6C4-5CFC46E95960}"/>
              </a:ext>
            </a:extLst>
          </p:cNvPr>
          <p:cNvSpPr>
            <a:spLocks noGrp="1"/>
          </p:cNvSpPr>
          <p:nvPr>
            <p:ph type="sldNum" sz="quarter" idx="12"/>
          </p:nvPr>
        </p:nvSpPr>
        <p:spPr/>
        <p:txBody>
          <a:bodyPr/>
          <a:lstStyle/>
          <a:p>
            <a:fld id="{87170177-53BE-4EA4-8CC9-5D64EAB74717}" type="slidenum">
              <a:rPr lang="cs-CZ" sz="900" smtClean="0"/>
              <a:t>17</a:t>
            </a:fld>
            <a:endParaRPr lang="cs-CZ" sz="900" dirty="0"/>
          </a:p>
        </p:txBody>
      </p:sp>
      <p:sp>
        <p:nvSpPr>
          <p:cNvPr id="4" name="Rectangle 94">
            <a:extLst>
              <a:ext uri="{FF2B5EF4-FFF2-40B4-BE49-F238E27FC236}">
                <a16:creationId xmlns:a16="http://schemas.microsoft.com/office/drawing/2014/main" id="{32C0964D-8390-4CE7-85AE-760E74072C20}"/>
              </a:ext>
            </a:extLst>
          </p:cNvPr>
          <p:cNvSpPr/>
          <p:nvPr/>
        </p:nvSpPr>
        <p:spPr>
          <a:xfrm>
            <a:off x="0" y="-17702"/>
            <a:ext cx="12192001" cy="10800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82">
            <a:extLst>
              <a:ext uri="{FF2B5EF4-FFF2-40B4-BE49-F238E27FC236}">
                <a16:creationId xmlns:a16="http://schemas.microsoft.com/office/drawing/2014/main" id="{D0E75087-D62C-461B-B63C-582B2042EDFC}"/>
              </a:ext>
            </a:extLst>
          </p:cNvPr>
          <p:cNvSpPr txBox="1"/>
          <p:nvPr/>
        </p:nvSpPr>
        <p:spPr>
          <a:xfrm>
            <a:off x="304263" y="200887"/>
            <a:ext cx="11583472" cy="584775"/>
          </a:xfrm>
          <a:prstGeom prst="rect">
            <a:avLst/>
          </a:prstGeom>
          <a:noFill/>
        </p:spPr>
        <p:txBody>
          <a:bodyPr wrap="square" rtlCol="0">
            <a:spAutoFit/>
          </a:bodyPr>
          <a:lstStyle/>
          <a:p>
            <a:r>
              <a:rPr lang="en-GB" sz="3200" b="1" dirty="0">
                <a:solidFill>
                  <a:schemeClr val="bg2"/>
                </a:solidFill>
                <a:latin typeface="+mj-lt"/>
              </a:rPr>
              <a:t>Ageing &amp; Test Evaluation</a:t>
            </a:r>
            <a:endParaRPr lang="en-US" sz="3200" dirty="0">
              <a:solidFill>
                <a:schemeClr val="tx2"/>
              </a:solidFill>
            </a:endParaRPr>
          </a:p>
        </p:txBody>
      </p:sp>
      <p:sp>
        <p:nvSpPr>
          <p:cNvPr id="43" name="TextovéPole 42">
            <a:extLst>
              <a:ext uri="{FF2B5EF4-FFF2-40B4-BE49-F238E27FC236}">
                <a16:creationId xmlns:a16="http://schemas.microsoft.com/office/drawing/2014/main" id="{57E1B2C5-F973-4900-AB4C-EE20BCDE5540}"/>
              </a:ext>
            </a:extLst>
          </p:cNvPr>
          <p:cNvSpPr txBox="1"/>
          <p:nvPr/>
        </p:nvSpPr>
        <p:spPr>
          <a:xfrm>
            <a:off x="3391082" y="1096221"/>
            <a:ext cx="6472862" cy="369332"/>
          </a:xfrm>
          <a:prstGeom prst="rect">
            <a:avLst/>
          </a:prstGeom>
          <a:noFill/>
        </p:spPr>
        <p:txBody>
          <a:bodyPr wrap="none" rtlCol="0">
            <a:spAutoFit/>
          </a:bodyPr>
          <a:lstStyle/>
          <a:p>
            <a:r>
              <a:rPr lang="en-GB" b="1" dirty="0"/>
              <a:t>Test Results – Tantalum Capacitors – </a:t>
            </a:r>
            <a:r>
              <a:rPr lang="en-GB" b="1" u="sng" dirty="0"/>
              <a:t>Median</a:t>
            </a:r>
            <a:r>
              <a:rPr lang="en-GB" b="1" dirty="0"/>
              <a:t> Electrical Parameters</a:t>
            </a:r>
            <a:endParaRPr lang="cs-CZ" b="1" dirty="0"/>
          </a:p>
        </p:txBody>
      </p:sp>
      <p:pic>
        <p:nvPicPr>
          <p:cNvPr id="6" name="Obrázek 5">
            <a:extLst>
              <a:ext uri="{FF2B5EF4-FFF2-40B4-BE49-F238E27FC236}">
                <a16:creationId xmlns:a16="http://schemas.microsoft.com/office/drawing/2014/main" id="{8CE18534-B577-40B9-96D7-874766AFF53A}"/>
              </a:ext>
            </a:extLst>
          </p:cNvPr>
          <p:cNvPicPr>
            <a:picLocks noChangeAspect="1"/>
          </p:cNvPicPr>
          <p:nvPr/>
        </p:nvPicPr>
        <p:blipFill>
          <a:blip r:embed="rId4"/>
          <a:stretch>
            <a:fillRect/>
          </a:stretch>
        </p:blipFill>
        <p:spPr>
          <a:xfrm>
            <a:off x="694224" y="1457312"/>
            <a:ext cx="10614660" cy="4907280"/>
          </a:xfrm>
          <a:prstGeom prst="rect">
            <a:avLst/>
          </a:prstGeom>
        </p:spPr>
      </p:pic>
      <p:sp>
        <p:nvSpPr>
          <p:cNvPr id="9" name="Zástupný symbol pro zápatí 2">
            <a:extLst>
              <a:ext uri="{FF2B5EF4-FFF2-40B4-BE49-F238E27FC236}">
                <a16:creationId xmlns:a16="http://schemas.microsoft.com/office/drawing/2014/main" id="{6FA5E35C-04C9-4D3B-9232-CBAB25D0DF00}"/>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2" name="Zvuk 1">
            <a:hlinkClick r:id="" action="ppaction://media"/>
            <a:extLst>
              <a:ext uri="{FF2B5EF4-FFF2-40B4-BE49-F238E27FC236}">
                <a16:creationId xmlns:a16="http://schemas.microsoft.com/office/drawing/2014/main" id="{32F8C04A-C379-4E82-8567-C037BEE6E160}"/>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2518166937"/>
      </p:ext>
    </p:extLst>
  </p:cSld>
  <p:clrMapOvr>
    <a:masterClrMapping/>
  </p:clrMapOvr>
  <mc:AlternateContent xmlns:mc="http://schemas.openxmlformats.org/markup-compatibility/2006">
    <mc:Choice xmlns:p14="http://schemas.microsoft.com/office/powerpoint/2010/main" Requires="p14">
      <p:transition spd="slow" p14:dur="2000" advTm="7045"/>
    </mc:Choice>
    <mc:Fallback>
      <p:transition spd="slow" advTm="704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C8C2736C-0D2B-4C76-955F-4554EA586CDD}"/>
              </a:ext>
            </a:extLst>
          </p:cNvPr>
          <p:cNvPicPr>
            <a:picLocks noChangeAspect="1"/>
          </p:cNvPicPr>
          <p:nvPr/>
        </p:nvPicPr>
        <p:blipFill>
          <a:blip r:embed="rId4"/>
          <a:stretch>
            <a:fillRect/>
          </a:stretch>
        </p:blipFill>
        <p:spPr>
          <a:xfrm>
            <a:off x="1504789" y="1688395"/>
            <a:ext cx="8976360" cy="4617720"/>
          </a:xfrm>
          <a:prstGeom prst="rect">
            <a:avLst/>
          </a:prstGeom>
        </p:spPr>
      </p:pic>
      <p:sp>
        <p:nvSpPr>
          <p:cNvPr id="3" name="Zástupný symbol pro číslo snímku 2">
            <a:extLst>
              <a:ext uri="{FF2B5EF4-FFF2-40B4-BE49-F238E27FC236}">
                <a16:creationId xmlns:a16="http://schemas.microsoft.com/office/drawing/2014/main" id="{E87DDF46-B07A-4183-A6C4-5CFC46E95960}"/>
              </a:ext>
            </a:extLst>
          </p:cNvPr>
          <p:cNvSpPr>
            <a:spLocks noGrp="1"/>
          </p:cNvSpPr>
          <p:nvPr>
            <p:ph type="sldNum" sz="quarter" idx="12"/>
          </p:nvPr>
        </p:nvSpPr>
        <p:spPr/>
        <p:txBody>
          <a:bodyPr/>
          <a:lstStyle/>
          <a:p>
            <a:fld id="{87170177-53BE-4EA4-8CC9-5D64EAB74717}" type="slidenum">
              <a:rPr lang="cs-CZ" sz="900" smtClean="0"/>
              <a:t>18</a:t>
            </a:fld>
            <a:endParaRPr lang="cs-CZ" sz="900" dirty="0"/>
          </a:p>
        </p:txBody>
      </p:sp>
      <p:sp>
        <p:nvSpPr>
          <p:cNvPr id="4" name="Rectangle 94">
            <a:extLst>
              <a:ext uri="{FF2B5EF4-FFF2-40B4-BE49-F238E27FC236}">
                <a16:creationId xmlns:a16="http://schemas.microsoft.com/office/drawing/2014/main" id="{32C0964D-8390-4CE7-85AE-760E74072C20}"/>
              </a:ext>
            </a:extLst>
          </p:cNvPr>
          <p:cNvSpPr/>
          <p:nvPr/>
        </p:nvSpPr>
        <p:spPr>
          <a:xfrm>
            <a:off x="0" y="-17702"/>
            <a:ext cx="12192001" cy="10800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82">
            <a:extLst>
              <a:ext uri="{FF2B5EF4-FFF2-40B4-BE49-F238E27FC236}">
                <a16:creationId xmlns:a16="http://schemas.microsoft.com/office/drawing/2014/main" id="{D0E75087-D62C-461B-B63C-582B2042EDFC}"/>
              </a:ext>
            </a:extLst>
          </p:cNvPr>
          <p:cNvSpPr txBox="1"/>
          <p:nvPr/>
        </p:nvSpPr>
        <p:spPr>
          <a:xfrm>
            <a:off x="304263" y="200887"/>
            <a:ext cx="11583472" cy="584775"/>
          </a:xfrm>
          <a:prstGeom prst="rect">
            <a:avLst/>
          </a:prstGeom>
          <a:noFill/>
        </p:spPr>
        <p:txBody>
          <a:bodyPr wrap="square" rtlCol="0">
            <a:spAutoFit/>
          </a:bodyPr>
          <a:lstStyle/>
          <a:p>
            <a:r>
              <a:rPr lang="en-GB" sz="3200" b="1" dirty="0">
                <a:solidFill>
                  <a:schemeClr val="bg2"/>
                </a:solidFill>
                <a:latin typeface="+mj-lt"/>
              </a:rPr>
              <a:t>Ageing &amp; Test Evaluation</a:t>
            </a:r>
            <a:endParaRPr lang="en-US" sz="3200" dirty="0">
              <a:solidFill>
                <a:schemeClr val="tx2"/>
              </a:solidFill>
            </a:endParaRPr>
          </a:p>
        </p:txBody>
      </p:sp>
      <p:sp>
        <p:nvSpPr>
          <p:cNvPr id="43" name="TextovéPole 42">
            <a:extLst>
              <a:ext uri="{FF2B5EF4-FFF2-40B4-BE49-F238E27FC236}">
                <a16:creationId xmlns:a16="http://schemas.microsoft.com/office/drawing/2014/main" id="{57E1B2C5-F973-4900-AB4C-EE20BCDE5540}"/>
              </a:ext>
            </a:extLst>
          </p:cNvPr>
          <p:cNvSpPr txBox="1"/>
          <p:nvPr/>
        </p:nvSpPr>
        <p:spPr>
          <a:xfrm>
            <a:off x="6830068" y="581043"/>
            <a:ext cx="5057667" cy="369332"/>
          </a:xfrm>
          <a:prstGeom prst="rect">
            <a:avLst/>
          </a:prstGeom>
          <a:noFill/>
        </p:spPr>
        <p:txBody>
          <a:bodyPr wrap="none" rtlCol="0">
            <a:spAutoFit/>
          </a:bodyPr>
          <a:lstStyle/>
          <a:p>
            <a:r>
              <a:rPr lang="en-GB" b="1" dirty="0">
                <a:solidFill>
                  <a:schemeClr val="bg1">
                    <a:lumMod val="85000"/>
                  </a:schemeClr>
                </a:solidFill>
              </a:rPr>
              <a:t>Test Results – Tantalum Capacitors – DCL histogram</a:t>
            </a:r>
            <a:endParaRPr lang="cs-CZ" b="1" dirty="0">
              <a:solidFill>
                <a:schemeClr val="bg1">
                  <a:lumMod val="85000"/>
                </a:schemeClr>
              </a:solidFill>
            </a:endParaRPr>
          </a:p>
        </p:txBody>
      </p:sp>
      <p:sp>
        <p:nvSpPr>
          <p:cNvPr id="6" name="TextovéPole 5">
            <a:extLst>
              <a:ext uri="{FF2B5EF4-FFF2-40B4-BE49-F238E27FC236}">
                <a16:creationId xmlns:a16="http://schemas.microsoft.com/office/drawing/2014/main" id="{F1B92BE1-48FA-48D3-9A2B-B8420FE2A8CC}"/>
              </a:ext>
            </a:extLst>
          </p:cNvPr>
          <p:cNvSpPr txBox="1"/>
          <p:nvPr/>
        </p:nvSpPr>
        <p:spPr>
          <a:xfrm>
            <a:off x="2030056" y="1981930"/>
            <a:ext cx="927818" cy="369332"/>
          </a:xfrm>
          <a:prstGeom prst="rect">
            <a:avLst/>
          </a:prstGeom>
          <a:noFill/>
        </p:spPr>
        <p:txBody>
          <a:bodyPr wrap="none" rtlCol="0">
            <a:spAutoFit/>
          </a:bodyPr>
          <a:lstStyle/>
          <a:p>
            <a:r>
              <a:rPr lang="en-GB" b="1" dirty="0">
                <a:solidFill>
                  <a:srgbClr val="0070C0"/>
                </a:solidFill>
              </a:rPr>
              <a:t>S1 Auto</a:t>
            </a:r>
            <a:endParaRPr lang="cs-CZ" b="1" dirty="0">
              <a:solidFill>
                <a:srgbClr val="0070C0"/>
              </a:solidFill>
            </a:endParaRPr>
          </a:p>
        </p:txBody>
      </p:sp>
      <p:sp>
        <p:nvSpPr>
          <p:cNvPr id="10" name="TextovéPole 9">
            <a:extLst>
              <a:ext uri="{FF2B5EF4-FFF2-40B4-BE49-F238E27FC236}">
                <a16:creationId xmlns:a16="http://schemas.microsoft.com/office/drawing/2014/main" id="{FC45A3B6-53F6-43AE-8D86-CFF967192BF1}"/>
              </a:ext>
            </a:extLst>
          </p:cNvPr>
          <p:cNvSpPr txBox="1"/>
          <p:nvPr/>
        </p:nvSpPr>
        <p:spPr>
          <a:xfrm>
            <a:off x="2278709" y="3114357"/>
            <a:ext cx="927818" cy="369332"/>
          </a:xfrm>
          <a:prstGeom prst="rect">
            <a:avLst/>
          </a:prstGeom>
          <a:noFill/>
        </p:spPr>
        <p:txBody>
          <a:bodyPr wrap="none" rtlCol="0">
            <a:spAutoFit/>
          </a:bodyPr>
          <a:lstStyle/>
          <a:p>
            <a:r>
              <a:rPr lang="en-GB" b="1" dirty="0">
                <a:solidFill>
                  <a:schemeClr val="accent2"/>
                </a:solidFill>
              </a:rPr>
              <a:t>S2 Auto</a:t>
            </a:r>
            <a:endParaRPr lang="cs-CZ" b="1" dirty="0">
              <a:solidFill>
                <a:schemeClr val="accent2"/>
              </a:solidFill>
            </a:endParaRPr>
          </a:p>
        </p:txBody>
      </p:sp>
      <p:sp>
        <p:nvSpPr>
          <p:cNvPr id="11" name="TextovéPole 10">
            <a:extLst>
              <a:ext uri="{FF2B5EF4-FFF2-40B4-BE49-F238E27FC236}">
                <a16:creationId xmlns:a16="http://schemas.microsoft.com/office/drawing/2014/main" id="{935E423E-2856-4B54-B7A8-51C6101F4B56}"/>
              </a:ext>
            </a:extLst>
          </p:cNvPr>
          <p:cNvSpPr txBox="1"/>
          <p:nvPr/>
        </p:nvSpPr>
        <p:spPr>
          <a:xfrm>
            <a:off x="1954949" y="4257760"/>
            <a:ext cx="927818" cy="369332"/>
          </a:xfrm>
          <a:prstGeom prst="rect">
            <a:avLst/>
          </a:prstGeom>
          <a:noFill/>
        </p:spPr>
        <p:txBody>
          <a:bodyPr wrap="none" rtlCol="0">
            <a:spAutoFit/>
          </a:bodyPr>
          <a:lstStyle/>
          <a:p>
            <a:r>
              <a:rPr lang="en-GB" b="1" dirty="0">
                <a:solidFill>
                  <a:schemeClr val="accent3"/>
                </a:solidFill>
              </a:rPr>
              <a:t>S3 Auto</a:t>
            </a:r>
            <a:endParaRPr lang="cs-CZ" b="1" dirty="0">
              <a:solidFill>
                <a:schemeClr val="accent3"/>
              </a:solidFill>
            </a:endParaRPr>
          </a:p>
        </p:txBody>
      </p:sp>
      <p:sp>
        <p:nvSpPr>
          <p:cNvPr id="12" name="TextovéPole 11">
            <a:extLst>
              <a:ext uri="{FF2B5EF4-FFF2-40B4-BE49-F238E27FC236}">
                <a16:creationId xmlns:a16="http://schemas.microsoft.com/office/drawing/2014/main" id="{9FD799AF-AC85-4A08-9576-774E2650943A}"/>
              </a:ext>
            </a:extLst>
          </p:cNvPr>
          <p:cNvSpPr txBox="1"/>
          <p:nvPr/>
        </p:nvSpPr>
        <p:spPr>
          <a:xfrm>
            <a:off x="2107589" y="5505130"/>
            <a:ext cx="955839" cy="369332"/>
          </a:xfrm>
          <a:prstGeom prst="rect">
            <a:avLst/>
          </a:prstGeom>
          <a:noFill/>
        </p:spPr>
        <p:txBody>
          <a:bodyPr wrap="none" rtlCol="0">
            <a:spAutoFit/>
          </a:bodyPr>
          <a:lstStyle/>
          <a:p>
            <a:r>
              <a:rPr lang="en-GB" b="1" dirty="0">
                <a:solidFill>
                  <a:srgbClr val="FFC000"/>
                </a:solidFill>
              </a:rPr>
              <a:t>S1 COTS</a:t>
            </a:r>
            <a:endParaRPr lang="cs-CZ" b="1" dirty="0">
              <a:solidFill>
                <a:srgbClr val="FFC000"/>
              </a:solidFill>
            </a:endParaRPr>
          </a:p>
        </p:txBody>
      </p:sp>
      <p:sp>
        <p:nvSpPr>
          <p:cNvPr id="9" name="TextovéPole 8">
            <a:extLst>
              <a:ext uri="{FF2B5EF4-FFF2-40B4-BE49-F238E27FC236}">
                <a16:creationId xmlns:a16="http://schemas.microsoft.com/office/drawing/2014/main" id="{52BC830D-0FFA-4FD8-A79E-72B9984BF1C0}"/>
              </a:ext>
            </a:extLst>
          </p:cNvPr>
          <p:cNvSpPr txBox="1"/>
          <p:nvPr/>
        </p:nvSpPr>
        <p:spPr>
          <a:xfrm>
            <a:off x="1987684" y="1352870"/>
            <a:ext cx="1075744" cy="276999"/>
          </a:xfrm>
          <a:prstGeom prst="rect">
            <a:avLst/>
          </a:prstGeom>
          <a:noFill/>
        </p:spPr>
        <p:txBody>
          <a:bodyPr wrap="none" rtlCol="0">
            <a:spAutoFit/>
          </a:bodyPr>
          <a:lstStyle/>
          <a:p>
            <a:r>
              <a:rPr lang="en-GB" sz="1200" dirty="0"/>
              <a:t>INITIAL LOOSE</a:t>
            </a:r>
            <a:endParaRPr lang="cs-CZ" sz="1200" dirty="0"/>
          </a:p>
        </p:txBody>
      </p:sp>
      <p:sp>
        <p:nvSpPr>
          <p:cNvPr id="14" name="TextovéPole 13">
            <a:extLst>
              <a:ext uri="{FF2B5EF4-FFF2-40B4-BE49-F238E27FC236}">
                <a16:creationId xmlns:a16="http://schemas.microsoft.com/office/drawing/2014/main" id="{3FC98DC1-B100-4BAA-BEA4-98D185969151}"/>
              </a:ext>
            </a:extLst>
          </p:cNvPr>
          <p:cNvSpPr txBox="1"/>
          <p:nvPr/>
        </p:nvSpPr>
        <p:spPr>
          <a:xfrm>
            <a:off x="3836397" y="1361162"/>
            <a:ext cx="1618072" cy="276999"/>
          </a:xfrm>
          <a:prstGeom prst="rect">
            <a:avLst/>
          </a:prstGeom>
          <a:noFill/>
        </p:spPr>
        <p:txBody>
          <a:bodyPr wrap="none" rtlCol="0">
            <a:spAutoFit/>
          </a:bodyPr>
          <a:lstStyle/>
          <a:p>
            <a:r>
              <a:rPr lang="en-GB" sz="1200" dirty="0"/>
              <a:t>POST MOUNT REFLOW</a:t>
            </a:r>
            <a:endParaRPr lang="cs-CZ" sz="1200" dirty="0"/>
          </a:p>
        </p:txBody>
      </p:sp>
      <p:sp>
        <p:nvSpPr>
          <p:cNvPr id="15" name="TextovéPole 14">
            <a:extLst>
              <a:ext uri="{FF2B5EF4-FFF2-40B4-BE49-F238E27FC236}">
                <a16:creationId xmlns:a16="http://schemas.microsoft.com/office/drawing/2014/main" id="{AFDDEE70-4F74-4A2D-979F-263F7F35D017}"/>
              </a:ext>
            </a:extLst>
          </p:cNvPr>
          <p:cNvSpPr txBox="1"/>
          <p:nvPr/>
        </p:nvSpPr>
        <p:spPr>
          <a:xfrm>
            <a:off x="6384757" y="1345004"/>
            <a:ext cx="972510" cy="276999"/>
          </a:xfrm>
          <a:prstGeom prst="rect">
            <a:avLst/>
          </a:prstGeom>
          <a:noFill/>
        </p:spPr>
        <p:txBody>
          <a:bodyPr wrap="none" rtlCol="0">
            <a:spAutoFit/>
          </a:bodyPr>
          <a:lstStyle/>
          <a:p>
            <a:r>
              <a:rPr lang="en-GB" sz="1200" dirty="0"/>
              <a:t>POST SURGE</a:t>
            </a:r>
            <a:endParaRPr lang="cs-CZ" sz="1200" dirty="0"/>
          </a:p>
        </p:txBody>
      </p:sp>
      <p:sp>
        <p:nvSpPr>
          <p:cNvPr id="16" name="TextovéPole 15">
            <a:extLst>
              <a:ext uri="{FF2B5EF4-FFF2-40B4-BE49-F238E27FC236}">
                <a16:creationId xmlns:a16="http://schemas.microsoft.com/office/drawing/2014/main" id="{0289A05D-55AA-4E25-89AE-5C33FC79C441}"/>
              </a:ext>
            </a:extLst>
          </p:cNvPr>
          <p:cNvSpPr txBox="1"/>
          <p:nvPr/>
        </p:nvSpPr>
        <p:spPr>
          <a:xfrm>
            <a:off x="8131697" y="1330531"/>
            <a:ext cx="2072619" cy="276999"/>
          </a:xfrm>
          <a:prstGeom prst="rect">
            <a:avLst/>
          </a:prstGeom>
          <a:noFill/>
        </p:spPr>
        <p:txBody>
          <a:bodyPr wrap="none" rtlCol="0">
            <a:spAutoFit/>
          </a:bodyPr>
          <a:lstStyle/>
          <a:p>
            <a:r>
              <a:rPr lang="en-GB" sz="1200" dirty="0"/>
              <a:t>POST 168h AGEING at VR, 85C</a:t>
            </a:r>
            <a:endParaRPr lang="cs-CZ" sz="1200" dirty="0"/>
          </a:p>
        </p:txBody>
      </p:sp>
      <p:sp>
        <p:nvSpPr>
          <p:cNvPr id="18" name="Zástupný symbol pro zápatí 2">
            <a:extLst>
              <a:ext uri="{FF2B5EF4-FFF2-40B4-BE49-F238E27FC236}">
                <a16:creationId xmlns:a16="http://schemas.microsoft.com/office/drawing/2014/main" id="{65FEECC2-3A4F-41DA-8141-2BEC9DCAC2BD}"/>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7" name="Zvuk 6">
            <a:hlinkClick r:id="" action="ppaction://media"/>
            <a:extLst>
              <a:ext uri="{FF2B5EF4-FFF2-40B4-BE49-F238E27FC236}">
                <a16:creationId xmlns:a16="http://schemas.microsoft.com/office/drawing/2014/main" id="{C29F65F6-5342-4A6B-8DE7-91BFD64318AE}"/>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194738520"/>
      </p:ext>
    </p:extLst>
  </p:cSld>
  <p:clrMapOvr>
    <a:masterClrMapping/>
  </p:clrMapOvr>
  <mc:AlternateContent xmlns:mc="http://schemas.openxmlformats.org/markup-compatibility/2006">
    <mc:Choice xmlns:p14="http://schemas.microsoft.com/office/powerpoint/2010/main" Requires="p14">
      <p:transition spd="slow" p14:dur="2000" advTm="16519"/>
    </mc:Choice>
    <mc:Fallback>
      <p:transition spd="slow" advTm="1651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extLst>
    <p:ext uri="{3A86A75C-4F4B-4683-9AE1-C65F6400EC91}">
      <p14:laserTraceLst xmlns:p14="http://schemas.microsoft.com/office/powerpoint/2010/main">
        <p14:tracePtLst>
          <p14:tracePt t="2466" x="12168188" y="3698875"/>
          <p14:tracePt t="2468" x="12155488" y="3687763"/>
          <p14:tracePt t="2471" x="12131675" y="3667125"/>
          <p14:tracePt t="2472" x="12128500" y="3654425"/>
          <p14:tracePt t="2473" x="12112625" y="3643313"/>
          <p14:tracePt t="2474" x="12104688" y="3635375"/>
          <p14:tracePt t="2475" x="12095163" y="3627438"/>
          <p14:tracePt t="2478" x="12076113" y="3611563"/>
          <p14:tracePt t="2479" x="12068175" y="3603625"/>
          <p14:tracePt t="2480" x="12060238" y="3595688"/>
          <p14:tracePt t="2481" x="12044363" y="3579813"/>
          <p14:tracePt t="2483" x="12036425" y="3571875"/>
          <p14:tracePt t="2484" x="12028488" y="3562350"/>
          <p14:tracePt t="2485" x="12012613" y="3538538"/>
          <p14:tracePt t="2486" x="12003088" y="3530600"/>
          <p14:tracePt t="2487" x="11995150" y="3519488"/>
          <p14:tracePt t="2488" x="11979275" y="3511550"/>
          <p14:tracePt t="2489" x="11976100" y="3503613"/>
          <p14:tracePt t="2490" x="11968163" y="3495675"/>
          <p14:tracePt t="2492" x="11947525" y="3475038"/>
          <p14:tracePt t="2493" x="11936413" y="3459163"/>
          <p14:tracePt t="2494" x="11923713" y="3446463"/>
          <p14:tracePt t="2495" x="11915775" y="3435350"/>
          <p14:tracePt t="2496" x="11907838" y="3427413"/>
          <p14:tracePt t="2497" x="11895138" y="3419475"/>
          <p14:tracePt t="2498" x="11887200" y="3403600"/>
          <p14:tracePt t="2501" x="11855450" y="3370263"/>
          <p14:tracePt t="2502" x="11847513" y="3362325"/>
          <p14:tracePt t="2503" x="11831638" y="3346450"/>
          <p14:tracePt t="2504" x="11818938" y="3335338"/>
          <p14:tracePt t="2505" x="11811000" y="3322638"/>
          <p14:tracePt t="2506" x="11803063" y="3314700"/>
          <p14:tracePt t="2507" x="11787188" y="3306763"/>
          <p14:tracePt t="2508" x="11776075" y="3290888"/>
          <p14:tracePt t="2509" x="11763375" y="3282950"/>
          <p14:tracePt t="2510" x="11755438" y="3267075"/>
          <p14:tracePt t="2511" x="11747500" y="3259138"/>
          <p14:tracePt t="2512" x="11734800" y="3246438"/>
          <p14:tracePt t="2513" x="11723688" y="3238500"/>
          <p14:tracePt t="2515" x="11699875" y="3219450"/>
          <p14:tracePt t="2516" x="11691938" y="3211513"/>
          <p14:tracePt t="2517" x="11679238" y="3203575"/>
          <p14:tracePt t="2518" x="11668125" y="3186113"/>
          <p14:tracePt t="2519" x="11655425" y="3178175"/>
          <p14:tracePt t="2520" x="11647488" y="3170238"/>
          <p14:tracePt t="2521" x="11639550" y="3167063"/>
          <p14:tracePt t="2522" x="11631613" y="3151188"/>
          <p14:tracePt t="2523" x="11615738" y="3143250"/>
          <p14:tracePt t="2524" x="11607800" y="3135313"/>
          <p14:tracePt t="2525" x="11599863" y="3127375"/>
          <p14:tracePt t="2526" x="11587163" y="3119438"/>
          <p14:tracePt t="2527" x="11583988" y="3111500"/>
          <p14:tracePt t="2530" x="11550650" y="3086100"/>
          <p14:tracePt t="2531" x="11547475" y="3082925"/>
          <p14:tracePt t="2532" x="11534775" y="3070225"/>
          <p14:tracePt t="2533" x="11531600" y="3067050"/>
          <p14:tracePt t="2534" x="11523663" y="3062288"/>
          <p14:tracePt t="2535" x="11515725" y="3054350"/>
          <p14:tracePt t="2536" x="11507788" y="3051175"/>
          <p14:tracePt t="2537" x="11495088" y="3038475"/>
          <p14:tracePt t="2538" x="11487150" y="3035300"/>
          <p14:tracePt t="2539" x="11483975" y="3027363"/>
          <p14:tracePt t="2540" x="11476038" y="3022600"/>
          <p14:tracePt t="2542" x="11455400" y="3009900"/>
          <p14:tracePt t="2543" x="11455400" y="3006725"/>
          <p14:tracePt t="2544" x="11442700" y="2998788"/>
          <p14:tracePt t="2547" x="11434763" y="2990850"/>
          <p14:tracePt t="2547" x="11423650" y="2986088"/>
          <p14:tracePt t="2548" x="11418888" y="2982913"/>
          <p14:tracePt t="2549" x="11410950" y="2978150"/>
          <p14:tracePt t="2550" x="11410950" y="2974975"/>
          <p14:tracePt t="2551" x="11403013" y="2970213"/>
          <p14:tracePt t="2552" x="11391900" y="2959100"/>
          <p14:tracePt t="2553" x="11387138" y="2959100"/>
          <p14:tracePt t="2554" x="11379200" y="2954338"/>
          <p14:tracePt t="2555" x="11371263" y="2946400"/>
          <p14:tracePt t="2556" x="11363325" y="2938463"/>
          <p14:tracePt t="2557" x="11358563" y="2935288"/>
          <p14:tracePt t="2559" x="11355388" y="2930525"/>
          <p14:tracePt t="2559" x="11347450" y="2927350"/>
          <p14:tracePt t="2560" x="11342688" y="2922588"/>
          <p14:tracePt t="2564" x="11315700" y="2901950"/>
          <p14:tracePt t="2565" x="11310938" y="2898775"/>
          <p14:tracePt t="2566" x="11303000" y="2890838"/>
          <p14:tracePt t="2567" x="11295063" y="2886075"/>
          <p14:tracePt t="2568" x="11291888" y="2882900"/>
          <p14:tracePt t="2569" x="11282363" y="2878138"/>
          <p14:tracePt t="2570" x="11279188" y="2874963"/>
          <p14:tracePt t="2571" x="11271250" y="2870200"/>
          <p14:tracePt t="2572" x="11263313" y="2867025"/>
          <p14:tracePt t="2573" x="11258550" y="2859088"/>
          <p14:tracePt t="2574" x="11250613" y="2854325"/>
          <p14:tracePt t="2575" x="11247438" y="2851150"/>
          <p14:tracePt t="2576" x="11239500" y="2846388"/>
          <p14:tracePt t="2579" x="11226800" y="2838450"/>
          <p14:tracePt t="2581" x="11215688" y="2830513"/>
          <p14:tracePt t="2581" x="11207750" y="2825750"/>
          <p14:tracePt t="2582" x="11199813" y="2817813"/>
          <p14:tracePt t="2584" x="11190288" y="2814638"/>
          <p14:tracePt t="2585" x="11187113" y="2809875"/>
          <p14:tracePt t="2586" x="11179175" y="2801938"/>
          <p14:tracePt t="2587" x="11171238" y="2801938"/>
          <p14:tracePt t="2588" x="11166475" y="2798763"/>
          <p14:tracePt t="2589" x="11163300" y="2794000"/>
          <p14:tracePt t="2590" x="11155363" y="2790825"/>
          <p14:tracePt t="2592" x="11142663" y="2782888"/>
          <p14:tracePt t="2593" x="11139488" y="2778125"/>
          <p14:tracePt t="2595" x="11126788" y="2774950"/>
          <p14:tracePt t="2596" x="11118850" y="2770188"/>
          <p14:tracePt t="2597" x="11115675" y="2767013"/>
          <p14:tracePt t="2598" x="11110913" y="2767013"/>
          <p14:tracePt t="2599" x="11106150" y="2767013"/>
          <p14:tracePt t="2600" x="11098213" y="2762250"/>
          <p14:tracePt t="2601" x="11095038" y="2759075"/>
          <p14:tracePt t="2602" x="11090275" y="2754313"/>
          <p14:tracePt t="2603" x="11087100" y="2754313"/>
          <p14:tracePt t="2605" x="11082338" y="2751138"/>
          <p14:tracePt t="2606" x="11079163" y="2746375"/>
          <p14:tracePt t="2607" x="11074400" y="2746375"/>
          <p14:tracePt t="2608" x="11071225" y="2741613"/>
          <p14:tracePt t="2610" x="11066463" y="2741613"/>
          <p14:tracePt t="2612" x="11063288" y="2738438"/>
          <p14:tracePt t="2613" x="11058525" y="2733675"/>
          <p14:tracePt t="2614" x="11055350" y="2733675"/>
          <p14:tracePt t="2615" x="11055350" y="2730500"/>
          <p14:tracePt t="2616" x="11050588" y="2730500"/>
          <p14:tracePt t="2617" x="11047413" y="2730500"/>
          <p14:tracePt t="2619" x="11047413" y="2725738"/>
          <p14:tracePt t="2623" x="11042650" y="2725738"/>
          <p14:tracePt t="2666" x="11042650" y="2730500"/>
          <p14:tracePt t="2670" x="11042650" y="2733675"/>
          <p14:tracePt t="2673" x="11042650" y="2738438"/>
          <p14:tracePt t="2676" x="11042650" y="2741613"/>
          <p14:tracePt t="2678" x="11042650" y="2746375"/>
          <p14:tracePt t="2679" x="11042650" y="2751138"/>
          <p14:tracePt t="2681" x="11042650" y="2754313"/>
          <p14:tracePt t="2683" x="11042650" y="2759075"/>
          <p14:tracePt t="2685" x="11042650" y="2762250"/>
          <p14:tracePt t="2687" x="11042650" y="2767013"/>
          <p14:tracePt t="2688" x="11042650" y="2770188"/>
          <p14:tracePt t="2689" x="11042650" y="2774950"/>
          <p14:tracePt t="2692" x="11047413" y="2782888"/>
          <p14:tracePt t="2694" x="11050588" y="2786063"/>
          <p14:tracePt t="2695" x="11050588" y="2790825"/>
          <p14:tracePt t="2696" x="11050588" y="2794000"/>
          <p14:tracePt t="2698" x="11050588" y="2798763"/>
          <p14:tracePt t="2699" x="11055350" y="2798763"/>
          <p14:tracePt t="2700" x="11055350" y="2801938"/>
          <p14:tracePt t="2701" x="11058525" y="2801938"/>
          <p14:tracePt t="2703" x="11058525" y="2809875"/>
          <p14:tracePt t="2704" x="11063288" y="2814638"/>
          <p14:tracePt t="2706" x="11063288" y="2817813"/>
          <p14:tracePt t="2707" x="11066463" y="2817813"/>
          <p14:tracePt t="2708" x="11066463" y="2822575"/>
          <p14:tracePt t="2709" x="11066463" y="2825750"/>
          <p14:tracePt t="2711" x="11071225" y="2830513"/>
          <p14:tracePt t="2713" x="11071225" y="2833688"/>
          <p14:tracePt t="2715" x="11074400" y="2838450"/>
          <p14:tracePt t="2717" x="11074400" y="2843213"/>
          <p14:tracePt t="2719" x="11079163" y="2843213"/>
          <p14:tracePt t="2722" x="11079163" y="2846388"/>
          <p14:tracePt t="2725" x="11082338" y="2846388"/>
          <p14:tracePt t="2727" x="11082338" y="2851150"/>
          <p14:tracePt t="2767" x="11087100" y="2851150"/>
          <p14:tracePt t="2768" x="11090275" y="2851150"/>
          <p14:tracePt t="2770" x="11095038" y="2851150"/>
          <p14:tracePt t="2772" x="11098213" y="2851150"/>
          <p14:tracePt t="2773" x="11102975" y="2851150"/>
          <p14:tracePt t="2774" x="11106150" y="2851150"/>
          <p14:tracePt t="2775" x="11110913" y="2851150"/>
          <p14:tracePt t="2776" x="11115675" y="2851150"/>
          <p14:tracePt t="2777" x="11118850" y="2851150"/>
          <p14:tracePt t="2778" x="11123613" y="2851150"/>
          <p14:tracePt t="2781" x="11126788" y="2851150"/>
          <p14:tracePt t="2783" x="11134725" y="2851150"/>
          <p14:tracePt t="2783" x="11139488" y="2851150"/>
          <p14:tracePt t="2784" x="11142663" y="2851150"/>
          <p14:tracePt t="2785" x="11147425" y="2851150"/>
          <p14:tracePt t="2786" x="11155363" y="2851150"/>
          <p14:tracePt t="2787" x="11158538" y="2851150"/>
          <p14:tracePt t="2788" x="11163300" y="2851150"/>
          <p14:tracePt t="2789" x="11166475" y="2846388"/>
          <p14:tracePt t="2790" x="11171238" y="2846388"/>
          <p14:tracePt t="2791" x="11174413" y="2846388"/>
          <p14:tracePt t="2792" x="11179175" y="2843213"/>
          <p14:tracePt t="2793" x="11182350" y="2843213"/>
          <p14:tracePt t="2794" x="11187113" y="2843213"/>
          <p14:tracePt t="2796" x="11199813" y="2843213"/>
          <p14:tracePt t="2797" x="11202988" y="2843213"/>
          <p14:tracePt t="2798" x="11207750" y="2838450"/>
          <p14:tracePt t="2799" x="11210925" y="2838450"/>
          <p14:tracePt t="2800" x="11215688" y="2833688"/>
          <p14:tracePt t="2801" x="11218863" y="2830513"/>
          <p14:tracePt t="2802" x="11223625" y="2830513"/>
          <p14:tracePt t="2803" x="11223625" y="2825750"/>
          <p14:tracePt t="2804" x="11226800" y="2825750"/>
          <p14:tracePt t="2805" x="11231563" y="2822575"/>
          <p14:tracePt t="2806" x="11234738" y="2817813"/>
          <p14:tracePt t="2807" x="11239500" y="2814638"/>
          <p14:tracePt t="2808" x="11242675" y="2809875"/>
          <p14:tracePt t="2810" x="11247438" y="2801938"/>
          <p14:tracePt t="2811" x="11250613" y="2801938"/>
          <p14:tracePt t="2813" x="11258550" y="2794000"/>
          <p14:tracePt t="2814" x="11258550" y="2790825"/>
          <p14:tracePt t="2815" x="11263313" y="2782888"/>
          <p14:tracePt t="2816" x="11266488" y="2782888"/>
          <p14:tracePt t="2817" x="11271250" y="2774950"/>
          <p14:tracePt t="2818" x="11271250" y="2770188"/>
          <p14:tracePt t="2819" x="11274425" y="2767013"/>
          <p14:tracePt t="2820" x="11279188" y="2759075"/>
          <p14:tracePt t="2821" x="11282363" y="2751138"/>
          <p14:tracePt t="2822" x="11287125" y="2738438"/>
          <p14:tracePt t="2823" x="11291888" y="2730500"/>
          <p14:tracePt t="2824" x="11291888" y="2725738"/>
          <p14:tracePt t="2825" x="11295063" y="2717800"/>
          <p14:tracePt t="2826" x="11299825" y="2706688"/>
          <p14:tracePt t="2829" x="11310938" y="2678113"/>
          <p14:tracePt t="2830" x="11315700" y="2667000"/>
          <p14:tracePt t="2831" x="11323638" y="2659063"/>
          <p14:tracePt t="2832" x="11323638" y="2646363"/>
          <p14:tracePt t="2833" x="11326813" y="2638425"/>
          <p14:tracePt t="2834" x="11331575" y="2630488"/>
          <p14:tracePt t="2835" x="11334750" y="2617788"/>
          <p14:tracePt t="2836" x="11339513" y="2601913"/>
          <p14:tracePt t="2837" x="11342688" y="2593975"/>
          <p14:tracePt t="2838" x="11347450" y="2586038"/>
          <p14:tracePt t="2839" x="11347450" y="2578100"/>
          <p14:tracePt t="2840" x="11350625" y="2562225"/>
          <p14:tracePt t="2842" x="11363325" y="2546350"/>
          <p14:tracePt t="2845" x="11371263" y="2514600"/>
          <p14:tracePt t="2846" x="11374438" y="2506663"/>
          <p14:tracePt t="2847" x="11374438" y="2498725"/>
          <p14:tracePt t="2848" x="11379200" y="2490788"/>
          <p14:tracePt t="2849" x="11379200" y="2482850"/>
          <p14:tracePt t="2850" x="11383963" y="2470150"/>
          <p14:tracePt t="2851" x="11387138" y="2462213"/>
          <p14:tracePt t="2852" x="11387138" y="2454275"/>
          <p14:tracePt t="2853" x="11391900" y="2449513"/>
          <p14:tracePt t="2854" x="11391900" y="2438400"/>
          <p14:tracePt t="2855" x="11391900" y="2430463"/>
          <p14:tracePt t="2856" x="11395075" y="2425700"/>
          <p14:tracePt t="2857" x="11395075" y="2417763"/>
          <p14:tracePt t="2858" x="11395075" y="2409825"/>
          <p14:tracePt t="2859" x="11399838" y="2401888"/>
          <p14:tracePt t="2862" x="11403013" y="2382838"/>
          <p14:tracePt t="2863" x="11403013" y="2373313"/>
          <p14:tracePt t="2864" x="11403013" y="2365375"/>
          <p14:tracePt t="2865" x="11403013" y="2362200"/>
          <p14:tracePt t="2866" x="11403013" y="2354263"/>
          <p14:tracePt t="2867" x="11403013" y="2349500"/>
          <p14:tracePt t="2868" x="11403013" y="2341563"/>
          <p14:tracePt t="2869" x="11407775" y="2338388"/>
          <p14:tracePt t="2870" x="11407775" y="2330450"/>
          <p14:tracePt t="2871" x="11407775" y="2322513"/>
          <p14:tracePt t="2873" x="11407775" y="2314575"/>
          <p14:tracePt t="2874" x="11407775" y="2306638"/>
          <p14:tracePt t="2876" x="11407775" y="2301875"/>
          <p14:tracePt t="2876" x="11407775" y="2293938"/>
          <p14:tracePt t="2878" x="11407775" y="2290763"/>
          <p14:tracePt t="2878" x="11407775" y="2281238"/>
          <p14:tracePt t="2879" x="11407775" y="2273300"/>
          <p14:tracePt t="2880" x="11407775" y="2270125"/>
          <p14:tracePt t="2881" x="11407775" y="2262188"/>
          <p14:tracePt t="2882" x="11407775" y="2254250"/>
          <p14:tracePt t="2883" x="11407775" y="2249488"/>
          <p14:tracePt t="2884" x="11407775" y="2238375"/>
          <p14:tracePt t="2885" x="11407775" y="2233613"/>
          <p14:tracePt t="2886" x="11407775" y="2225675"/>
          <p14:tracePt t="2887" x="11403013" y="2217738"/>
          <p14:tracePt t="2894" x="11383963" y="2146300"/>
          <p14:tracePt t="2895" x="11379200" y="2138363"/>
          <p14:tracePt t="2896" x="11374438" y="2130425"/>
          <p14:tracePt t="2897" x="11371263" y="2114550"/>
          <p14:tracePt t="2898" x="11366500" y="2106613"/>
          <p14:tracePt t="2899" x="11363325" y="2093913"/>
          <p14:tracePt t="2900" x="11358563" y="2085975"/>
          <p14:tracePt t="2901" x="11355388" y="2073275"/>
          <p14:tracePt t="2902" x="11347450" y="2065338"/>
          <p14:tracePt t="2903" x="11342688" y="2054225"/>
          <p14:tracePt t="2904" x="11339513" y="2041525"/>
          <p14:tracePt t="2905" x="11331575" y="2030413"/>
          <p14:tracePt t="2906" x="11326813" y="2022475"/>
          <p14:tracePt t="2907" x="11323638" y="2009775"/>
          <p14:tracePt t="2908" x="11310938" y="1997075"/>
          <p14:tracePt t="2909" x="11307763" y="1989138"/>
          <p14:tracePt t="2911" x="11299825" y="1978025"/>
          <p14:tracePt t="2911" x="11295063" y="1970088"/>
          <p14:tracePt t="2912" x="11291888" y="1962150"/>
          <p14:tracePt t="2913" x="11279188" y="1946275"/>
          <p14:tracePt t="2914" x="11271250" y="1938338"/>
          <p14:tracePt t="2915" x="11266488" y="1930400"/>
          <p14:tracePt t="2916" x="11258550" y="1922463"/>
          <p14:tracePt t="2917" x="11247438" y="1909763"/>
          <p14:tracePt t="2918" x="11239500" y="1897063"/>
          <p14:tracePt t="2919" x="11234738" y="1893888"/>
          <p14:tracePt t="2920" x="11226800" y="1885950"/>
          <p14:tracePt t="2922" x="11223625" y="1878013"/>
          <p14:tracePt t="2922" x="11215688" y="1865313"/>
          <p14:tracePt t="2923" x="11202988" y="1857375"/>
          <p14:tracePt t="2924" x="11199813" y="1849438"/>
          <p14:tracePt t="2925" x="11190288" y="1841500"/>
          <p14:tracePt t="2926" x="11182350" y="1830388"/>
          <p14:tracePt t="2927" x="11179175" y="1830388"/>
          <p14:tracePt t="2931" x="11147425" y="1797050"/>
          <p14:tracePt t="2932" x="11139488" y="1789113"/>
          <p14:tracePt t="2933" x="11131550" y="1785938"/>
          <p14:tracePt t="2934" x="11126788" y="1773238"/>
          <p14:tracePt t="2935" x="11115675" y="1770063"/>
          <p14:tracePt t="2936" x="11110913" y="1762125"/>
          <p14:tracePt t="2938" x="11095038" y="1749425"/>
          <p14:tracePt t="2939" x="11090275" y="1746250"/>
          <p14:tracePt t="2940" x="11082338" y="1741488"/>
          <p14:tracePt t="2942" x="11079163" y="1738313"/>
          <p14:tracePt t="2942" x="11071225" y="1728788"/>
          <p14:tracePt t="2943" x="11063288" y="1725613"/>
          <p14:tracePt t="2945" x="11050588" y="1717675"/>
          <p14:tracePt t="2946" x="11047413" y="1712913"/>
          <p14:tracePt t="2947" x="11042650" y="1709738"/>
          <p14:tracePt t="2948" x="11034713" y="1701800"/>
          <p14:tracePt t="2949" x="11026775" y="1697038"/>
          <p14:tracePt t="2950" x="11023600" y="1693863"/>
          <p14:tracePt t="2951" x="11014075" y="1689100"/>
          <p14:tracePt t="2953" x="11010900" y="1685925"/>
          <p14:tracePt t="2953" x="11002963" y="1681163"/>
          <p14:tracePt t="2954" x="10998200" y="1677988"/>
          <p14:tracePt t="2955" x="10990263" y="1673225"/>
          <p14:tracePt t="2956" x="10982325" y="1670050"/>
          <p14:tracePt t="2957" x="10979150" y="1665288"/>
          <p14:tracePt t="2958" x="10971213" y="1662113"/>
          <p14:tracePt t="2959" x="10963275" y="1657350"/>
          <p14:tracePt t="2961" x="10950575" y="1649413"/>
          <p14:tracePt t="2963" x="10934700" y="1641475"/>
          <p14:tracePt t="2964" x="10931525" y="1636713"/>
          <p14:tracePt t="2965" x="10922000" y="1633538"/>
          <p14:tracePt t="2966" x="10910888" y="1628775"/>
          <p14:tracePt t="2967" x="10902950" y="1625600"/>
          <p14:tracePt t="2968" x="10895013" y="1620838"/>
          <p14:tracePt t="2969" x="10890250" y="1617663"/>
          <p14:tracePt t="2970" x="10882313" y="1612900"/>
          <p14:tracePt t="2971" x="10874375" y="1609725"/>
          <p14:tracePt t="2972" x="10866438" y="1604963"/>
          <p14:tracePt t="2973" x="10858500" y="1601788"/>
          <p14:tracePt t="2974" x="10847388" y="1593850"/>
          <p14:tracePt t="2975" x="10839450" y="1589088"/>
          <p14:tracePt t="2976" x="10829925" y="1585913"/>
          <p14:tracePt t="2977" x="10818813" y="1581150"/>
          <p14:tracePt t="2979" x="10798175" y="1573213"/>
          <p14:tracePt t="2980" x="10790238" y="1570038"/>
          <p14:tracePt t="2981" x="10782300" y="1565275"/>
          <p14:tracePt t="2982" x="10774363" y="1552575"/>
          <p14:tracePt t="2983" x="10763250" y="1549400"/>
          <p14:tracePt t="2984" x="10755313" y="1544638"/>
          <p14:tracePt t="2985" x="10745788" y="1541463"/>
          <p14:tracePt t="2986" x="10729913" y="1536700"/>
          <p14:tracePt t="2987" x="10721975" y="1533525"/>
          <p14:tracePt t="2988" x="10710863" y="1528763"/>
          <p14:tracePt t="2989" x="10702925" y="1525588"/>
          <p14:tracePt t="2990" x="10690225" y="1520825"/>
          <p14:tracePt t="2992" x="10682288" y="1512888"/>
          <p14:tracePt t="2992" x="10671175" y="1509713"/>
          <p14:tracePt t="2993" x="10663238" y="1504950"/>
          <p14:tracePt t="2995" x="10637838" y="1497013"/>
          <p14:tracePt t="2996" x="10621963" y="1493838"/>
          <p14:tracePt t="2997" x="10610850" y="1489075"/>
          <p14:tracePt t="2998" x="10602913" y="1489075"/>
          <p14:tracePt t="2999" x="10594975" y="1485900"/>
          <p14:tracePt t="3000" x="10579100" y="1477963"/>
          <p14:tracePt t="3001" x="10571163" y="1473200"/>
          <p14:tracePt t="3002" x="10553700" y="1470025"/>
          <p14:tracePt t="3003" x="10542588" y="1465263"/>
          <p14:tracePt t="3004" x="10534650" y="1465263"/>
          <p14:tracePt t="3005" x="10518775" y="1460500"/>
          <p14:tracePt t="3006" x="10506075" y="1457325"/>
          <p14:tracePt t="3007" x="10498138" y="1449388"/>
          <p14:tracePt t="3008" x="10482263" y="1444625"/>
          <p14:tracePt t="3009" x="10474325" y="1441450"/>
          <p14:tracePt t="3012" x="10445750" y="1436688"/>
          <p14:tracePt t="3013" x="10429875" y="1433513"/>
          <p14:tracePt t="3014" x="10410825" y="1428750"/>
          <p14:tracePt t="3015" x="10402888" y="1428750"/>
          <p14:tracePt t="3016" x="10387013" y="1425575"/>
          <p14:tracePt t="3017" x="10374313" y="1417638"/>
          <p14:tracePt t="3018" x="10366375" y="1417638"/>
          <p14:tracePt t="3019" x="10350500" y="1412875"/>
          <p14:tracePt t="3020" x="10342563" y="1409700"/>
          <p14:tracePt t="3021" x="10321925" y="1409700"/>
          <p14:tracePt t="3022" x="10313988" y="1404938"/>
          <p14:tracePt t="3023" x="10302875" y="1404938"/>
          <p14:tracePt t="3024" x="10290175" y="1401763"/>
          <p14:tracePt t="3025" x="10277475" y="1401763"/>
          <p14:tracePt t="3026" x="10261600" y="1397000"/>
          <p14:tracePt t="3028" x="10253663" y="1393825"/>
          <p14:tracePt t="3029" x="10242550" y="1393825"/>
          <p14:tracePt t="3029" x="10234613" y="1389063"/>
          <p14:tracePt t="3030" x="10218738" y="1389063"/>
          <p14:tracePt t="3032" x="10198100" y="1381125"/>
          <p14:tracePt t="3033" x="10190163" y="1381125"/>
          <p14:tracePt t="3034" x="10177463" y="1377950"/>
          <p14:tracePt t="3035" x="10169525" y="1377950"/>
          <p14:tracePt t="3036" x="10158413" y="1377950"/>
          <p14:tracePt t="3037" x="10145713" y="1373188"/>
          <p14:tracePt t="3038" x="10134600" y="1373188"/>
          <p14:tracePt t="3039" x="10126663" y="1373188"/>
          <p14:tracePt t="3040" x="10109200" y="1368425"/>
          <p14:tracePt t="3042" x="10090150" y="1368425"/>
          <p14:tracePt t="3044" x="10077450" y="1365250"/>
          <p14:tracePt t="3044" x="10069513" y="1365250"/>
          <p14:tracePt t="3045" x="10053638" y="1365250"/>
          <p14:tracePt t="3046" x="10042525" y="1360488"/>
          <p14:tracePt t="3047" x="10034588" y="1360488"/>
          <p14:tracePt t="3048" x="10017125" y="1352550"/>
          <p14:tracePt t="3049" x="10009188" y="1352550"/>
          <p14:tracePt t="3050" x="9998075" y="1349375"/>
          <p14:tracePt t="3051" x="9982200" y="1349375"/>
          <p14:tracePt t="3052" x="9974263" y="1349375"/>
          <p14:tracePt t="3053" x="9961563" y="1349375"/>
          <p14:tracePt t="3054" x="9953625" y="1349375"/>
          <p14:tracePt t="3055" x="9932988" y="1349375"/>
          <p14:tracePt t="3056" x="9925050" y="1344613"/>
          <p14:tracePt t="3057" x="9909175" y="1344613"/>
          <p14:tracePt t="3058" x="9901238" y="1344613"/>
          <p14:tracePt t="3059" x="9890125" y="1344613"/>
          <p14:tracePt t="3060" x="9877425" y="1344613"/>
          <p14:tracePt t="3061" x="9861550" y="1341438"/>
          <p14:tracePt t="3062" x="9850438" y="1341438"/>
          <p14:tracePt t="3063" x="9840913" y="1341438"/>
          <p14:tracePt t="3064" x="9825038" y="1341438"/>
          <p14:tracePt t="3065" x="9805988" y="1341438"/>
          <p14:tracePt t="3066" x="9793288" y="1341438"/>
          <p14:tracePt t="3067" x="9785350" y="1341438"/>
          <p14:tracePt t="3068" x="9774238" y="1341438"/>
          <p14:tracePt t="3069" x="9761538" y="1341438"/>
          <p14:tracePt t="3070" x="9745663" y="1341438"/>
          <p14:tracePt t="3071" x="9729788" y="1341438"/>
          <p14:tracePt t="3072" x="9717088" y="1341438"/>
          <p14:tracePt t="3073" x="9709150" y="1341438"/>
          <p14:tracePt t="3074" x="9693275" y="1341438"/>
          <p14:tracePt t="3075" x="9677400" y="1341438"/>
          <p14:tracePt t="3076" x="9661525" y="1341438"/>
          <p14:tracePt t="3077" x="9653588" y="1341438"/>
          <p14:tracePt t="3078" x="9640888" y="1341438"/>
          <p14:tracePt t="3079" x="9625013" y="1341438"/>
          <p14:tracePt t="3080" x="9605963" y="1341438"/>
          <p14:tracePt t="3081" x="9593263" y="1341438"/>
          <p14:tracePt t="3082" x="9582150" y="1341438"/>
          <p14:tracePt t="3083" x="9569450" y="1344613"/>
          <p14:tracePt t="3084" x="9553575" y="1344613"/>
          <p14:tracePt t="3085" x="9537700" y="1349375"/>
          <p14:tracePt t="3086" x="9525000" y="1349375"/>
          <p14:tracePt t="3087" x="9509125" y="1357313"/>
          <p14:tracePt t="3088" x="9498013" y="1357313"/>
          <p14:tracePt t="3089" x="9480550" y="1360488"/>
          <p14:tracePt t="3090" x="9461500" y="1365250"/>
          <p14:tracePt t="3092" x="9432925" y="1368425"/>
          <p14:tracePt t="3093" x="9421813" y="1373188"/>
          <p14:tracePt t="3094" x="9401175" y="1381125"/>
          <p14:tracePt t="3095" x="9388475" y="1381125"/>
          <p14:tracePt t="3096" x="9372600" y="1385888"/>
          <p14:tracePt t="3097" x="9361488" y="1389063"/>
          <p14:tracePt t="3098" x="9340850" y="1393825"/>
          <p14:tracePt t="3099" x="9324975" y="1393825"/>
          <p14:tracePt t="3100" x="9305925" y="1397000"/>
          <p14:tracePt t="3101" x="9293225" y="1404938"/>
          <p14:tracePt t="3102" x="9277350" y="1409700"/>
          <p14:tracePt t="3103" x="9256713" y="1412875"/>
          <p14:tracePt t="3104" x="9237663" y="1417638"/>
          <p14:tracePt t="3105" x="9217025" y="1420813"/>
          <p14:tracePt t="3106" x="9204325" y="1428750"/>
          <p14:tracePt t="3107" x="9188450" y="1433513"/>
          <p14:tracePt t="3108" x="9172575" y="1436688"/>
          <p14:tracePt t="3109" x="9153525" y="1441450"/>
          <p14:tracePt t="3110" x="9132888" y="1444625"/>
          <p14:tracePt t="3111" x="9117013" y="1452563"/>
          <p14:tracePt t="3112" x="9096375" y="1457325"/>
          <p14:tracePt t="3113" x="9077325" y="1460500"/>
          <p14:tracePt t="3114" x="9048750" y="1465263"/>
          <p14:tracePt t="3115" x="9037638" y="1473200"/>
          <p14:tracePt t="3116" x="9017000" y="1477963"/>
          <p14:tracePt t="3117" x="8996363" y="1481138"/>
          <p14:tracePt t="3118" x="8980488" y="1485900"/>
          <p14:tracePt t="3119" x="8956675" y="1493838"/>
          <p14:tracePt t="3120" x="8936038" y="1501775"/>
          <p14:tracePt t="3121" x="8916988" y="1504950"/>
          <p14:tracePt t="3122" x="8896350" y="1512888"/>
          <p14:tracePt t="3123" x="8877300" y="1512888"/>
          <p14:tracePt t="3125" x="8828088" y="1528763"/>
          <p14:tracePt t="3126" x="8809038" y="1533525"/>
          <p14:tracePt t="3128" x="8761413" y="1541463"/>
          <p14:tracePt t="3130" x="8716963" y="1552575"/>
          <p14:tracePt t="3131" x="8696325" y="1557338"/>
          <p14:tracePt t="3132" x="8677275" y="1557338"/>
          <p14:tracePt t="3133" x="8648700" y="1565275"/>
          <p14:tracePt t="3134" x="8612188" y="1570038"/>
          <p14:tracePt t="3135" x="8593138" y="1573213"/>
          <p14:tracePt t="3136" x="8572500" y="1581150"/>
          <p14:tracePt t="3137" x="8543925" y="1585913"/>
          <p14:tracePt t="3138" x="8509000" y="1593850"/>
          <p14:tracePt t="3139" x="8493125" y="1593850"/>
          <p14:tracePt t="3140" x="8464550" y="1597025"/>
          <p14:tracePt t="3142" x="8416925" y="1604963"/>
          <p14:tracePt t="3143" x="8372475" y="1612900"/>
          <p14:tracePt t="3145" x="8328025" y="1617663"/>
          <p14:tracePt t="3147" x="8280400" y="1625600"/>
          <p14:tracePt t="3148" x="8240713" y="1625600"/>
          <p14:tracePt t="3149" x="8220075" y="1628775"/>
          <p14:tracePt t="3150" x="8191500" y="1633538"/>
          <p14:tracePt t="3151" x="8164513" y="1633538"/>
          <p14:tracePt t="3152" x="8135938" y="1633538"/>
          <p14:tracePt t="3153" x="8091488" y="1641475"/>
          <p14:tracePt t="3154" x="8067675" y="1641475"/>
          <p14:tracePt t="3155" x="8040688" y="1641475"/>
          <p14:tracePt t="3156" x="8015288" y="1641475"/>
          <p14:tracePt t="3157" x="7988300" y="1644650"/>
          <p14:tracePt t="3158" x="7943850" y="1644650"/>
          <p14:tracePt t="3159" x="7915275" y="1644650"/>
          <p14:tracePt t="3160" x="7891463" y="1644650"/>
          <p14:tracePt t="3161" x="7864475" y="1644650"/>
          <p14:tracePt t="3162" x="7827963" y="1644650"/>
          <p14:tracePt t="3163" x="7804150" y="1644650"/>
          <p14:tracePt t="3164" x="7775575" y="1644650"/>
          <p14:tracePt t="3165" x="7751763" y="1644650"/>
          <p14:tracePt t="3166" x="7731125" y="1644650"/>
          <p14:tracePt t="3167" x="7691438" y="1644650"/>
          <p14:tracePt t="3168" x="7670800" y="1644650"/>
          <p14:tracePt t="3169" x="7643813" y="1644650"/>
          <p14:tracePt t="3170" x="7627938" y="1644650"/>
          <p14:tracePt t="3171" x="7599363" y="1641475"/>
          <p14:tracePt t="3172" x="7570788" y="1641475"/>
          <p14:tracePt t="3173" x="7546975" y="1641475"/>
          <p14:tracePt t="3174" x="7527925" y="1633538"/>
          <p14:tracePt t="3175" x="7507288" y="1633538"/>
          <p14:tracePt t="3176" x="7486650" y="1628775"/>
          <p14:tracePt t="3177" x="7467600" y="1628775"/>
          <p14:tracePt t="3178" x="7443788" y="1625600"/>
          <p14:tracePt t="3179" x="7423150" y="1620838"/>
          <p14:tracePt t="3180" x="7402513" y="1620838"/>
          <p14:tracePt t="3181" x="7391400" y="1612900"/>
          <p14:tracePt t="3182" x="7362825" y="1609725"/>
          <p14:tracePt t="3183" x="7343775" y="1609725"/>
          <p14:tracePt t="3184" x="7331075" y="1604963"/>
          <p14:tracePt t="3185" x="7315200" y="1601788"/>
          <p14:tracePt t="3186" x="7302500" y="1597025"/>
          <p14:tracePt t="3187" x="7275513" y="1589088"/>
          <p14:tracePt t="3188" x="7262813" y="1589088"/>
          <p14:tracePt t="3189" x="7246938" y="1585913"/>
          <p14:tracePt t="3190" x="7239000" y="1581150"/>
          <p14:tracePt t="3192" x="7207250" y="1573213"/>
          <p14:tracePt t="3194" x="7194550" y="1570038"/>
          <p14:tracePt t="3194" x="7183438" y="1562100"/>
          <p14:tracePt t="3195" x="7175500" y="1557338"/>
          <p14:tracePt t="3196" x="7159625" y="1552575"/>
          <p14:tracePt t="3197" x="7146925" y="1549400"/>
          <p14:tracePt t="3198" x="7138988" y="1544638"/>
          <p14:tracePt t="3199" x="7126288" y="1536700"/>
          <p14:tracePt t="3200" x="7115175" y="1528763"/>
          <p14:tracePt t="3201" x="7107238" y="1525588"/>
          <p14:tracePt t="3202" x="7094538" y="1520825"/>
          <p14:tracePt t="3203" x="7086600" y="1517650"/>
          <p14:tracePt t="3204" x="7078663" y="1512888"/>
          <p14:tracePt t="3205" x="7070725" y="1509713"/>
          <p14:tracePt t="3206" x="7062788" y="1501775"/>
          <p14:tracePt t="3207" x="7051675" y="1497013"/>
          <p14:tracePt t="3208" x="7046913" y="1493838"/>
          <p14:tracePt t="3209" x="7046913" y="1489075"/>
          <p14:tracePt t="3210" x="7038975" y="1485900"/>
          <p14:tracePt t="3212" x="7031038" y="1481138"/>
          <p14:tracePt t="3213" x="7026275" y="1477963"/>
          <p14:tracePt t="3214" x="7023100" y="1477963"/>
          <p14:tracePt t="3215" x="7018338" y="1477963"/>
          <p14:tracePt t="3216" x="7015163" y="1477963"/>
          <p14:tracePt t="3217" x="7015163" y="1473200"/>
          <p14:tracePt t="3218" x="7010400" y="1473200"/>
          <p14:tracePt t="3234" x="7010400" y="1470025"/>
          <p14:tracePt t="3251" x="7010400" y="1465263"/>
          <p14:tracePt t="3254" x="7007225" y="1465263"/>
          <p14:tracePt t="3255" x="7007225" y="1460500"/>
          <p14:tracePt t="3259" x="7002463" y="1460500"/>
          <p14:tracePt t="3259" x="7002463" y="1457325"/>
          <p14:tracePt t="3261" x="6999288" y="1452563"/>
          <p14:tracePt t="3264" x="6994525" y="1452563"/>
          <p14:tracePt t="3266" x="6994525" y="1449388"/>
          <p14:tracePt t="3267" x="6994525" y="1444625"/>
          <p14:tracePt t="3269" x="6994525" y="1441450"/>
          <p14:tracePt t="3271" x="6986588" y="1436688"/>
          <p14:tracePt t="3273" x="6983413" y="1433513"/>
          <p14:tracePt t="3274" x="6978650" y="1428750"/>
          <p14:tracePt t="3276" x="6975475" y="1425575"/>
          <p14:tracePt t="3277" x="6975475" y="1420813"/>
          <p14:tracePt t="3278" x="6970713" y="1420813"/>
          <p14:tracePt t="3279" x="6970713" y="1417638"/>
          <p14:tracePt t="3280" x="6967538" y="1417638"/>
          <p14:tracePt t="3283" x="6959600" y="1412875"/>
          <p14:tracePt t="3284" x="6954838" y="1409700"/>
          <p14:tracePt t="3286" x="6954838" y="1404938"/>
          <p14:tracePt t="3288" x="6950075" y="1401763"/>
          <p14:tracePt t="3290" x="6946900" y="1397000"/>
          <p14:tracePt t="3292" x="6942138" y="1393825"/>
          <p14:tracePt t="3295" x="6938963" y="1389063"/>
          <p14:tracePt t="3299" x="6938963" y="1385888"/>
          <p14:tracePt t="3305" x="6938963" y="1381125"/>
          <p14:tracePt t="3306" x="6942138" y="1381125"/>
          <p14:tracePt t="3308" x="6946900" y="1381125"/>
          <p14:tracePt t="3310" x="6946900" y="1377950"/>
          <p14:tracePt t="3310" x="6950075" y="1377950"/>
          <p14:tracePt t="3314" x="6950075" y="1373188"/>
          <p14:tracePt t="3315" x="6954838" y="1373188"/>
          <p14:tracePt t="3316" x="6959600" y="1373188"/>
          <p14:tracePt t="3317" x="6962775" y="1373188"/>
          <p14:tracePt t="3318" x="6967538" y="1373188"/>
          <p14:tracePt t="3319" x="6970713" y="1368425"/>
          <p14:tracePt t="3320" x="6975475" y="1368425"/>
          <p14:tracePt t="3321" x="6978650" y="1368425"/>
          <p14:tracePt t="3322" x="6983413" y="1365250"/>
          <p14:tracePt t="3323" x="6991350" y="1365250"/>
          <p14:tracePt t="3324" x="6994525" y="1360488"/>
          <p14:tracePt t="3325" x="7002463" y="1360488"/>
          <p14:tracePt t="3327" x="7010400" y="1357313"/>
          <p14:tracePt t="3328" x="7015163" y="1357313"/>
          <p14:tracePt t="3329" x="7026275" y="1352550"/>
          <p14:tracePt t="3330" x="7031038" y="1352550"/>
          <p14:tracePt t="3331" x="7038975" y="1352550"/>
          <p14:tracePt t="3332" x="7051675" y="1349375"/>
          <p14:tracePt t="3333" x="7059613" y="1349375"/>
          <p14:tracePt t="3334" x="7067550" y="1344613"/>
          <p14:tracePt t="3335" x="7078663" y="1344613"/>
          <p14:tracePt t="3336" x="7086600" y="1336675"/>
          <p14:tracePt t="3337" x="7094538" y="1336675"/>
          <p14:tracePt t="3338" x="7102475" y="1336675"/>
          <p14:tracePt t="3339" x="7118350" y="1333500"/>
          <p14:tracePt t="3340" x="7131050" y="1333500"/>
          <p14:tracePt t="3342" x="7151688" y="1328738"/>
          <p14:tracePt t="3343" x="7162800" y="1328738"/>
          <p14:tracePt t="3344" x="7178675" y="1325563"/>
          <p14:tracePt t="3345" x="7186613" y="1325563"/>
          <p14:tracePt t="3346" x="7194550" y="1325563"/>
          <p14:tracePt t="3347" x="7207250" y="1320800"/>
          <p14:tracePt t="3348" x="7223125" y="1320800"/>
          <p14:tracePt t="3349" x="7235825" y="1320800"/>
          <p14:tracePt t="3350" x="7243763" y="1317625"/>
          <p14:tracePt t="3351" x="7259638" y="1317625"/>
          <p14:tracePt t="3352" x="7270750" y="1317625"/>
          <p14:tracePt t="3353" x="7283450" y="1317625"/>
          <p14:tracePt t="3354" x="7299325" y="1312863"/>
          <p14:tracePt t="3355" x="7310438" y="1312863"/>
          <p14:tracePt t="3356" x="7319963" y="1312863"/>
          <p14:tracePt t="3357" x="7335838" y="1304925"/>
          <p14:tracePt t="3359" x="7346950" y="1304925"/>
          <p14:tracePt t="3359" x="7362825" y="1304925"/>
          <p14:tracePt t="3360" x="7370763" y="1304925"/>
          <p14:tracePt t="3361" x="7383463" y="1301750"/>
          <p14:tracePt t="3362" x="7399338" y="1301750"/>
          <p14:tracePt t="3363" x="7407275" y="1301750"/>
          <p14:tracePt t="3364" x="7427913" y="1296988"/>
          <p14:tracePt t="3365" x="7439025" y="1296988"/>
          <p14:tracePt t="3366" x="7454900" y="1296988"/>
          <p14:tracePt t="3367" x="7462838" y="1293813"/>
          <p14:tracePt t="3368" x="7478713" y="1293813"/>
          <p14:tracePt t="3369" x="7494588" y="1293813"/>
          <p14:tracePt t="3370" x="7507288" y="1289050"/>
          <p14:tracePt t="3371" x="7515225" y="1289050"/>
          <p14:tracePt t="3372" x="7531100" y="1289050"/>
          <p14:tracePt t="3373" x="7551738" y="1285875"/>
          <p14:tracePt t="3374" x="7562850" y="1285875"/>
          <p14:tracePt t="3375" x="7578725" y="1276350"/>
          <p14:tracePt t="3376" x="7599363" y="1276350"/>
          <p14:tracePt t="3377" x="7612063" y="1276350"/>
          <p14:tracePt t="3378" x="7631113" y="1273175"/>
          <p14:tracePt t="3379" x="7643813" y="1273175"/>
          <p14:tracePt t="3380" x="7659688" y="1273175"/>
          <p14:tracePt t="3381" x="7670800" y="1268413"/>
          <p14:tracePt t="3382" x="7688263" y="1268413"/>
          <p14:tracePt t="3383" x="7712075" y="1265238"/>
          <p14:tracePt t="3384" x="7727950" y="1265238"/>
          <p14:tracePt t="3385" x="7743825" y="1265238"/>
          <p14:tracePt t="3386" x="7759700" y="1257300"/>
          <p14:tracePt t="3387" x="7772400" y="1257300"/>
          <p14:tracePt t="3388" x="7799388" y="1257300"/>
          <p14:tracePt t="3389" x="7812088" y="1252538"/>
          <p14:tracePt t="3390" x="7831138" y="1252538"/>
          <p14:tracePt t="3392" x="7864475" y="1252538"/>
          <p14:tracePt t="3393" x="7883525" y="1249363"/>
          <p14:tracePt t="3394" x="7899400" y="1249363"/>
          <p14:tracePt t="3395" x="7912100" y="1249363"/>
          <p14:tracePt t="3396" x="7923213" y="1249363"/>
          <p14:tracePt t="3397" x="7939088" y="1249363"/>
          <p14:tracePt t="3398" x="7964488" y="1249363"/>
          <p14:tracePt t="3399" x="7980363" y="1249363"/>
          <p14:tracePt t="3400" x="7991475" y="1249363"/>
          <p14:tracePt t="3401" x="8004175" y="1249363"/>
          <p14:tracePt t="3402" x="8023225" y="1249363"/>
          <p14:tracePt t="3403" x="8040688" y="1249363"/>
          <p14:tracePt t="3404" x="8051800" y="1249363"/>
          <p14:tracePt t="3406" x="8080375" y="1249363"/>
          <p14:tracePt t="3407" x="8088313" y="1249363"/>
          <p14:tracePt t="3408" x="8107363" y="1249363"/>
          <p14:tracePt t="3410" x="8128000" y="1249363"/>
          <p14:tracePt t="3411" x="8143875" y="1249363"/>
          <p14:tracePt t="3412" x="8156575" y="1249363"/>
          <p14:tracePt t="3413" x="8167688" y="1249363"/>
          <p14:tracePt t="3414" x="8175625" y="1249363"/>
          <p14:tracePt t="3415" x="8191500" y="1249363"/>
          <p14:tracePt t="3416" x="8199438" y="1249363"/>
          <p14:tracePt t="3417" x="8215313" y="1252538"/>
          <p14:tracePt t="3418" x="8224838" y="1257300"/>
          <p14:tracePt t="3419" x="8232775" y="1257300"/>
          <p14:tracePt t="3420" x="8240713" y="1265238"/>
          <p14:tracePt t="3421" x="8248650" y="1265238"/>
          <p14:tracePt t="3422" x="8256588" y="1268413"/>
          <p14:tracePt t="3423" x="8264525" y="1273175"/>
          <p14:tracePt t="3424" x="8272463" y="1273175"/>
          <p14:tracePt t="3425" x="8283575" y="1276350"/>
          <p14:tracePt t="3427" x="8296275" y="1285875"/>
          <p14:tracePt t="3428" x="8304213" y="1285875"/>
          <p14:tracePt t="3429" x="8304213" y="1289050"/>
          <p14:tracePt t="3430" x="8312150" y="1293813"/>
          <p14:tracePt t="3431" x="8316913" y="1296988"/>
          <p14:tracePt t="3432" x="8324850" y="1301750"/>
          <p14:tracePt t="3433" x="8328025" y="1304925"/>
          <p14:tracePt t="3434" x="8332788" y="1304925"/>
          <p14:tracePt t="3435" x="8340725" y="1309688"/>
          <p14:tracePt t="3436" x="8343900" y="1320800"/>
          <p14:tracePt t="3438" x="8351838" y="1333500"/>
          <p14:tracePt t="3439" x="8356600" y="1333500"/>
          <p14:tracePt t="3440" x="8359775" y="1336675"/>
          <p14:tracePt t="3442" x="8372475" y="1357313"/>
          <p14:tracePt t="3443" x="8375650" y="1365250"/>
          <p14:tracePt t="3444" x="8380413" y="1368425"/>
          <p14:tracePt t="3445" x="8383588" y="1377950"/>
          <p14:tracePt t="3446" x="8388350" y="1389063"/>
          <p14:tracePt t="3447" x="8396288" y="1397000"/>
          <p14:tracePt t="3448" x="8401050" y="1409700"/>
          <p14:tracePt t="3449" x="8404225" y="1420813"/>
          <p14:tracePt t="3450" x="8412163" y="1428750"/>
          <p14:tracePt t="3451" x="8416925" y="1441450"/>
          <p14:tracePt t="3452" x="8420100" y="1457325"/>
          <p14:tracePt t="3454" x="8435975" y="1481138"/>
          <p14:tracePt t="3455" x="8440738" y="1489075"/>
          <p14:tracePt t="3456" x="8443913" y="1509713"/>
          <p14:tracePt t="3457" x="8456613" y="1525588"/>
          <p14:tracePt t="3458" x="8459788" y="1536700"/>
          <p14:tracePt t="3459" x="8464550" y="1552575"/>
          <p14:tracePt t="3461" x="8480425" y="1589088"/>
          <p14:tracePt t="3463" x="8493125" y="1617663"/>
          <p14:tracePt t="3464" x="8496300" y="1628775"/>
          <p14:tracePt t="3465" x="8504238" y="1649413"/>
          <p14:tracePt t="3466" x="8516938" y="1677988"/>
          <p14:tracePt t="3467" x="8520113" y="1693863"/>
          <p14:tracePt t="3468" x="8524875" y="1712913"/>
          <p14:tracePt t="3469" x="8528050" y="1725613"/>
          <p14:tracePt t="3470" x="8532813" y="1746250"/>
          <p14:tracePt t="3471" x="8540750" y="1773238"/>
          <p14:tracePt t="3472" x="8543925" y="1793875"/>
          <p14:tracePt t="3473" x="8548688" y="1812925"/>
          <p14:tracePt t="3474" x="8551863" y="1833563"/>
          <p14:tracePt t="3475" x="8559800" y="1854200"/>
          <p14:tracePt t="3476" x="8572500" y="1881188"/>
          <p14:tracePt t="3477" x="8575675" y="1901825"/>
          <p14:tracePt t="3479" x="8580438" y="1949450"/>
          <p14:tracePt t="3480" x="8585200" y="1978025"/>
          <p14:tracePt t="3481" x="8593138" y="1997075"/>
          <p14:tracePt t="3482" x="8596313" y="2022475"/>
          <p14:tracePt t="3483" x="8601075" y="2041525"/>
          <p14:tracePt t="3484" x="8601075" y="2062163"/>
          <p14:tracePt t="3485" x="8609013" y="2089150"/>
          <p14:tracePt t="3486" x="8609013" y="2114550"/>
          <p14:tracePt t="3487" x="8612188" y="2133600"/>
          <p14:tracePt t="3488" x="8612188" y="2162175"/>
          <p14:tracePt t="3489" x="8616950" y="2181225"/>
          <p14:tracePt t="3490" x="8624888" y="2217738"/>
          <p14:tracePt t="3492" x="8624888" y="2254250"/>
          <p14:tracePt t="3493" x="8628063" y="2273300"/>
          <p14:tracePt t="3495" x="8628063" y="2330450"/>
          <p14:tracePt t="3496" x="8628063" y="2354263"/>
          <p14:tracePt t="3497" x="8632825" y="2373313"/>
          <p14:tracePt t="3498" x="8632825" y="2393950"/>
          <p14:tracePt t="3499" x="8632825" y="2414588"/>
          <p14:tracePt t="3500" x="8632825" y="2446338"/>
          <p14:tracePt t="3501" x="8632825" y="2465388"/>
          <p14:tracePt t="3502" x="8632825" y="2482850"/>
          <p14:tracePt t="3503" x="8632825" y="2501900"/>
          <p14:tracePt t="3504" x="8632825" y="2522538"/>
          <p14:tracePt t="3505" x="8632825" y="2546350"/>
          <p14:tracePt t="3506" x="8632825" y="2566988"/>
          <p14:tracePt t="3507" x="8632825" y="2586038"/>
          <p14:tracePt t="3508" x="8632825" y="2598738"/>
          <p14:tracePt t="3509" x="8632825" y="2617788"/>
          <p14:tracePt t="3510" x="8628063" y="2646363"/>
          <p14:tracePt t="3511" x="8628063" y="2659063"/>
          <p14:tracePt t="3512" x="8628063" y="2678113"/>
          <p14:tracePt t="3513" x="8620125" y="2690813"/>
          <p14:tracePt t="3514" x="8620125" y="2709863"/>
          <p14:tracePt t="3515" x="8620125" y="2730500"/>
          <p14:tracePt t="3516" x="8616950" y="2746375"/>
          <p14:tracePt t="3517" x="8616950" y="2759075"/>
          <p14:tracePt t="3518" x="8616950" y="2778125"/>
          <p14:tracePt t="3519" x="8616950" y="2790825"/>
          <p14:tracePt t="3520" x="8612188" y="2806700"/>
          <p14:tracePt t="3521" x="8612188" y="2817813"/>
          <p14:tracePt t="3522" x="8612188" y="2833688"/>
          <p14:tracePt t="3523" x="8612188" y="2843213"/>
          <p14:tracePt t="3524" x="8609013" y="2859088"/>
          <p14:tracePt t="3525" x="8609013" y="2870200"/>
          <p14:tracePt t="3526" x="8609013" y="2878138"/>
          <p14:tracePt t="3527" x="8609013" y="2890838"/>
          <p14:tracePt t="3528" x="8604250" y="2898775"/>
          <p14:tracePt t="3529" x="8604250" y="2906713"/>
          <p14:tracePt t="3530" x="8604250" y="2914650"/>
          <p14:tracePt t="3531" x="8604250" y="2922588"/>
          <p14:tracePt t="3532" x="8604250" y="2930525"/>
          <p14:tracePt t="3533" x="8601075" y="2943225"/>
          <p14:tracePt t="3534" x="8601075" y="2951163"/>
          <p14:tracePt t="3535" x="8601075" y="2954338"/>
          <p14:tracePt t="3536" x="8601075" y="2959100"/>
          <p14:tracePt t="3537" x="8601075" y="2962275"/>
          <p14:tracePt t="3538" x="8601075" y="2967038"/>
          <p14:tracePt t="3539" x="8601075" y="2974975"/>
          <p14:tracePt t="3540" x="8601075" y="2978150"/>
          <p14:tracePt t="3541" x="8601075" y="2982913"/>
          <p14:tracePt t="3542" x="8601075" y="2986088"/>
          <p14:tracePt t="3543" x="8601075" y="2990850"/>
          <p14:tracePt t="3544" x="8601075" y="2994025"/>
          <p14:tracePt t="3545" x="8601075" y="2998788"/>
          <p14:tracePt t="3546" x="8601075" y="3001963"/>
          <p14:tracePt t="3548" x="8601075" y="3006725"/>
          <p14:tracePt t="3549" x="8601075" y="3009900"/>
          <p14:tracePt t="3551" x="8601075" y="3014663"/>
          <p14:tracePt t="3553" x="8601075" y="3019425"/>
          <p14:tracePt t="3554" x="8601075" y="3022600"/>
          <p14:tracePt t="3556" x="8601075" y="3027363"/>
          <p14:tracePt t="3558" x="8601075" y="3030538"/>
          <p14:tracePt t="3560" x="8604250" y="3035300"/>
          <p14:tracePt t="3560" x="8604250" y="3038475"/>
          <p14:tracePt t="3561" x="8609013" y="3038475"/>
          <p14:tracePt t="3563" x="8609013" y="3043238"/>
          <p14:tracePt t="3564" x="8612188" y="3043238"/>
          <p14:tracePt t="3565" x="8612188" y="3046413"/>
          <p14:tracePt t="3566" x="8616950" y="3046413"/>
          <p14:tracePt t="3567" x="8620125" y="3051175"/>
          <p14:tracePt t="3569" x="8624888" y="3054350"/>
          <p14:tracePt t="3570" x="8628063" y="3059113"/>
          <p14:tracePt t="3571" x="8632825" y="3059113"/>
          <p14:tracePt t="3572" x="8632825" y="3062288"/>
          <p14:tracePt t="3573" x="8636000" y="3067050"/>
          <p14:tracePt t="3574" x="8640763" y="3070225"/>
          <p14:tracePt t="3577" x="8648700" y="3078163"/>
          <p14:tracePt t="3578" x="8651875" y="3078163"/>
          <p14:tracePt t="3579" x="8656638" y="3082925"/>
          <p14:tracePt t="3580" x="8659813" y="3086100"/>
          <p14:tracePt t="3581" x="8664575" y="3086100"/>
          <p14:tracePt t="3582" x="8667750" y="3086100"/>
          <p14:tracePt t="3583" x="8672513" y="3086100"/>
          <p14:tracePt t="3584" x="8680450" y="3090863"/>
          <p14:tracePt t="3585" x="8685213" y="3094038"/>
          <p14:tracePt t="3586" x="8688388" y="3094038"/>
          <p14:tracePt t="3587" x="8688388" y="3098800"/>
          <p14:tracePt t="3588" x="8693150" y="3101975"/>
          <p14:tracePt t="3589" x="8701088" y="3101975"/>
          <p14:tracePt t="3590" x="8704263" y="3106738"/>
          <p14:tracePt t="3591" x="8709025" y="3106738"/>
          <p14:tracePt t="3592" x="8716963" y="3111500"/>
          <p14:tracePt t="3593" x="8720138" y="3111500"/>
          <p14:tracePt t="3595" x="8732838" y="3114675"/>
          <p14:tracePt t="3596" x="8736013" y="3114675"/>
          <p14:tracePt t="3597" x="8743950" y="3119438"/>
          <p14:tracePt t="3598" x="8751888" y="3122613"/>
          <p14:tracePt t="3599" x="8756650" y="3122613"/>
          <p14:tracePt t="3600" x="8764588" y="3127375"/>
          <p14:tracePt t="3601" x="8769350" y="3127375"/>
          <p14:tracePt t="3602" x="8777288" y="3130550"/>
          <p14:tracePt t="3603" x="8785225" y="3130550"/>
          <p14:tracePt t="3604" x="8788400" y="3135313"/>
          <p14:tracePt t="3605" x="8796338" y="3135313"/>
          <p14:tracePt t="3606" x="8801100" y="3135313"/>
          <p14:tracePt t="3607" x="8809038" y="3138488"/>
          <p14:tracePt t="3609" x="8816975" y="3143250"/>
          <p14:tracePt t="3609" x="8824913" y="3143250"/>
          <p14:tracePt t="3610" x="8832850" y="3143250"/>
          <p14:tracePt t="3611" x="8836025" y="3146425"/>
          <p14:tracePt t="3612" x="8848725" y="3146425"/>
          <p14:tracePt t="3613" x="8856663" y="3151188"/>
          <p14:tracePt t="3614" x="8861425" y="3151188"/>
          <p14:tracePt t="3615" x="8869363" y="3154363"/>
          <p14:tracePt t="3616" x="8877300" y="3154363"/>
          <p14:tracePt t="3617" x="8885238" y="3154363"/>
          <p14:tracePt t="3618" x="8901113" y="3159125"/>
          <p14:tracePt t="3619" x="8909050" y="3159125"/>
          <p14:tracePt t="3620" x="8916988" y="3162300"/>
          <p14:tracePt t="3621" x="8924925" y="3162300"/>
          <p14:tracePt t="3622" x="8932863" y="3167063"/>
          <p14:tracePt t="3623" x="8940800" y="3167063"/>
          <p14:tracePt t="3624" x="8948738" y="3167063"/>
          <p14:tracePt t="3625" x="8956675" y="3175000"/>
          <p14:tracePt t="3626" x="8964613" y="3175000"/>
          <p14:tracePt t="3627" x="8980488" y="3175000"/>
          <p14:tracePt t="3628" x="8988425" y="3178175"/>
          <p14:tracePt t="3629" x="8993188" y="3178175"/>
          <p14:tracePt t="3630" x="9001125" y="3178175"/>
          <p14:tracePt t="3631" x="9009063" y="3178175"/>
          <p14:tracePt t="3632" x="9020175" y="3182938"/>
          <p14:tracePt t="3633" x="9028113" y="3182938"/>
          <p14:tracePt t="3634" x="9037638" y="3182938"/>
          <p14:tracePt t="3635" x="9048750" y="3186113"/>
          <p14:tracePt t="3636" x="9053513" y="3186113"/>
          <p14:tracePt t="3637" x="9064625" y="3186113"/>
          <p14:tracePt t="3638" x="9072563" y="3186113"/>
          <p14:tracePt t="3639" x="9077325" y="3186113"/>
          <p14:tracePt t="3640" x="9085263" y="3186113"/>
          <p14:tracePt t="3642" x="9101138" y="3190875"/>
          <p14:tracePt t="3643" x="9109075" y="3190875"/>
          <p14:tracePt t="3644" x="9117013" y="3190875"/>
          <p14:tracePt t="3645" x="9120188" y="3190875"/>
          <p14:tracePt t="3646" x="9129713" y="3190875"/>
          <p14:tracePt t="3647" x="9137650" y="3190875"/>
          <p14:tracePt t="3648" x="9140825" y="3190875"/>
          <p14:tracePt t="3649" x="9148763" y="3190875"/>
          <p14:tracePt t="3651" x="9153525" y="3190875"/>
          <p14:tracePt t="3652" x="9161463" y="3190875"/>
          <p14:tracePt t="3653" x="9164638" y="3190875"/>
          <p14:tracePt t="3654" x="9169400" y="3190875"/>
          <p14:tracePt t="3655" x="9172575" y="3190875"/>
          <p14:tracePt t="3656" x="9177338" y="3190875"/>
          <p14:tracePt t="3657" x="9180513" y="3190875"/>
          <p14:tracePt t="3658" x="9185275" y="3190875"/>
          <p14:tracePt t="3660" x="9188450" y="3190875"/>
          <p14:tracePt t="3660" x="9193213" y="3190875"/>
          <p14:tracePt t="3662" x="9196388" y="3190875"/>
          <p14:tracePt t="3665" x="9201150" y="3190875"/>
          <p14:tracePt t="3666" x="9201150" y="3186113"/>
          <p14:tracePt t="3668" x="9204325" y="3186113"/>
          <p14:tracePt t="3669" x="9204325" y="3182938"/>
          <p14:tracePt t="3670" x="9209088" y="3182938"/>
          <p14:tracePt t="3672" x="9213850" y="3178175"/>
          <p14:tracePt t="3676" x="9217025" y="3175000"/>
          <p14:tracePt t="3678" x="9221788" y="3175000"/>
          <p14:tracePt t="3682" x="9224963" y="3175000"/>
          <p14:tracePt t="3683" x="9224963" y="3170238"/>
          <p14:tracePt t="3685" x="9229725" y="3170238"/>
          <p14:tracePt t="3686" x="9229725" y="3167063"/>
          <p14:tracePt t="3688" x="9229725" y="3162300"/>
          <p14:tracePt t="3689" x="9232900" y="3162300"/>
          <p14:tracePt t="3693" x="9232900" y="3159125"/>
          <p14:tracePt t="3695" x="9237663" y="3159125"/>
          <p14:tracePt t="3750" x="9237663" y="3162300"/>
          <p14:tracePt t="3754" x="9237663" y="3167063"/>
          <p14:tracePt t="3757" x="9237663" y="3170238"/>
          <p14:tracePt t="3763" x="9237663" y="3175000"/>
          <p14:tracePt t="3764" x="9237663" y="3178175"/>
          <p14:tracePt t="3765" x="9237663" y="3182938"/>
          <p14:tracePt t="3767" x="9237663" y="3186113"/>
          <p14:tracePt t="3769" x="9237663" y="3190875"/>
          <p14:tracePt t="3770" x="9237663" y="3194050"/>
          <p14:tracePt t="3771" x="9237663" y="3198813"/>
          <p14:tracePt t="3772" x="9240838" y="3203575"/>
          <p14:tracePt t="3773" x="9240838" y="3206750"/>
          <p14:tracePt t="3774" x="9245600" y="3211513"/>
          <p14:tracePt t="3776" x="9245600" y="3214688"/>
          <p14:tracePt t="3777" x="9248775" y="3222625"/>
          <p14:tracePt t="3778" x="9248775" y="3227388"/>
          <p14:tracePt t="3779" x="9253538" y="3235325"/>
          <p14:tracePt t="3781" x="9253538" y="3243263"/>
          <p14:tracePt t="3781" x="9256713" y="3246438"/>
          <p14:tracePt t="3782" x="9261475" y="3254375"/>
          <p14:tracePt t="3783" x="9264650" y="3259138"/>
          <p14:tracePt t="3784" x="9269413" y="3270250"/>
          <p14:tracePt t="3785" x="9272588" y="3278188"/>
          <p14:tracePt t="3786" x="9277350" y="3282950"/>
          <p14:tracePt t="3787" x="9280525" y="3290888"/>
          <p14:tracePt t="3788" x="9288463" y="3303588"/>
          <p14:tracePt t="3789" x="9296400" y="3314700"/>
          <p14:tracePt t="3790" x="9305925" y="3322638"/>
          <p14:tracePt t="3792" x="9317038" y="3346450"/>
          <p14:tracePt t="3794" x="9332913" y="3378200"/>
          <p14:tracePt t="3795" x="9340850" y="3387725"/>
          <p14:tracePt t="3796" x="9345613" y="3398838"/>
          <p14:tracePt t="3797" x="9356725" y="3411538"/>
          <p14:tracePt t="3798" x="9364663" y="3430588"/>
          <p14:tracePt t="3799" x="9377363" y="3443288"/>
          <p14:tracePt t="3800" x="9380538" y="3451225"/>
          <p14:tracePt t="3801" x="9388475" y="3467100"/>
          <p14:tracePt t="3802" x="9393238" y="3482975"/>
          <p14:tracePt t="3803" x="9405938" y="3490913"/>
          <p14:tracePt t="3804" x="9413875" y="3511550"/>
          <p14:tracePt t="3805" x="9424988" y="3527425"/>
          <p14:tracePt t="3806" x="9432925" y="3538538"/>
          <p14:tracePt t="3807" x="9440863" y="3546475"/>
          <p14:tracePt t="3808" x="9453563" y="3571875"/>
          <p14:tracePt t="3809" x="9461500" y="3582988"/>
          <p14:tracePt t="3810" x="9472613" y="3598863"/>
          <p14:tracePt t="3812" x="9485313" y="3619500"/>
          <p14:tracePt t="3813" x="9501188" y="3643313"/>
          <p14:tracePt t="3815" x="9509125" y="3651250"/>
          <p14:tracePt t="3815" x="9521825" y="3667125"/>
          <p14:tracePt t="3816" x="9529763" y="3679825"/>
          <p14:tracePt t="3817" x="9532938" y="3687763"/>
          <p14:tracePt t="3818" x="9548813" y="3711575"/>
          <p14:tracePt t="3819" x="9556750" y="3719513"/>
          <p14:tracePt t="3820" x="9564688" y="3730625"/>
          <p14:tracePt t="3821" x="9574213" y="3746500"/>
          <p14:tracePt t="3822" x="9582150" y="3756025"/>
          <p14:tracePt t="3823" x="9593263" y="3771900"/>
          <p14:tracePt t="3824" x="9601200" y="3783013"/>
          <p14:tracePt t="3825" x="9605963" y="3795713"/>
          <p14:tracePt t="3826" x="9613900" y="3803650"/>
          <p14:tracePt t="3827" x="9625013" y="3819525"/>
          <p14:tracePt t="3829" x="9637713" y="3838575"/>
          <p14:tracePt t="3831" x="9656763" y="3859213"/>
          <p14:tracePt t="3832" x="9661525" y="3867150"/>
          <p14:tracePt t="3833" x="9669463" y="3883025"/>
          <p14:tracePt t="3834" x="9682163" y="3890963"/>
          <p14:tracePt t="3835" x="9685338" y="3898900"/>
          <p14:tracePt t="3836" x="9693275" y="3906838"/>
          <p14:tracePt t="3837" x="9698038" y="3919538"/>
          <p14:tracePt t="3838" x="9705975" y="3927475"/>
          <p14:tracePt t="3839" x="9717088" y="3935413"/>
          <p14:tracePt t="3840" x="9721850" y="3943350"/>
          <p14:tracePt t="3842" x="9737725" y="3963988"/>
          <p14:tracePt t="3843" x="9740900" y="3971925"/>
          <p14:tracePt t="3845" x="9753600" y="3979863"/>
          <p14:tracePt t="3847" x="9761538" y="3990975"/>
          <p14:tracePt t="3847" x="9769475" y="4003675"/>
          <p14:tracePt t="3848" x="9774238" y="4011613"/>
          <p14:tracePt t="3849" x="9777413" y="4014788"/>
          <p14:tracePt t="3850" x="9785350" y="4024313"/>
          <p14:tracePt t="3851" x="9790113" y="4032250"/>
          <p14:tracePt t="3852" x="9793288" y="4040188"/>
          <p14:tracePt t="3853" x="9801225" y="4043363"/>
          <p14:tracePt t="3854" x="9805988" y="4051300"/>
          <p14:tracePt t="3855" x="9809163" y="4056063"/>
          <p14:tracePt t="3856" x="9813925" y="4064000"/>
          <p14:tracePt t="3857" x="9817100" y="4067175"/>
          <p14:tracePt t="3859" x="9821863" y="4075113"/>
          <p14:tracePt t="3859" x="9825038" y="4079875"/>
          <p14:tracePt t="3860" x="9829800" y="4083050"/>
          <p14:tracePt t="3862" x="9832975" y="4090988"/>
          <p14:tracePt t="3864" x="9840913" y="4103688"/>
          <p14:tracePt t="3864" x="9840913" y="4106863"/>
          <p14:tracePt t="3865" x="9845675" y="4111625"/>
          <p14:tracePt t="3866" x="9845675" y="4116388"/>
          <p14:tracePt t="3867" x="9850438" y="4124325"/>
          <p14:tracePt t="3869" x="9853613" y="4132263"/>
          <p14:tracePt t="3870" x="9858375" y="4135438"/>
          <p14:tracePt t="3872" x="9858375" y="4140200"/>
          <p14:tracePt t="3874" x="9861550" y="4148138"/>
          <p14:tracePt t="3876" x="9861550" y="4156075"/>
          <p14:tracePt t="3877" x="9861550" y="4164013"/>
          <p14:tracePt t="3878" x="9866313" y="4167188"/>
          <p14:tracePt t="3879" x="9866313" y="4171950"/>
          <p14:tracePt t="3880" x="9866313" y="4175125"/>
          <p14:tracePt t="3881" x="9869488" y="4179888"/>
          <p14:tracePt t="3883" x="9874250" y="4183063"/>
          <p14:tracePt t="3884" x="9874250" y="4187825"/>
          <p14:tracePt t="3885" x="9877425" y="4195763"/>
          <p14:tracePt t="3886" x="9882188" y="4198938"/>
          <p14:tracePt t="3887" x="9882188" y="4208463"/>
          <p14:tracePt t="3888" x="9885363" y="4211638"/>
          <p14:tracePt t="3893" x="9898063" y="4240213"/>
          <p14:tracePt t="3894" x="9901238" y="4248150"/>
          <p14:tracePt t="3895" x="9901238" y="4251325"/>
          <p14:tracePt t="3896" x="9909175" y="4259263"/>
          <p14:tracePt t="3897" x="9909175" y="4264025"/>
          <p14:tracePt t="3898" x="9913938" y="4271963"/>
          <p14:tracePt t="3899" x="9917113" y="4271963"/>
          <p14:tracePt t="3900" x="9921875" y="4279900"/>
          <p14:tracePt t="3901" x="9925050" y="4291013"/>
          <p14:tracePt t="3902" x="9929813" y="4295775"/>
          <p14:tracePt t="3903" x="9932988" y="4303713"/>
          <p14:tracePt t="3904" x="9937750" y="4303713"/>
          <p14:tracePt t="3905" x="9942513" y="4311650"/>
          <p14:tracePt t="3906" x="9950450" y="4324350"/>
          <p14:tracePt t="3907" x="9953625" y="4327525"/>
          <p14:tracePt t="3909" x="9958388" y="4332288"/>
          <p14:tracePt t="3909" x="9958388" y="4335463"/>
          <p14:tracePt t="3911" x="9966325" y="4343400"/>
          <p14:tracePt t="3911" x="9969500" y="4351338"/>
          <p14:tracePt t="3912" x="9974263" y="4359275"/>
          <p14:tracePt t="3913" x="9977438" y="4364038"/>
          <p14:tracePt t="3914" x="9982200" y="4367213"/>
          <p14:tracePt t="3915" x="9985375" y="4375150"/>
          <p14:tracePt t="3916" x="9990138" y="4383088"/>
          <p14:tracePt t="3917" x="9993313" y="4387850"/>
          <p14:tracePt t="3918" x="9998075" y="4392613"/>
          <p14:tracePt t="3919" x="10001250" y="4400550"/>
          <p14:tracePt t="3920" x="10006013" y="4403725"/>
          <p14:tracePt t="3921" x="10013950" y="4408488"/>
          <p14:tracePt t="3922" x="10017125" y="4416425"/>
          <p14:tracePt t="3923" x="10021888" y="4419600"/>
          <p14:tracePt t="3924" x="10026650" y="4424363"/>
          <p14:tracePt t="3925" x="10029825" y="4427538"/>
          <p14:tracePt t="3926" x="10034588" y="4435475"/>
          <p14:tracePt t="3928" x="10045700" y="4443413"/>
          <p14:tracePt t="3930" x="10050463" y="4451350"/>
          <p14:tracePt t="3931" x="10053638" y="4451350"/>
          <p14:tracePt t="3932" x="10058400" y="4451350"/>
          <p14:tracePt t="3933" x="10058400" y="4456113"/>
          <p14:tracePt t="3934" x="10061575" y="4456113"/>
          <p14:tracePt t="3935" x="10066338" y="4459288"/>
          <p14:tracePt t="3936" x="10069513" y="4464050"/>
          <p14:tracePt t="3937" x="10074275" y="4464050"/>
          <p14:tracePt t="3938" x="10077450" y="4467225"/>
          <p14:tracePt t="3940" x="10085388" y="4471988"/>
          <p14:tracePt t="3941" x="10090150" y="4471988"/>
          <p14:tracePt t="3943" x="10093325" y="4471988"/>
          <p14:tracePt t="3944" x="10098088" y="4471988"/>
          <p14:tracePt t="3947" x="10101263" y="4471988"/>
          <p14:tracePt t="3948" x="10101263" y="4475163"/>
          <p14:tracePt t="3949" x="10106025" y="4475163"/>
          <p14:tracePt t="3950" x="10109200" y="4475163"/>
          <p14:tracePt t="3952" x="10113963" y="4475163"/>
          <p14:tracePt t="3953" x="10118725" y="4475163"/>
          <p14:tracePt t="3955" x="10121900" y="4475163"/>
          <p14:tracePt t="3957" x="10126663" y="4475163"/>
          <p14:tracePt t="3960" x="10134600" y="4475163"/>
          <p14:tracePt t="3961" x="10134600" y="4471988"/>
          <p14:tracePt t="3962" x="10137775" y="4471988"/>
          <p14:tracePt t="3964" x="10137775" y="4467225"/>
          <p14:tracePt t="3965" x="10142538" y="4467225"/>
          <p14:tracePt t="3966" x="10142538" y="4464050"/>
          <p14:tracePt t="3967" x="10145713" y="4464050"/>
          <p14:tracePt t="3968" x="10145713" y="4459288"/>
          <p14:tracePt t="3969" x="10150475" y="4459288"/>
          <p14:tracePt t="3970" x="10153650" y="4459288"/>
          <p14:tracePt t="3971" x="10158413" y="4459288"/>
          <p14:tracePt t="3972" x="10161588" y="4456113"/>
          <p14:tracePt t="3974" x="10169525" y="4451350"/>
          <p14:tracePt t="3975" x="10169525" y="4448175"/>
          <p14:tracePt t="3976" x="10174288" y="4448175"/>
          <p14:tracePt t="3977" x="10177463" y="4443413"/>
          <p14:tracePt t="3978" x="10182225" y="4440238"/>
          <p14:tracePt t="3979" x="10185400" y="4435475"/>
          <p14:tracePt t="3980" x="10185400" y="4432300"/>
          <p14:tracePt t="3981" x="10190163" y="4427538"/>
          <p14:tracePt t="3982" x="10193338" y="4427538"/>
          <p14:tracePt t="3983" x="10198100" y="4424363"/>
          <p14:tracePt t="3984" x="10206038" y="4419600"/>
          <p14:tracePt t="3985" x="10210800" y="4416425"/>
          <p14:tracePt t="3986" x="10210800" y="4411663"/>
          <p14:tracePt t="3987" x="10213975" y="4411663"/>
          <p14:tracePt t="3988" x="10218738" y="4408488"/>
          <p14:tracePt t="3989" x="10226675" y="4403725"/>
          <p14:tracePt t="3990" x="10229850" y="4400550"/>
          <p14:tracePt t="3992" x="10237788" y="4392613"/>
          <p14:tracePt t="3993" x="10242550" y="4387850"/>
          <p14:tracePt t="3994" x="10242550" y="4383088"/>
          <p14:tracePt t="3995" x="10245725" y="4379913"/>
          <p14:tracePt t="3996" x="10250488" y="4375150"/>
          <p14:tracePt t="3997" x="10253663" y="4371975"/>
          <p14:tracePt t="3998" x="10258425" y="4367213"/>
          <p14:tracePt t="3999" x="10261600" y="4367213"/>
          <p14:tracePt t="4000" x="10266363" y="4364038"/>
          <p14:tracePt t="4001" x="10269538" y="4359275"/>
          <p14:tracePt t="4002" x="10274300" y="4356100"/>
          <p14:tracePt t="4003" x="10277475" y="4351338"/>
          <p14:tracePt t="4004" x="10282238" y="4348163"/>
          <p14:tracePt t="4005" x="10285413" y="4348163"/>
          <p14:tracePt t="4006" x="10285413" y="4343400"/>
          <p14:tracePt t="4007" x="10285413" y="4340225"/>
          <p14:tracePt t="4008" x="10290175" y="4340225"/>
          <p14:tracePt t="4009" x="10293350" y="4335463"/>
          <p14:tracePt t="4010" x="10298113" y="4332288"/>
          <p14:tracePt t="4012" x="10302875" y="4327525"/>
          <p14:tracePt t="4013" x="10306050" y="4324350"/>
          <p14:tracePt t="4015" x="10310813" y="4324350"/>
          <p14:tracePt t="4016" x="10313988" y="4324350"/>
          <p14:tracePt t="4018" x="10318750" y="4319588"/>
          <p14:tracePt t="4020" x="10318750" y="4316413"/>
          <p14:tracePt t="4021" x="10321925" y="4316413"/>
          <p14:tracePt t="4022" x="10321925" y="4311650"/>
          <p14:tracePt t="4023" x="10326688" y="4311650"/>
          <p14:tracePt t="4026" x="10326688" y="4308475"/>
          <p14:tracePt t="4028" x="10329863" y="4308475"/>
          <p14:tracePt t="4031" x="10334625" y="4308475"/>
          <p14:tracePt t="4033" x="10334625" y="4303713"/>
          <p14:tracePt t="4035" x="10337800" y="4303713"/>
          <p14:tracePt t="4038" x="10342563" y="4303713"/>
          <p14:tracePt t="4041" x="10345738" y="4303713"/>
          <p14:tracePt t="4120" x="10350500" y="4303713"/>
          <p14:tracePt t="4148" x="10353675" y="4303713"/>
          <p14:tracePt t="4151" x="10358438" y="4300538"/>
          <p14:tracePt t="4153" x="10361613" y="4300538"/>
          <p14:tracePt t="4156" x="10366375" y="4300538"/>
          <p14:tracePt t="4159" x="10369550" y="4300538"/>
          <p14:tracePt t="4160" x="10369550" y="4295775"/>
          <p14:tracePt t="4161" x="10374313" y="4295775"/>
          <p14:tracePt t="4163" x="10377488" y="4295775"/>
          <p14:tracePt t="4165" x="10382250" y="4295775"/>
          <p14:tracePt t="4166" x="10387013" y="4291013"/>
          <p14:tracePt t="4167" x="10390188" y="4291013"/>
          <p14:tracePt t="4169" x="10390188" y="4287838"/>
          <p14:tracePt t="4170" x="10394950" y="4287838"/>
          <p14:tracePt t="4171" x="10398125" y="4283075"/>
          <p14:tracePt t="4173" x="10402888" y="4283075"/>
          <p14:tracePt t="4174" x="10406063" y="4283075"/>
          <p14:tracePt t="4178" x="10410825" y="4279900"/>
          <p14:tracePt t="4180" x="10414000" y="4275138"/>
          <p14:tracePt t="4181" x="10418763" y="4275138"/>
          <p14:tracePt t="4182" x="10418763" y="4271963"/>
          <p14:tracePt t="4183" x="10421938" y="4271963"/>
          <p14:tracePt t="4184" x="10426700" y="4267200"/>
          <p14:tracePt t="4185" x="10426700" y="4264025"/>
          <p14:tracePt t="4186" x="10429875" y="4264025"/>
          <p14:tracePt t="4187" x="10429875" y="4259263"/>
          <p14:tracePt t="4188" x="10434638" y="4259263"/>
          <p14:tracePt t="4189" x="10437813" y="4256088"/>
          <p14:tracePt t="4190" x="10442575" y="4251325"/>
          <p14:tracePt t="4192" x="10445750" y="4243388"/>
          <p14:tracePt t="4195" x="10450513" y="4240213"/>
          <p14:tracePt t="4196" x="10453688" y="4235450"/>
          <p14:tracePt t="4197" x="10458450" y="4232275"/>
          <p14:tracePt t="4198" x="10461625" y="4227513"/>
          <p14:tracePt t="4199" x="10461625" y="4224338"/>
          <p14:tracePt t="4200" x="10466388" y="4216400"/>
          <p14:tracePt t="4201" x="10469563" y="4211638"/>
          <p14:tracePt t="4202" x="10469563" y="4208463"/>
          <p14:tracePt t="4203" x="10474325" y="4203700"/>
          <p14:tracePt t="4204" x="10479088" y="4195763"/>
          <p14:tracePt t="4205" x="10482263" y="4191000"/>
          <p14:tracePt t="4206" x="10487025" y="4183063"/>
          <p14:tracePt t="4207" x="10490200" y="4179888"/>
          <p14:tracePt t="4208" x="10494963" y="4171950"/>
          <p14:tracePt t="4210" x="10502900" y="4159250"/>
          <p14:tracePt t="4211" x="10502900" y="4151313"/>
          <p14:tracePt t="4212" x="10506075" y="4143375"/>
          <p14:tracePt t="4213" x="10510838" y="4140200"/>
          <p14:tracePt t="4214" x="10514013" y="4127500"/>
          <p14:tracePt t="4215" x="10518775" y="4124325"/>
          <p14:tracePt t="4216" x="10521950" y="4116388"/>
          <p14:tracePt t="4217" x="10521950" y="4106863"/>
          <p14:tracePt t="4218" x="10526713" y="4098925"/>
          <p14:tracePt t="4219" x="10529888" y="4090988"/>
          <p14:tracePt t="4220" x="10534650" y="4083050"/>
          <p14:tracePt t="4221" x="10534650" y="4075113"/>
          <p14:tracePt t="4222" x="10537825" y="4064000"/>
          <p14:tracePt t="4223" x="10537825" y="4056063"/>
          <p14:tracePt t="4224" x="10542588" y="4043363"/>
          <p14:tracePt t="4225" x="10542588" y="4035425"/>
          <p14:tracePt t="4226" x="10545763" y="4027488"/>
          <p14:tracePt t="4227" x="10545763" y="4019550"/>
          <p14:tracePt t="4228" x="10550525" y="4006850"/>
          <p14:tracePt t="4229" x="10550525" y="3995738"/>
          <p14:tracePt t="4230" x="10558463" y="3983038"/>
          <p14:tracePt t="4231" x="10558463" y="3971925"/>
          <p14:tracePt t="4232" x="10561638" y="3959225"/>
          <p14:tracePt t="4233" x="10561638" y="3951288"/>
          <p14:tracePt t="4234" x="10561638" y="3935413"/>
          <p14:tracePt t="4235" x="10561638" y="3922713"/>
          <p14:tracePt t="4236" x="10566400" y="3911600"/>
          <p14:tracePt t="4237" x="10566400" y="3898900"/>
          <p14:tracePt t="4238" x="10566400" y="3887788"/>
          <p14:tracePt t="4239" x="10566400" y="3867150"/>
          <p14:tracePt t="4240" x="10566400" y="3856038"/>
          <p14:tracePt t="4242" x="10566400" y="3827463"/>
          <p14:tracePt t="4243" x="10566400" y="3814763"/>
          <p14:tracePt t="4244" x="10566400" y="3798888"/>
          <p14:tracePt t="4245" x="10566400" y="3787775"/>
          <p14:tracePt t="4246" x="10566400" y="3771900"/>
          <p14:tracePt t="4247" x="10566400" y="3759200"/>
          <p14:tracePt t="4248" x="10561638" y="3738563"/>
          <p14:tracePt t="4249" x="10553700" y="3722688"/>
          <p14:tracePt t="4250" x="10550525" y="3711575"/>
          <p14:tracePt t="4251" x="10550525" y="3703638"/>
          <p14:tracePt t="4252" x="10545763" y="3687763"/>
          <p14:tracePt t="4253" x="10542588" y="3675063"/>
          <p14:tracePt t="4254" x="10529888" y="3654425"/>
          <p14:tracePt t="4255" x="10526713" y="3638550"/>
          <p14:tracePt t="4256" x="10521950" y="3627438"/>
          <p14:tracePt t="4257" x="10518775" y="3611563"/>
          <p14:tracePt t="4258" x="10506075" y="3590925"/>
          <p14:tracePt t="4259" x="10502900" y="3579813"/>
          <p14:tracePt t="4260" x="10498138" y="3562350"/>
          <p14:tracePt t="4261" x="10490200" y="3546475"/>
          <p14:tracePt t="4262" x="10482263" y="3535363"/>
          <p14:tracePt t="4263" x="10474325" y="3514725"/>
          <p14:tracePt t="4264" x="10461625" y="3498850"/>
          <p14:tracePt t="4265" x="10453688" y="3487738"/>
          <p14:tracePt t="4266" x="10445750" y="3470275"/>
          <p14:tracePt t="4267" x="10434638" y="3454400"/>
          <p14:tracePt t="4268" x="10426700" y="3435350"/>
          <p14:tracePt t="4269" x="10410825" y="3422650"/>
          <p14:tracePt t="4270" x="10402888" y="3406775"/>
          <p14:tracePt t="4271" x="10390188" y="3395663"/>
          <p14:tracePt t="4272" x="10377488" y="3378200"/>
          <p14:tracePt t="4273" x="10358438" y="3354388"/>
          <p14:tracePt t="4274" x="10350500" y="3343275"/>
          <p14:tracePt t="4275" x="10342563" y="3327400"/>
          <p14:tracePt t="4276" x="10326688" y="3311525"/>
          <p14:tracePt t="4277" x="10310813" y="3298825"/>
          <p14:tracePt t="4278" x="10293350" y="3275013"/>
          <p14:tracePt t="4279" x="10277475" y="3259138"/>
          <p14:tracePt t="4280" x="10266363" y="3251200"/>
          <p14:tracePt t="4281" x="10250488" y="3235325"/>
          <p14:tracePt t="4282" x="10242550" y="3222625"/>
          <p14:tracePt t="4283" x="10218738" y="3206750"/>
          <p14:tracePt t="4284" x="10206038" y="3190875"/>
          <p14:tracePt t="4285" x="10190163" y="3175000"/>
          <p14:tracePt t="4286" x="10174288" y="3167063"/>
          <p14:tracePt t="4287" x="10161588" y="3151188"/>
          <p14:tracePt t="4288" x="10145713" y="3138488"/>
          <p14:tracePt t="4289" x="10129838" y="3127375"/>
          <p14:tracePt t="4290" x="10118725" y="3114675"/>
          <p14:tracePt t="4291" x="10101263" y="3101975"/>
          <p14:tracePt t="4292" x="10082213" y="3086100"/>
          <p14:tracePt t="4293" x="10066338" y="3078163"/>
          <p14:tracePt t="4294" x="10058400" y="3070225"/>
          <p14:tracePt t="4295" x="10042525" y="3059113"/>
          <p14:tracePt t="4296" x="10029825" y="3051175"/>
          <p14:tracePt t="4297" x="10021888" y="3046413"/>
          <p14:tracePt t="4298" x="10001250" y="3035300"/>
          <p14:tracePt t="4299" x="9990138" y="3027363"/>
          <p14:tracePt t="4300" x="9977438" y="3022600"/>
          <p14:tracePt t="4301" x="9966325" y="3009900"/>
          <p14:tracePt t="4302" x="9953625" y="3006725"/>
          <p14:tracePt t="4303" x="9937750" y="3001963"/>
          <p14:tracePt t="4304" x="9929813" y="2998788"/>
          <p14:tracePt t="4305" x="9921875" y="2994025"/>
          <p14:tracePt t="4306" x="9913938" y="2990850"/>
          <p14:tracePt t="4307" x="9906000" y="2986088"/>
          <p14:tracePt t="4308" x="9890125" y="2982913"/>
          <p14:tracePt t="4309" x="9882188" y="2982913"/>
          <p14:tracePt t="4310" x="9874250" y="2974975"/>
          <p14:tracePt t="4312" x="9861550" y="2970213"/>
          <p14:tracePt t="4313" x="9853613" y="2970213"/>
          <p14:tracePt t="4314" x="9850438" y="2970213"/>
          <p14:tracePt t="4315" x="9845675" y="2970213"/>
          <p14:tracePt t="4316" x="9840913" y="2970213"/>
          <p14:tracePt t="4317" x="9832975" y="2970213"/>
          <p14:tracePt t="4318" x="9829800" y="2970213"/>
          <p14:tracePt t="4320" x="9825038" y="2970213"/>
          <p14:tracePt t="4322" x="9821863" y="2970213"/>
          <p14:tracePt t="4323" x="9817100" y="2970213"/>
          <p14:tracePt t="4325" x="9813925" y="2970213"/>
          <p14:tracePt t="4327" x="9809163" y="2970213"/>
          <p14:tracePt t="4329" x="9805988" y="2970213"/>
          <p14:tracePt t="4331" x="9801225" y="2970213"/>
          <p14:tracePt t="4334" x="9798050" y="2970213"/>
          <p14:tracePt t="4344" x="9793288" y="2970213"/>
          <p14:tracePt t="4357" x="9793288" y="2974975"/>
          <p14:tracePt t="4359" x="9793288" y="2978150"/>
          <p14:tracePt t="4361" x="9793288" y="2982913"/>
          <p14:tracePt t="4362" x="9793288" y="2986088"/>
          <p14:tracePt t="4364" x="9793288" y="2990850"/>
          <p14:tracePt t="4365" x="9793288" y="2994025"/>
          <p14:tracePt t="4366" x="9793288" y="2998788"/>
          <p14:tracePt t="4367" x="9798050" y="3001963"/>
          <p14:tracePt t="4368" x="9798050" y="3006725"/>
          <p14:tracePt t="4369" x="9801225" y="3006725"/>
          <p14:tracePt t="4370" x="9801225" y="3014663"/>
          <p14:tracePt t="4371" x="9805988" y="3019425"/>
          <p14:tracePt t="4372" x="9805988" y="3022600"/>
          <p14:tracePt t="4374" x="9813925" y="3035300"/>
          <p14:tracePt t="4375" x="9817100" y="3043238"/>
          <p14:tracePt t="4376" x="9821863" y="3051175"/>
          <p14:tracePt t="4377" x="9825038" y="3054350"/>
          <p14:tracePt t="4378" x="9829800" y="3062288"/>
          <p14:tracePt t="4379" x="9832975" y="3067050"/>
          <p14:tracePt t="4380" x="9837738" y="3074988"/>
          <p14:tracePt t="4381" x="9840913" y="3082925"/>
          <p14:tracePt t="4382" x="9850438" y="3086100"/>
          <p14:tracePt t="4383" x="9853613" y="3098800"/>
          <p14:tracePt t="4384" x="9858375" y="3098800"/>
          <p14:tracePt t="4385" x="9866313" y="3111500"/>
          <p14:tracePt t="4386" x="9869488" y="3119438"/>
          <p14:tracePt t="4387" x="9882188" y="3127375"/>
          <p14:tracePt t="4388" x="9882188" y="3130550"/>
          <p14:tracePt t="4389" x="9890125" y="3138488"/>
          <p14:tracePt t="4390" x="9901238" y="3146425"/>
          <p14:tracePt t="4392" x="9917113" y="3162300"/>
          <p14:tracePt t="4394" x="9937750" y="3178175"/>
          <p14:tracePt t="4396" x="9945688" y="3182938"/>
          <p14:tracePt t="4396" x="9953625" y="3194050"/>
          <p14:tracePt t="4397" x="9966325" y="3203575"/>
          <p14:tracePt t="4398" x="9974263" y="3211513"/>
          <p14:tracePt t="4399" x="9982200" y="3214688"/>
          <p14:tracePt t="4400" x="9998075" y="3230563"/>
          <p14:tracePt t="4401" x="10006013" y="3235325"/>
          <p14:tracePt t="4402" x="10013950" y="3243263"/>
          <p14:tracePt t="4403" x="10021888" y="3254375"/>
          <p14:tracePt t="4404" x="10034588" y="3262313"/>
          <p14:tracePt t="4405" x="10045700" y="3270250"/>
          <p14:tracePt t="4406" x="10058400" y="3278188"/>
          <p14:tracePt t="4407" x="10066338" y="3286125"/>
          <p14:tracePt t="4409" x="10074275" y="3295650"/>
          <p14:tracePt t="4409" x="10082213" y="3303588"/>
          <p14:tracePt t="4410" x="10098088" y="3314700"/>
          <p14:tracePt t="4412" x="10113963" y="3327400"/>
          <p14:tracePt t="4413" x="10129838" y="3335338"/>
          <p14:tracePt t="4414" x="10137775" y="3338513"/>
          <p14:tracePt t="4415" x="10145713" y="3351213"/>
          <p14:tracePt t="4416" x="10158413" y="3359150"/>
          <p14:tracePt t="4417" x="10166350" y="3362325"/>
          <p14:tracePt t="4418" x="10174288" y="3370263"/>
          <p14:tracePt t="4419" x="10182225" y="3375025"/>
          <p14:tracePt t="4420" x="10193338" y="3387725"/>
          <p14:tracePt t="4421" x="10198100" y="3395663"/>
          <p14:tracePt t="4422" x="10206038" y="3398838"/>
          <p14:tracePt t="4423" x="10210800" y="3403600"/>
          <p14:tracePt t="4424" x="10218738" y="3406775"/>
          <p14:tracePt t="4425" x="10221913" y="3414713"/>
          <p14:tracePt t="4426" x="10229850" y="3419475"/>
          <p14:tracePt t="4427" x="10234613" y="3422650"/>
          <p14:tracePt t="4429" x="10242550" y="3430588"/>
          <p14:tracePt t="4430" x="10245725" y="3438525"/>
          <p14:tracePt t="4431" x="10250488" y="3443288"/>
          <p14:tracePt t="4432" x="10253663" y="3446463"/>
          <p14:tracePt t="4433" x="10258425" y="3451225"/>
          <p14:tracePt t="4434" x="10258425" y="3454400"/>
          <p14:tracePt t="4436" x="10261600" y="3459163"/>
          <p14:tracePt t="4437" x="10261600" y="3462338"/>
          <p14:tracePt t="4438" x="10261600" y="3467100"/>
          <p14:tracePt t="4439" x="10266363" y="3470275"/>
          <p14:tracePt t="4440" x="10269538" y="3479800"/>
          <p14:tracePt t="4442" x="10269538" y="3487738"/>
          <p14:tracePt t="4443" x="10269538" y="3490913"/>
          <p14:tracePt t="4445" x="10269538" y="3503613"/>
          <p14:tracePt t="4446" x="10274300" y="3511550"/>
          <p14:tracePt t="4447" x="10274300" y="3514725"/>
          <p14:tracePt t="4448" x="10274300" y="3519488"/>
          <p14:tracePt t="4449" x="10274300" y="3522663"/>
          <p14:tracePt t="4450" x="10274300" y="3530600"/>
          <p14:tracePt t="4451" x="10277475" y="3543300"/>
          <p14:tracePt t="4452" x="10277475" y="3551238"/>
          <p14:tracePt t="4454" x="10277475" y="3567113"/>
          <p14:tracePt t="4455" x="10277475" y="3575050"/>
          <p14:tracePt t="4456" x="10277475" y="3582988"/>
          <p14:tracePt t="4457" x="10277475" y="3590925"/>
          <p14:tracePt t="4458" x="10277475" y="3598863"/>
          <p14:tracePt t="4459" x="10277475" y="3611563"/>
          <p14:tracePt t="4461" x="10277475" y="3635375"/>
          <p14:tracePt t="4462" x="10277475" y="3646488"/>
          <p14:tracePt t="4463" x="10277475" y="3654425"/>
          <p14:tracePt t="4464" x="10277475" y="3675063"/>
          <p14:tracePt t="4465" x="10274300" y="3690938"/>
          <p14:tracePt t="4466" x="10274300" y="3698875"/>
          <p14:tracePt t="4467" x="10269538" y="3711575"/>
          <p14:tracePt t="4468" x="10266363" y="3727450"/>
          <p14:tracePt t="4469" x="10266363" y="3743325"/>
          <p14:tracePt t="4470" x="10261600" y="3759200"/>
          <p14:tracePt t="4471" x="10253663" y="3771900"/>
          <p14:tracePt t="4472" x="10253663" y="3790950"/>
          <p14:tracePt t="4473" x="10250488" y="3806825"/>
          <p14:tracePt t="4474" x="10245725" y="3827463"/>
          <p14:tracePt t="4475" x="10242550" y="3848100"/>
          <p14:tracePt t="4476" x="10242550" y="3859213"/>
          <p14:tracePt t="4477" x="10237788" y="3879850"/>
          <p14:tracePt t="4478" x="10226675" y="3906838"/>
          <p14:tracePt t="4479" x="10218738" y="3922713"/>
          <p14:tracePt t="4480" x="10218738" y="3940175"/>
          <p14:tracePt t="4481" x="10210800" y="3963988"/>
          <p14:tracePt t="4482" x="10206038" y="3975100"/>
          <p14:tracePt t="4483" x="10201275" y="3995738"/>
          <p14:tracePt t="4484" x="10185400" y="4032250"/>
          <p14:tracePt t="4485" x="10182225" y="4051300"/>
          <p14:tracePt t="4486" x="10177463" y="4071938"/>
          <p14:tracePt t="4487" x="10174288" y="4090988"/>
          <p14:tracePt t="4488" x="10161588" y="4127500"/>
          <p14:tracePt t="4489" x="10153650" y="4148138"/>
          <p14:tracePt t="4490" x="10145713" y="4167188"/>
          <p14:tracePt t="4492" x="10129838" y="4219575"/>
          <p14:tracePt t="4493" x="10118725" y="4248150"/>
          <p14:tracePt t="4495" x="10106025" y="4275138"/>
          <p14:tracePt t="4495" x="10093325" y="4295775"/>
          <p14:tracePt t="4496" x="10090150" y="4324350"/>
          <p14:tracePt t="4497" x="10077450" y="4348163"/>
          <p14:tracePt t="4498" x="10061575" y="4383088"/>
          <p14:tracePt t="4499" x="10053638" y="4403725"/>
          <p14:tracePt t="4500" x="10045700" y="4424363"/>
          <p14:tracePt t="4501" x="10034588" y="4456113"/>
          <p14:tracePt t="4502" x="10021888" y="4475163"/>
          <p14:tracePt t="4503" x="10001250" y="4511675"/>
          <p14:tracePt t="4504" x="9993313" y="4535488"/>
          <p14:tracePt t="4505" x="9982200" y="4556125"/>
          <p14:tracePt t="4506" x="9974263" y="4576763"/>
          <p14:tracePt t="4507" x="9961563" y="4603750"/>
          <p14:tracePt t="4508" x="9950450" y="4635500"/>
          <p14:tracePt t="4509" x="9937750" y="4656138"/>
          <p14:tracePt t="4510" x="9925050" y="4676775"/>
          <p14:tracePt t="4511" x="9917113" y="4695825"/>
          <p14:tracePt t="4513" x="9885363" y="4756150"/>
          <p14:tracePt t="4514" x="9877425" y="4776788"/>
          <p14:tracePt t="4515" x="9866313" y="4800600"/>
          <p14:tracePt t="4516" x="9858375" y="4811713"/>
          <p14:tracePt t="4517" x="9845675" y="4832350"/>
          <p14:tracePt t="4518" x="9832975" y="4864100"/>
          <p14:tracePt t="4519" x="9825038" y="4884738"/>
          <p14:tracePt t="4520" x="9813925" y="4903788"/>
          <p14:tracePt t="4521" x="9805988" y="4919663"/>
          <p14:tracePt t="4522" x="9793288" y="4940300"/>
          <p14:tracePt t="4523" x="9777413" y="4968875"/>
          <p14:tracePt t="4524" x="9766300" y="4984750"/>
          <p14:tracePt t="4525" x="9758363" y="5003800"/>
          <p14:tracePt t="4526" x="9745663" y="5019675"/>
          <p14:tracePt t="4527" x="9740900" y="5032375"/>
          <p14:tracePt t="4528" x="9725025" y="5060950"/>
          <p14:tracePt t="4529" x="9717088" y="5076825"/>
          <p14:tracePt t="4530" x="9705975" y="5087938"/>
          <p14:tracePt t="4531" x="9701213" y="5103813"/>
          <p14:tracePt t="4532" x="9685338" y="5124450"/>
          <p14:tracePt t="4533" x="9682163" y="5137150"/>
          <p14:tracePt t="4534" x="9674225" y="5153025"/>
          <p14:tracePt t="4535" x="9661525" y="5160963"/>
          <p14:tracePt t="4536" x="9653588" y="5176838"/>
          <p14:tracePt t="4537" x="9648825" y="5187950"/>
          <p14:tracePt t="4538" x="9632950" y="5203825"/>
          <p14:tracePt t="4539" x="9629775" y="5213350"/>
          <p14:tracePt t="4540" x="9621838" y="5224463"/>
          <p14:tracePt t="4542" x="9605963" y="5245100"/>
          <p14:tracePt t="4543" x="9601200" y="5256213"/>
          <p14:tracePt t="4545" x="9590088" y="5272088"/>
          <p14:tracePt t="4546" x="9585325" y="5276850"/>
          <p14:tracePt t="4547" x="9582150" y="5284788"/>
          <p14:tracePt t="4548" x="9577388" y="5292725"/>
          <p14:tracePt t="4549" x="9574213" y="5295900"/>
          <p14:tracePt t="4550" x="9574213" y="5300663"/>
          <p14:tracePt t="4551" x="9569450" y="5305425"/>
          <p14:tracePt t="4552" x="9564688" y="5313363"/>
          <p14:tracePt t="4553" x="9564688" y="5316538"/>
          <p14:tracePt t="4554" x="9561513" y="5316538"/>
          <p14:tracePt t="4555" x="9561513" y="5321300"/>
          <p14:tracePt t="4557" x="9561513" y="5324475"/>
          <p14:tracePt t="4558" x="9556750" y="5324475"/>
          <p14:tracePt t="4562" x="9556750" y="5329238"/>
          <p14:tracePt t="4574" x="9561513" y="5329238"/>
          <p14:tracePt t="4576" x="9564688" y="5329238"/>
          <p14:tracePt t="4577" x="9569450" y="5329238"/>
          <p14:tracePt t="4579" x="9574213" y="5329238"/>
          <p14:tracePt t="4580" x="9574213" y="5324475"/>
          <p14:tracePt t="4581" x="9577388" y="5324475"/>
          <p14:tracePt t="4582" x="9582150" y="5321300"/>
          <p14:tracePt t="4583" x="9585325" y="5321300"/>
          <p14:tracePt t="4584" x="9590088" y="5316538"/>
          <p14:tracePt t="4585" x="9593263" y="5316538"/>
          <p14:tracePt t="4586" x="9601200" y="5313363"/>
          <p14:tracePt t="4587" x="9605963" y="5308600"/>
          <p14:tracePt t="4588" x="9609138" y="5308600"/>
          <p14:tracePt t="4589" x="9617075" y="5305425"/>
          <p14:tracePt t="4590" x="9621838" y="5300663"/>
          <p14:tracePt t="4591" x="9629775" y="5295900"/>
          <p14:tracePt t="4592" x="9632950" y="5292725"/>
          <p14:tracePt t="4594" x="9640888" y="5287963"/>
          <p14:tracePt t="4594" x="9648825" y="5284788"/>
          <p14:tracePt t="4595" x="9656763" y="5284788"/>
          <p14:tracePt t="4596" x="9666288" y="5276850"/>
          <p14:tracePt t="4597" x="9674225" y="5272088"/>
          <p14:tracePt t="4598" x="9677400" y="5268913"/>
          <p14:tracePt t="4599" x="9685338" y="5264150"/>
          <p14:tracePt t="4600" x="9698038" y="5253038"/>
          <p14:tracePt t="4601" x="9709150" y="5248275"/>
          <p14:tracePt t="4602" x="9717088" y="5240338"/>
          <p14:tracePt t="4603" x="9721850" y="5237163"/>
          <p14:tracePt t="4604" x="9732963" y="5232400"/>
          <p14:tracePt t="4605" x="9745663" y="5224463"/>
          <p14:tracePt t="4606" x="9758363" y="5221288"/>
          <p14:tracePt t="4607" x="9766300" y="5208588"/>
          <p14:tracePt t="4609" x="9777413" y="5200650"/>
          <p14:tracePt t="4609" x="9785350" y="5195888"/>
          <p14:tracePt t="4610" x="9793288" y="5187950"/>
          <p14:tracePt t="4611" x="9809163" y="5172075"/>
          <p14:tracePt t="4612" x="9821863" y="5168900"/>
          <p14:tracePt t="4613" x="9832975" y="5160963"/>
          <p14:tracePt t="4614" x="9840913" y="5148263"/>
          <p14:tracePt t="4615" x="9850438" y="5140325"/>
          <p14:tracePt t="4616" x="9866313" y="5124450"/>
          <p14:tracePt t="4617" x="9882188" y="5116513"/>
          <p14:tracePt t="4618" x="9890125" y="5108575"/>
          <p14:tracePt t="4619" x="9901238" y="5095875"/>
          <p14:tracePt t="4620" x="9917113" y="5084763"/>
          <p14:tracePt t="4621" x="9925050" y="5068888"/>
          <p14:tracePt t="4622" x="9942513" y="5060950"/>
          <p14:tracePt t="4623" x="9950450" y="5048250"/>
          <p14:tracePt t="4624" x="9961563" y="5037138"/>
          <p14:tracePt t="4625" x="9974263" y="5019675"/>
          <p14:tracePt t="4626" x="9990138" y="5003800"/>
          <p14:tracePt t="4627" x="10001250" y="4992688"/>
          <p14:tracePt t="4629" x="10017125" y="4968875"/>
          <p14:tracePt t="4630" x="10034588" y="4948238"/>
          <p14:tracePt t="4631" x="10045700" y="4932363"/>
          <p14:tracePt t="4632" x="10050463" y="4919663"/>
          <p14:tracePt t="4633" x="10058400" y="4903788"/>
          <p14:tracePt t="4634" x="10066338" y="4887913"/>
          <p14:tracePt t="4635" x="10082213" y="4868863"/>
          <p14:tracePt t="4636" x="10093325" y="4852988"/>
          <p14:tracePt t="4637" x="10101263" y="4832350"/>
          <p14:tracePt t="4638" x="10113963" y="4819650"/>
          <p14:tracePt t="4639" x="10121900" y="4803775"/>
          <p14:tracePt t="4640" x="10134600" y="4776788"/>
          <p14:tracePt t="4641" x="10142538" y="4764088"/>
          <p14:tracePt t="4642" x="10153650" y="4748213"/>
          <p14:tracePt t="4643" x="10158413" y="4727575"/>
          <p14:tracePt t="4644" x="10169525" y="4708525"/>
          <p14:tracePt t="4646" x="10190163" y="4668838"/>
          <p14:tracePt t="4647" x="10193338" y="4651375"/>
          <p14:tracePt t="4648" x="10206038" y="4632325"/>
          <p14:tracePt t="4649" x="10210800" y="4616450"/>
          <p14:tracePt t="4650" x="10218738" y="4592638"/>
          <p14:tracePt t="4651" x="10229850" y="4567238"/>
          <p14:tracePt t="4652" x="10234613" y="4548188"/>
          <p14:tracePt t="4653" x="10245725" y="4527550"/>
          <p14:tracePt t="4654" x="10250488" y="4508500"/>
          <p14:tracePt t="4655" x="10261600" y="4487863"/>
          <p14:tracePt t="4656" x="10266363" y="4467225"/>
          <p14:tracePt t="4657" x="10269538" y="4448175"/>
          <p14:tracePt t="4659" x="10274300" y="4427538"/>
          <p14:tracePt t="4659" x="10282238" y="4400550"/>
          <p14:tracePt t="4660" x="10285413" y="4379913"/>
          <p14:tracePt t="4661" x="10290175" y="4359275"/>
          <p14:tracePt t="4662" x="10298113" y="4348163"/>
          <p14:tracePt t="4663" x="10302875" y="4327525"/>
          <p14:tracePt t="4664" x="10306050" y="4300538"/>
          <p14:tracePt t="4665" x="10310813" y="4279900"/>
          <p14:tracePt t="4666" x="10310813" y="4259263"/>
          <p14:tracePt t="4667" x="10318750" y="4240213"/>
          <p14:tracePt t="4668" x="10321925" y="4219575"/>
          <p14:tracePt t="4669" x="10321925" y="4208463"/>
          <p14:tracePt t="4670" x="10321925" y="4183063"/>
          <p14:tracePt t="4671" x="10326688" y="4164013"/>
          <p14:tracePt t="4672" x="10326688" y="4148138"/>
          <p14:tracePt t="4673" x="10326688" y="4127500"/>
          <p14:tracePt t="4674" x="10326688" y="4103688"/>
          <p14:tracePt t="4676" x="10326688" y="4083050"/>
          <p14:tracePt t="4676" x="10326688" y="4071938"/>
          <p14:tracePt t="4677" x="10326688" y="4051300"/>
          <p14:tracePt t="4679" x="10326688" y="4019550"/>
          <p14:tracePt t="4680" x="10326688" y="3990975"/>
          <p14:tracePt t="4681" x="10326688" y="3975100"/>
          <p14:tracePt t="4682" x="10326688" y="3956050"/>
          <p14:tracePt t="4683" x="10321925" y="3940175"/>
          <p14:tracePt t="4684" x="10313988" y="3914775"/>
          <p14:tracePt t="4685" x="10313988" y="3895725"/>
          <p14:tracePt t="4686" x="10310813" y="3879850"/>
          <p14:tracePt t="4687" x="10306050" y="3859213"/>
          <p14:tracePt t="4688" x="10302875" y="3838575"/>
          <p14:tracePt t="4689" x="10290175" y="3819525"/>
          <p14:tracePt t="4690" x="10285413" y="3798888"/>
          <p14:tracePt t="4691" x="10282238" y="3787775"/>
          <p14:tracePt t="4692" x="10269538" y="3767138"/>
          <p14:tracePt t="4693" x="10266363" y="3751263"/>
          <p14:tracePt t="4695" x="10250488" y="3730625"/>
          <p14:tracePt t="4695" x="10245725" y="3714750"/>
          <p14:tracePt t="4696" x="10234613" y="3703638"/>
          <p14:tracePt t="4697" x="10226675" y="3687763"/>
          <p14:tracePt t="4698" x="10218738" y="3675063"/>
          <p14:tracePt t="4699" x="10206038" y="3651250"/>
          <p14:tracePt t="4700" x="10198100" y="3638550"/>
          <p14:tracePt t="4701" x="10185400" y="3622675"/>
          <p14:tracePt t="4702" x="10177463" y="3614738"/>
          <p14:tracePt t="4703" x="10169525" y="3598863"/>
          <p14:tracePt t="4704" x="10153650" y="3587750"/>
          <p14:tracePt t="4705" x="10145713" y="3575050"/>
          <p14:tracePt t="4706" x="10134600" y="3567113"/>
          <p14:tracePt t="4707" x="10126663" y="3554413"/>
          <p14:tracePt t="4708" x="10109200" y="3543300"/>
          <p14:tracePt t="4709" x="10101263" y="3535363"/>
          <p14:tracePt t="4711" x="10085388" y="3514725"/>
          <p14:tracePt t="4712" x="10074275" y="3506788"/>
          <p14:tracePt t="4713" x="10066338" y="3503613"/>
          <p14:tracePt t="4714" x="10058400" y="3487738"/>
          <p14:tracePt t="4715" x="10050463" y="3482975"/>
          <p14:tracePt t="4716" x="10037763" y="3479800"/>
          <p14:tracePt t="4717" x="10029825" y="3470275"/>
          <p14:tracePt t="4718" x="10013950" y="3462338"/>
          <p14:tracePt t="4719" x="10006013" y="3454400"/>
          <p14:tracePt t="4720" x="10001250" y="3454400"/>
          <p14:tracePt t="4721" x="9993313" y="3451225"/>
          <p14:tracePt t="4722" x="9985375" y="3443288"/>
          <p14:tracePt t="4723" x="9977438" y="3438525"/>
          <p14:tracePt t="4724" x="9969500" y="3430588"/>
          <p14:tracePt t="4725" x="9961563" y="3427413"/>
          <p14:tracePt t="4726" x="9958388" y="3422650"/>
          <p14:tracePt t="4727" x="9950450" y="3422650"/>
          <p14:tracePt t="4728" x="9942513" y="3419475"/>
          <p14:tracePt t="4729" x="9929813" y="3414713"/>
          <p14:tracePt t="4730" x="9925050" y="3411538"/>
          <p14:tracePt t="4731" x="9917113" y="3406775"/>
          <p14:tracePt t="4733" x="9906000" y="3403600"/>
          <p14:tracePt t="4735" x="9898063" y="3403600"/>
          <p14:tracePt t="4736" x="9893300" y="3398838"/>
          <p14:tracePt t="4737" x="9885363" y="3398838"/>
          <p14:tracePt t="4738" x="9882188" y="3398838"/>
          <p14:tracePt t="4739" x="9877425" y="3398838"/>
          <p14:tracePt t="4740" x="9874250" y="3398838"/>
          <p14:tracePt t="4741" x="9869488" y="3398838"/>
          <p14:tracePt t="4742" x="9866313" y="3398838"/>
          <p14:tracePt t="4743" x="9861550" y="3398838"/>
          <p14:tracePt t="4745" x="9858375" y="3398838"/>
          <p14:tracePt t="4746" x="9853613" y="3398838"/>
          <p14:tracePt t="4747" x="9850438" y="3398838"/>
          <p14:tracePt t="4748" x="9845675" y="3398838"/>
          <p14:tracePt t="4750" x="9840913" y="3398838"/>
          <p14:tracePt t="4751" x="9837738" y="3398838"/>
          <p14:tracePt t="4752" x="9832975" y="3398838"/>
          <p14:tracePt t="4754" x="9829800" y="3398838"/>
          <p14:tracePt t="4755" x="9825038" y="3398838"/>
          <p14:tracePt t="4757" x="9821863" y="3398838"/>
          <p14:tracePt t="4758" x="9817100" y="3403600"/>
          <p14:tracePt t="4760" x="9817100" y="3406775"/>
          <p14:tracePt t="4761" x="9813925" y="3411538"/>
          <p14:tracePt t="4762" x="9813925" y="3414713"/>
          <p14:tracePt t="4763" x="9809163" y="3419475"/>
          <p14:tracePt t="4764" x="9805988" y="3419475"/>
          <p14:tracePt t="4766" x="9801225" y="3422650"/>
          <p14:tracePt t="4767" x="9798050" y="3427413"/>
          <p14:tracePt t="4768" x="9798050" y="3435350"/>
          <p14:tracePt t="4769" x="9793288" y="3438525"/>
          <p14:tracePt t="4770" x="9790113" y="3446463"/>
          <p14:tracePt t="4771" x="9790113" y="3451225"/>
          <p14:tracePt t="4772" x="9785350" y="3459163"/>
          <p14:tracePt t="4773" x="9782175" y="3467100"/>
          <p14:tracePt t="4774" x="9777413" y="3475038"/>
          <p14:tracePt t="4775" x="9777413" y="3482975"/>
          <p14:tracePt t="4777" x="9769475" y="3506788"/>
          <p14:tracePt t="4778" x="9769475" y="3514725"/>
          <p14:tracePt t="4779" x="9761538" y="3530600"/>
          <p14:tracePt t="4780" x="9761538" y="3538538"/>
          <p14:tracePt t="4781" x="9761538" y="3551238"/>
          <p14:tracePt t="4782" x="9761538" y="3571875"/>
          <p14:tracePt t="4783" x="9758363" y="3582988"/>
          <p14:tracePt t="4784" x="9758363" y="3603625"/>
          <p14:tracePt t="4785" x="9758363" y="3619500"/>
          <p14:tracePt t="4786" x="9758363" y="3630613"/>
          <p14:tracePt t="4787" x="9758363" y="3654425"/>
          <p14:tracePt t="4788" x="9758363" y="3675063"/>
          <p14:tracePt t="4789" x="9758363" y="3695700"/>
          <p14:tracePt t="4790" x="9758363" y="3714750"/>
          <p14:tracePt t="4792" x="9758363" y="3759200"/>
          <p14:tracePt t="4794" x="9758363" y="3806825"/>
          <p14:tracePt t="4795" x="9758363" y="3830638"/>
          <p14:tracePt t="4796" x="9766300" y="3851275"/>
          <p14:tracePt t="4797" x="9769475" y="3895725"/>
          <p14:tracePt t="4798" x="9769475" y="3922713"/>
          <p14:tracePt t="4799" x="9777413" y="3951288"/>
          <p14:tracePt t="4800" x="9782175" y="3979863"/>
          <p14:tracePt t="4801" x="9790113" y="4014788"/>
          <p14:tracePt t="4802" x="9793288" y="4043363"/>
          <p14:tracePt t="4803" x="9793288" y="4067175"/>
          <p14:tracePt t="4804" x="9798050" y="4103688"/>
          <p14:tracePt t="4805" x="9805988" y="4132263"/>
          <p14:tracePt t="4806" x="9817100" y="4175125"/>
          <p14:tracePt t="4807" x="9821863" y="4203700"/>
          <p14:tracePt t="4808" x="9829800" y="4240213"/>
          <p14:tracePt t="4809" x="9832975" y="4267200"/>
          <p14:tracePt t="4811" x="9840913" y="4303713"/>
          <p14:tracePt t="4812" x="9858375" y="4375150"/>
          <p14:tracePt t="4813" x="9866313" y="4411663"/>
          <p14:tracePt t="4814" x="9869488" y="4440238"/>
          <p14:tracePt t="4815" x="9877425" y="4475163"/>
          <p14:tracePt t="4816" x="9890125" y="4519613"/>
          <p14:tracePt t="4817" x="9893300" y="4548188"/>
          <p14:tracePt t="4818" x="9906000" y="4587875"/>
          <p14:tracePt t="4819" x="9913938" y="4616450"/>
          <p14:tracePt t="4820" x="9917113" y="4640263"/>
          <p14:tracePt t="4821" x="9925050" y="4676775"/>
          <p14:tracePt t="4822" x="9937750" y="4724400"/>
          <p14:tracePt t="4823" x="9942513" y="4751388"/>
          <p14:tracePt t="4824" x="9953625" y="4787900"/>
          <p14:tracePt t="4825" x="9961563" y="4816475"/>
          <p14:tracePt t="4826" x="9966325" y="4860925"/>
          <p14:tracePt t="4828" x="9985375" y="4916488"/>
          <p14:tracePt t="4829" x="9990138" y="4945063"/>
          <p14:tracePt t="4831" x="9993313" y="4972050"/>
          <p14:tracePt t="4831" x="10009188" y="5016500"/>
          <p14:tracePt t="4832" x="10013950" y="5045075"/>
          <p14:tracePt t="4833" x="10017125" y="5072063"/>
          <p14:tracePt t="4834" x="10026650" y="5100638"/>
          <p14:tracePt t="4835" x="10029825" y="5129213"/>
          <p14:tracePt t="4836" x="10037763" y="5164138"/>
          <p14:tracePt t="4837" x="10042525" y="5184775"/>
          <p14:tracePt t="4838" x="10045700" y="5213350"/>
          <p14:tracePt t="4839" x="10053638" y="5232400"/>
          <p14:tracePt t="4840" x="10058400" y="5260975"/>
          <p14:tracePt t="4841" x="10069513" y="5295900"/>
          <p14:tracePt t="4842" x="10074275" y="5316538"/>
          <p14:tracePt t="4843" x="10082213" y="5337175"/>
          <p14:tracePt t="4844" x="10085388" y="5364163"/>
          <p14:tracePt t="4845" x="10090150" y="5376863"/>
          <p14:tracePt t="4847" x="10093325" y="5424488"/>
          <p14:tracePt t="4848" x="10101263" y="5445125"/>
          <p14:tracePt t="4849" x="10106025" y="5456238"/>
          <p14:tracePt t="4850" x="10109200" y="5476875"/>
          <p14:tracePt t="4851" x="10109200" y="5492750"/>
          <p14:tracePt t="4852" x="10113963" y="5505450"/>
          <p14:tracePt t="4853" x="10113963" y="5521325"/>
          <p14:tracePt t="4854" x="10113963" y="5532438"/>
          <p14:tracePt t="4855" x="10118725" y="5540375"/>
          <p14:tracePt t="4856" x="10118725" y="5556250"/>
          <p14:tracePt t="4857" x="10118725" y="5568950"/>
          <p14:tracePt t="4859" x="10118725" y="5576888"/>
          <p14:tracePt t="4860" x="10121900" y="5584825"/>
          <p14:tracePt t="4860" x="10121900" y="5592763"/>
          <p14:tracePt t="4861" x="10121900" y="5597525"/>
          <p14:tracePt t="4862" x="10121900" y="5605463"/>
          <p14:tracePt t="4863" x="10121900" y="5608638"/>
          <p14:tracePt t="4864" x="10121900" y="5613400"/>
          <p14:tracePt t="4865" x="10121900" y="5621338"/>
          <p14:tracePt t="4866" x="10121900" y="5624513"/>
          <p14:tracePt t="4868" x="10121900" y="5629275"/>
          <p14:tracePt t="4869" x="10121900" y="5632450"/>
          <p14:tracePt t="4871" x="10121900" y="5637213"/>
          <p14:tracePt t="4878" x="10121900" y="5640388"/>
          <p14:tracePt t="4893" x="10118725" y="5640388"/>
          <p14:tracePt t="4894" x="10118725" y="5645150"/>
          <p14:tracePt t="4899" x="10113963" y="5645150"/>
          <p14:tracePt t="4906" x="10109200" y="5645150"/>
          <p14:tracePt t="4931" x="10109200" y="5648325"/>
          <p14:tracePt t="4972" x="10109200" y="5645150"/>
          <p14:tracePt t="4976" x="10109200" y="5640388"/>
          <p14:tracePt t="4982" x="10113963" y="5637213"/>
          <p14:tracePt t="4985" x="10118725" y="5629275"/>
          <p14:tracePt t="4986" x="10118725" y="5624513"/>
          <p14:tracePt t="4987" x="10121900" y="5621338"/>
          <p14:tracePt t="4988" x="10121900" y="5616575"/>
          <p14:tracePt t="4989" x="10121900" y="5613400"/>
          <p14:tracePt t="4990" x="10126663" y="5608638"/>
          <p14:tracePt t="4991" x="10126663" y="5605463"/>
          <p14:tracePt t="4992" x="10129838" y="5600700"/>
          <p14:tracePt t="4993" x="10129838" y="5597525"/>
          <p14:tracePt t="4994" x="10134600" y="5597525"/>
          <p14:tracePt t="4995" x="10137775" y="5592763"/>
          <p14:tracePt t="4996" x="10137775" y="5589588"/>
          <p14:tracePt t="4997" x="10142538" y="5584825"/>
          <p14:tracePt t="4998" x="10145713" y="5581650"/>
          <p14:tracePt t="4999" x="10150475" y="5576888"/>
          <p14:tracePt t="5000" x="10150475" y="5572125"/>
          <p14:tracePt t="5001" x="10153650" y="5564188"/>
          <p14:tracePt t="5002" x="10158413" y="5561013"/>
          <p14:tracePt t="5003" x="10158413" y="5556250"/>
          <p14:tracePt t="5004" x="10161588" y="5548313"/>
          <p14:tracePt t="5005" x="10166350" y="5545138"/>
          <p14:tracePt t="5006" x="10169525" y="5540375"/>
          <p14:tracePt t="5007" x="10174288" y="5532438"/>
          <p14:tracePt t="5009" x="10174288" y="5529263"/>
          <p14:tracePt t="5010" x="10177463" y="5524500"/>
          <p14:tracePt t="5011" x="10182225" y="5516563"/>
          <p14:tracePt t="5012" x="10185400" y="5508625"/>
          <p14:tracePt t="5013" x="10185400" y="5505450"/>
          <p14:tracePt t="5014" x="10190163" y="5497513"/>
          <p14:tracePt t="5016" x="10198100" y="5484813"/>
          <p14:tracePt t="5017" x="10201275" y="5476875"/>
          <p14:tracePt t="5018" x="10206038" y="5472113"/>
          <p14:tracePt t="5019" x="10210800" y="5464175"/>
          <p14:tracePt t="5020" x="10213975" y="5453063"/>
          <p14:tracePt t="5021" x="10221913" y="5445125"/>
          <p14:tracePt t="5022" x="10226675" y="5437188"/>
          <p14:tracePt t="5023" x="10229850" y="5429250"/>
          <p14:tracePt t="5024" x="10234613" y="5421313"/>
          <p14:tracePt t="5025" x="10237788" y="5413375"/>
          <p14:tracePt t="5026" x="10242550" y="5397500"/>
          <p14:tracePt t="5028" x="10250488" y="5380038"/>
          <p14:tracePt t="5029" x="10253663" y="5364163"/>
          <p14:tracePt t="5030" x="10261600" y="5356225"/>
          <p14:tracePt t="5031" x="10266363" y="5340350"/>
          <p14:tracePt t="5032" x="10269538" y="5332413"/>
          <p14:tracePt t="5033" x="10274300" y="5321300"/>
          <p14:tracePt t="5034" x="10277475" y="5313363"/>
          <p14:tracePt t="5035" x="10282238" y="5295900"/>
          <p14:tracePt t="5036" x="10293350" y="5280025"/>
          <p14:tracePt t="5037" x="10298113" y="5268913"/>
          <p14:tracePt t="5038" x="10302875" y="5260975"/>
          <p14:tracePt t="5039" x="10306050" y="5245100"/>
          <p14:tracePt t="5040" x="10310813" y="5237163"/>
          <p14:tracePt t="5041" x="10313988" y="5216525"/>
          <p14:tracePt t="5042" x="10321925" y="5203825"/>
          <p14:tracePt t="5043" x="10326688" y="5192713"/>
          <p14:tracePt t="5044" x="10329863" y="5180013"/>
          <p14:tracePt t="5045" x="10334625" y="5164138"/>
          <p14:tracePt t="5047" x="10337800" y="5145088"/>
          <p14:tracePt t="5047" x="10342563" y="5137150"/>
          <p14:tracePt t="5048" x="10345738" y="5124450"/>
          <p14:tracePt t="5049" x="10353675" y="5108575"/>
          <p14:tracePt t="5050" x="10353675" y="5095875"/>
          <p14:tracePt t="5051" x="10361613" y="5076825"/>
          <p14:tracePt t="5052" x="10366375" y="5060950"/>
          <p14:tracePt t="5053" x="10366375" y="5048250"/>
          <p14:tracePt t="5054" x="10374313" y="5032375"/>
          <p14:tracePt t="5055" x="10377488" y="5019675"/>
          <p14:tracePt t="5056" x="10382250" y="4992688"/>
          <p14:tracePt t="5057" x="10387013" y="4979988"/>
          <p14:tracePt t="5059" x="10390188" y="4964113"/>
          <p14:tracePt t="5059" x="10390188" y="4945063"/>
          <p14:tracePt t="5060" x="10398125" y="4924425"/>
          <p14:tracePt t="5062" x="10402888" y="4908550"/>
          <p14:tracePt t="5064" x="10410825" y="4860925"/>
          <p14:tracePt t="5065" x="10418763" y="4832350"/>
          <p14:tracePt t="5066" x="10418763" y="4811713"/>
          <p14:tracePt t="5067" x="10421938" y="4800600"/>
          <p14:tracePt t="5068" x="10421938" y="4779963"/>
          <p14:tracePt t="5069" x="10426700" y="4760913"/>
          <p14:tracePt t="5070" x="10426700" y="4735513"/>
          <p14:tracePt t="5071" x="10426700" y="4719638"/>
          <p14:tracePt t="5072" x="10429875" y="4700588"/>
          <p14:tracePt t="5073" x="10429875" y="4679950"/>
          <p14:tracePt t="5074" x="10429875" y="4664075"/>
          <p14:tracePt t="5075" x="10429875" y="4648200"/>
          <p14:tracePt t="5076" x="10429875" y="4624388"/>
          <p14:tracePt t="5077" x="10429875" y="4603750"/>
          <p14:tracePt t="5079" x="10429875" y="4584700"/>
          <p14:tracePt t="5080" x="10429875" y="4564063"/>
          <p14:tracePt t="5080" x="10429875" y="4540250"/>
          <p14:tracePt t="5081" x="10429875" y="4527550"/>
          <p14:tracePt t="5082" x="10429875" y="4508500"/>
          <p14:tracePt t="5083" x="10429875" y="4487863"/>
          <p14:tracePt t="5084" x="10429875" y="4467225"/>
          <p14:tracePt t="5085" x="10429875" y="4443413"/>
          <p14:tracePt t="5086" x="10429875" y="4424363"/>
          <p14:tracePt t="5087" x="10426700" y="4403725"/>
          <p14:tracePt t="5088" x="10418763" y="4392613"/>
          <p14:tracePt t="5089" x="10418763" y="4371975"/>
          <p14:tracePt t="5090" x="10414000" y="4335463"/>
          <p14:tracePt t="5091" x="10410825" y="4319588"/>
          <p14:tracePt t="5092" x="10406063" y="4300538"/>
          <p14:tracePt t="5095" x="10398125" y="4259263"/>
          <p14:tracePt t="5095" x="10390188" y="4232275"/>
          <p14:tracePt t="5096" x="10382250" y="4211638"/>
          <p14:tracePt t="5097" x="10377488" y="4191000"/>
          <p14:tracePt t="5098" x="10374313" y="4171950"/>
          <p14:tracePt t="5099" x="10369550" y="4151313"/>
          <p14:tracePt t="5100" x="10358438" y="4124325"/>
          <p14:tracePt t="5101" x="10350500" y="4095750"/>
          <p14:tracePt t="5102" x="10345738" y="4083050"/>
          <p14:tracePt t="5103" x="10337800" y="4064000"/>
          <p14:tracePt t="5104" x="10326688" y="4024313"/>
          <p14:tracePt t="5105" x="10318750" y="4011613"/>
          <p14:tracePt t="5106" x="10310813" y="3990975"/>
          <p14:tracePt t="5107" x="10306050" y="3971925"/>
          <p14:tracePt t="5109" x="10290175" y="3930650"/>
          <p14:tracePt t="5111" x="10266363" y="3879850"/>
          <p14:tracePt t="5112" x="10258425" y="3867150"/>
          <p14:tracePt t="5113" x="10245725" y="3843338"/>
          <p14:tracePt t="5114" x="10234613" y="3814763"/>
          <p14:tracePt t="5115" x="10226675" y="3803650"/>
          <p14:tracePt t="5116" x="10221913" y="3783013"/>
          <p14:tracePt t="5117" x="10210800" y="3767138"/>
          <p14:tracePt t="5118" x="10201275" y="3746500"/>
          <p14:tracePt t="5119" x="10190163" y="3727450"/>
          <p14:tracePt t="5120" x="10177463" y="3703638"/>
          <p14:tracePt t="5121" x="10169525" y="3690938"/>
          <p14:tracePt t="5122" x="10158413" y="3671888"/>
          <p14:tracePt t="5123" x="10153650" y="3654425"/>
          <p14:tracePt t="5125" x="10137775" y="3635375"/>
          <p14:tracePt t="5126" x="10126663" y="3606800"/>
          <p14:tracePt t="5127" x="10113963" y="3590925"/>
          <p14:tracePt t="5128" x="10106025" y="3571875"/>
          <p14:tracePt t="5129" x="10093325" y="3551238"/>
          <p14:tracePt t="5130" x="10085388" y="3535363"/>
          <p14:tracePt t="5131" x="10082213" y="3527425"/>
          <p14:tracePt t="5132" x="10069513" y="3514725"/>
          <p14:tracePt t="5133" x="10061575" y="3498850"/>
          <p14:tracePt t="5134" x="10053638" y="3482975"/>
          <p14:tracePt t="5135" x="10045700" y="3470275"/>
          <p14:tracePt t="5136" x="10037763" y="3462338"/>
          <p14:tracePt t="5137" x="10029825" y="3451225"/>
          <p14:tracePt t="5138" x="10017125" y="3438525"/>
          <p14:tracePt t="5139" x="10013950" y="3430588"/>
          <p14:tracePt t="5140" x="10009188" y="3419475"/>
          <p14:tracePt t="5141" x="10001250" y="3414713"/>
          <p14:tracePt t="5143" x="9998075" y="3406775"/>
          <p14:tracePt t="5143" x="9993313" y="3403600"/>
          <p14:tracePt t="5144" x="9990138" y="3395663"/>
          <p14:tracePt t="5145" x="9985375" y="3390900"/>
          <p14:tracePt t="5146" x="9982200" y="3387725"/>
          <p14:tracePt t="5147" x="9977438" y="3382963"/>
          <p14:tracePt t="5148" x="9977438" y="3378200"/>
          <p14:tracePt t="5149" x="9974263" y="3378200"/>
          <p14:tracePt t="5153" x="9974263" y="3375025"/>
          <p14:tracePt t="5180" x="9974263" y="3378200"/>
          <p14:tracePt t="5181" x="9974263" y="3382963"/>
          <p14:tracePt t="5183" x="9974263" y="3390900"/>
          <p14:tracePt t="5184" x="9974263" y="3395663"/>
          <p14:tracePt t="5185" x="9974263" y="3398838"/>
          <p14:tracePt t="5186" x="9974263" y="3403600"/>
          <p14:tracePt t="5188" x="9974263" y="3419475"/>
          <p14:tracePt t="5189" x="9974263" y="3427413"/>
          <p14:tracePt t="5190" x="9974263" y="3435350"/>
          <p14:tracePt t="5191" x="9974263" y="3443288"/>
          <p14:tracePt t="5192" x="9974263" y="3459163"/>
          <p14:tracePt t="5193" x="9977438" y="3470275"/>
          <p14:tracePt t="5194" x="9977438" y="3479800"/>
          <p14:tracePt t="5195" x="9982200" y="3495675"/>
          <p14:tracePt t="5196" x="9982200" y="3506788"/>
          <p14:tracePt t="5197" x="9985375" y="3522663"/>
          <p14:tracePt t="5198" x="9990138" y="3543300"/>
          <p14:tracePt t="5199" x="9990138" y="3554413"/>
          <p14:tracePt t="5200" x="9998075" y="3575050"/>
          <p14:tracePt t="5201" x="10001250" y="3595688"/>
          <p14:tracePt t="5202" x="10013950" y="3622675"/>
          <p14:tracePt t="5203" x="10017125" y="3638550"/>
          <p14:tracePt t="5204" x="10021888" y="3654425"/>
          <p14:tracePt t="5205" x="10026650" y="3675063"/>
          <p14:tracePt t="5206" x="10034588" y="3703638"/>
          <p14:tracePt t="5207" x="10045700" y="3735388"/>
          <p14:tracePt t="5209" x="10053638" y="3771900"/>
          <p14:tracePt t="5210" x="10061575" y="3798888"/>
          <p14:tracePt t="5211" x="10066338" y="3819525"/>
          <p14:tracePt t="5212" x="10077450" y="3859213"/>
          <p14:tracePt t="5213" x="10082213" y="3883025"/>
          <p14:tracePt t="5214" x="10093325" y="3906838"/>
          <p14:tracePt t="5215" x="10098088" y="3935413"/>
          <p14:tracePt t="5216" x="10106025" y="3963988"/>
          <p14:tracePt t="5217" x="10118725" y="3998913"/>
          <p14:tracePt t="5218" x="10121900" y="4019550"/>
          <p14:tracePt t="5219" x="10126663" y="4048125"/>
          <p14:tracePt t="5220" x="10137775" y="4075113"/>
          <p14:tracePt t="5221" x="10145713" y="4103688"/>
          <p14:tracePt t="5222" x="10158413" y="4140200"/>
          <p14:tracePt t="5223" x="10161588" y="4167188"/>
          <p14:tracePt t="5224" x="10166350" y="4195763"/>
          <p14:tracePt t="5225" x="10174288" y="4224338"/>
          <p14:tracePt t="5226" x="10185400" y="4259263"/>
          <p14:tracePt t="5227" x="10190163" y="4287838"/>
          <p14:tracePt t="5229" x="10206038" y="4335463"/>
          <p14:tracePt t="5230" x="10213975" y="4364038"/>
          <p14:tracePt t="5231" x="10218738" y="4392613"/>
          <p14:tracePt t="5232" x="10226675" y="4427538"/>
          <p14:tracePt t="5233" x="10229850" y="4448175"/>
          <p14:tracePt t="5235" x="10234613" y="4475163"/>
          <p14:tracePt t="5235" x="10242550" y="4503738"/>
          <p14:tracePt t="5236" x="10253663" y="4540250"/>
          <p14:tracePt t="5237" x="10253663" y="4559300"/>
          <p14:tracePt t="5238" x="10258425" y="4579938"/>
          <p14:tracePt t="5239" x="10261600" y="4608513"/>
          <p14:tracePt t="5240" x="10269538" y="4627563"/>
          <p14:tracePt t="5242" x="10277475" y="4676775"/>
          <p14:tracePt t="5243" x="10277475" y="4695825"/>
          <p14:tracePt t="5245" x="10282238" y="4732338"/>
          <p14:tracePt t="5246" x="10290175" y="4760913"/>
          <p14:tracePt t="5248" x="10293350" y="4792663"/>
          <p14:tracePt t="5249" x="10293350" y="4811713"/>
          <p14:tracePt t="5250" x="10298113" y="4824413"/>
          <p14:tracePt t="5251" x="10298113" y="4852988"/>
          <p14:tracePt t="5252" x="10298113" y="4864100"/>
          <p14:tracePt t="5253" x="10302875" y="4879975"/>
          <p14:tracePt t="5254" x="10302875" y="4892675"/>
          <p14:tracePt t="5255" x="10302875" y="4908550"/>
          <p14:tracePt t="5256" x="10302875" y="4924425"/>
          <p14:tracePt t="5257" x="10302875" y="4932363"/>
          <p14:tracePt t="5259" x="10302875" y="4940300"/>
          <p14:tracePt t="5259" x="10302875" y="4956175"/>
          <p14:tracePt t="5260" x="10302875" y="4964113"/>
          <p14:tracePt t="5261" x="10302875" y="4976813"/>
          <p14:tracePt t="5262" x="10302875" y="4984750"/>
          <p14:tracePt t="5263" x="10302875" y="4987925"/>
          <p14:tracePt t="5264" x="10302875" y="4995863"/>
          <p14:tracePt t="5265" x="10302875" y="5003800"/>
          <p14:tracePt t="5266" x="10302875" y="5011738"/>
          <p14:tracePt t="5267" x="10298113" y="5016500"/>
          <p14:tracePt t="5268" x="10298113" y="5024438"/>
          <p14:tracePt t="5269" x="10298113" y="5027613"/>
          <p14:tracePt t="5270" x="10293350" y="5037138"/>
          <p14:tracePt t="5271" x="10293350" y="5040313"/>
          <p14:tracePt t="5272" x="10293350" y="5045075"/>
          <p14:tracePt t="5273" x="10290175" y="5053013"/>
          <p14:tracePt t="5274" x="10290175" y="5056188"/>
          <p14:tracePt t="5275" x="10290175" y="5060950"/>
          <p14:tracePt t="5276" x="10285413" y="5064125"/>
          <p14:tracePt t="5277" x="10285413" y="5068888"/>
          <p14:tracePt t="5278" x="10285413" y="5072063"/>
          <p14:tracePt t="5280" x="10285413" y="5076825"/>
          <p14:tracePt t="5282" x="10282238" y="5080000"/>
          <p14:tracePt t="5283" x="10277475" y="5084763"/>
          <p14:tracePt t="5284" x="10277475" y="5087938"/>
          <p14:tracePt t="5285" x="10274300" y="5092700"/>
          <p14:tracePt t="5286" x="10274300" y="5095875"/>
          <p14:tracePt t="5288" x="10269538" y="5100638"/>
          <p14:tracePt t="5289" x="10269538" y="5103813"/>
          <p14:tracePt t="5290" x="10266363" y="5108575"/>
          <p14:tracePt t="5292" x="10261600" y="5111750"/>
          <p14:tracePt t="5293" x="10258425" y="5111750"/>
          <p14:tracePt t="5295" x="10258425" y="5116513"/>
          <p14:tracePt t="5296" x="10253663" y="5119688"/>
          <p14:tracePt t="5297" x="10253663" y="5124450"/>
          <p14:tracePt t="5298" x="10250488" y="5124450"/>
          <p14:tracePt t="5299" x="10250488" y="5129213"/>
          <p14:tracePt t="5300" x="10245725" y="5129213"/>
          <p14:tracePt t="5301" x="10245725" y="5132388"/>
          <p14:tracePt t="5303" x="10245725" y="5137150"/>
          <p14:tracePt t="5304" x="10242550" y="5137150"/>
          <p14:tracePt t="5305" x="10242550" y="5140325"/>
          <p14:tracePt t="5306" x="10237788" y="5145088"/>
          <p14:tracePt t="5309" x="10237788" y="5148263"/>
          <p14:tracePt t="5309" x="10234613" y="5148263"/>
          <p14:tracePt t="5312" x="10229850" y="5153025"/>
          <p14:tracePt t="5314" x="10229850" y="5156200"/>
          <p14:tracePt t="5315" x="10226675" y="5156200"/>
          <p14:tracePt t="5317" x="10226675" y="5160963"/>
          <p14:tracePt t="5318" x="10226675" y="5164138"/>
          <p14:tracePt t="5320" x="10221913" y="5168900"/>
          <p14:tracePt t="5323" x="10218738" y="5168900"/>
          <p14:tracePt t="5324" x="10218738" y="5172075"/>
          <p14:tracePt t="5327" x="10218738" y="5176838"/>
          <p14:tracePt t="5330" x="10218738" y="5180013"/>
          <p14:tracePt t="5332" x="10218738" y="5184775"/>
          <p14:tracePt t="5334" x="10213975" y="5187950"/>
          <p14:tracePt t="5339" x="10213975" y="5192713"/>
          <p14:tracePt t="5412" x="10213975" y="5187950"/>
          <p14:tracePt t="5417" x="10213975" y="5184775"/>
          <p14:tracePt t="5420" x="10218738" y="5184775"/>
          <p14:tracePt t="5422" x="10218738" y="5180013"/>
          <p14:tracePt t="5426" x="10218738" y="5176838"/>
          <p14:tracePt t="5427" x="10221913" y="5176838"/>
          <p14:tracePt t="5428" x="10221913" y="5172075"/>
          <p14:tracePt t="5432" x="10226675" y="5168900"/>
          <p14:tracePt t="5434" x="10229850" y="5164138"/>
          <p14:tracePt t="5436" x="10229850" y="5160963"/>
          <p14:tracePt t="5438" x="10234613" y="5156200"/>
          <p14:tracePt t="5442" x="10237788" y="5156200"/>
          <p14:tracePt t="5447" x="10242550" y="5153025"/>
          <p14:tracePt t="5448" x="10242550" y="5148263"/>
          <p14:tracePt t="5451" x="10242550" y="5145088"/>
          <p14:tracePt t="5453" x="10245725" y="5140325"/>
          <p14:tracePt t="5456" x="10245725" y="5137150"/>
          <p14:tracePt t="5457" x="10250488" y="5137150"/>
          <p14:tracePt t="5460" x="10250488" y="5132388"/>
          <p14:tracePt t="5461" x="10250488" y="5129213"/>
          <p14:tracePt t="5462" x="10253663" y="5129213"/>
          <p14:tracePt t="5464" x="10253663" y="5124450"/>
          <p14:tracePt t="5466" x="10258425" y="5119688"/>
          <p14:tracePt t="5468" x="10261600" y="5119688"/>
          <p14:tracePt t="5470" x="10261600" y="5116513"/>
          <p14:tracePt t="5471" x="10266363" y="5116513"/>
          <p14:tracePt t="5473" x="10269538" y="5116513"/>
          <p14:tracePt t="5474" x="10269538" y="5111750"/>
          <p14:tracePt t="5475" x="10274300" y="5111750"/>
          <p14:tracePt t="5477" x="10274300" y="5108575"/>
          <p14:tracePt t="5478" x="10277475" y="5103813"/>
          <p14:tracePt t="5480" x="10282238" y="5100638"/>
          <p14:tracePt t="5482" x="10282238" y="5095875"/>
          <p14:tracePt t="5484" x="10285413" y="5092700"/>
          <p14:tracePt t="5486" x="10285413" y="5087938"/>
          <p14:tracePt t="5487" x="10290175" y="5087938"/>
          <p14:tracePt t="5488" x="10290175" y="5084763"/>
          <p14:tracePt t="5489" x="10293350" y="5084763"/>
          <p14:tracePt t="5490" x="10293350" y="5080000"/>
          <p14:tracePt t="5491" x="10298113" y="5080000"/>
          <p14:tracePt t="5492" x="10298113" y="5076825"/>
          <p14:tracePt t="5493" x="10302875" y="5076825"/>
          <p14:tracePt t="5495" x="10306050" y="5076825"/>
          <p14:tracePt t="5496" x="10306050" y="5072063"/>
          <p14:tracePt t="5497" x="10310813" y="5068888"/>
          <p14:tracePt t="5499" x="10313988" y="5064125"/>
          <p14:tracePt t="5500" x="10318750" y="5064125"/>
          <p14:tracePt t="5501" x="10318750" y="5060950"/>
          <p14:tracePt t="5502" x="10321925" y="5056188"/>
          <p14:tracePt t="5504" x="10321925" y="5053013"/>
          <p14:tracePt t="5505" x="10326688" y="5048250"/>
          <p14:tracePt t="5507" x="10329863" y="5045075"/>
          <p14:tracePt t="5509" x="10334625" y="5040313"/>
          <p14:tracePt t="5510" x="10337800" y="5037138"/>
          <p14:tracePt t="5512" x="10342563" y="5032375"/>
          <p14:tracePt t="5513" x="10345738" y="5032375"/>
          <p14:tracePt t="5516" x="10350500" y="5024438"/>
          <p14:tracePt t="5516" x="10353675" y="5024438"/>
          <p14:tracePt t="5517" x="10353675" y="5019675"/>
          <p14:tracePt t="5518" x="10358438" y="5016500"/>
          <p14:tracePt t="5520" x="10361613" y="5011738"/>
          <p14:tracePt t="5521" x="10361613" y="5008563"/>
          <p14:tracePt t="5522" x="10361613" y="5003800"/>
          <p14:tracePt t="5524" x="10366375" y="5000625"/>
          <p14:tracePt t="5525" x="10369550" y="4995863"/>
          <p14:tracePt t="5526" x="10374313" y="4995863"/>
          <p14:tracePt t="5528" x="10377488" y="4992688"/>
          <p14:tracePt t="5529" x="10377488" y="4987925"/>
          <p14:tracePt t="5530" x="10382250" y="4984750"/>
          <p14:tracePt t="5532" x="10382250" y="4979988"/>
          <p14:tracePt t="5532" x="10387013" y="4976813"/>
          <p14:tracePt t="5533" x="10387013" y="4972050"/>
          <p14:tracePt t="5534" x="10390188" y="4968875"/>
          <p14:tracePt t="5535" x="10394950" y="4968875"/>
          <p14:tracePt t="5536" x="10394950" y="4964113"/>
          <p14:tracePt t="5537" x="10398125" y="4960938"/>
          <p14:tracePt t="5538" x="10398125" y="4956175"/>
          <p14:tracePt t="5539" x="10402888" y="4956175"/>
          <p14:tracePt t="5540" x="10402888" y="4953000"/>
          <p14:tracePt t="5541" x="10406063" y="4948238"/>
          <p14:tracePt t="5542" x="10406063" y="4945063"/>
          <p14:tracePt t="5543" x="10410825" y="4940300"/>
          <p14:tracePt t="5544" x="10414000" y="4935538"/>
          <p14:tracePt t="5545" x="10418763" y="4932363"/>
          <p14:tracePt t="5547" x="10421938" y="4919663"/>
          <p14:tracePt t="5548" x="10426700" y="4916488"/>
          <p14:tracePt t="5549" x="10429875" y="4908550"/>
          <p14:tracePt t="5550" x="10434638" y="4903788"/>
          <p14:tracePt t="5551" x="10437813" y="4900613"/>
          <p14:tracePt t="5552" x="10442575" y="4900613"/>
          <p14:tracePt t="5553" x="10445750" y="4895850"/>
          <p14:tracePt t="5554" x="10453688" y="4887913"/>
          <p14:tracePt t="5555" x="10458450" y="4876800"/>
          <p14:tracePt t="5556" x="10461625" y="4876800"/>
          <p14:tracePt t="5557" x="10466388" y="4872038"/>
          <p14:tracePt t="5559" x="10469563" y="4864100"/>
          <p14:tracePt t="5559" x="10474325" y="4852988"/>
          <p14:tracePt t="5562" x="10487025" y="4840288"/>
          <p14:tracePt t="5564" x="10494963" y="4827588"/>
          <p14:tracePt t="5564" x="10502900" y="4819650"/>
          <p14:tracePt t="5565" x="10506075" y="4811713"/>
          <p14:tracePt t="5566" x="10514013" y="4808538"/>
          <p14:tracePt t="5567" x="10518775" y="4800600"/>
          <p14:tracePt t="5568" x="10529888" y="4787900"/>
          <p14:tracePt t="5569" x="10534650" y="4779963"/>
          <p14:tracePt t="5570" x="10542588" y="4776788"/>
          <p14:tracePt t="5571" x="10545763" y="4768850"/>
          <p14:tracePt t="5572" x="10553700" y="4764088"/>
          <p14:tracePt t="5573" x="10558463" y="4751388"/>
          <p14:tracePt t="5574" x="10571163" y="4743450"/>
          <p14:tracePt t="5575" x="10574338" y="4735513"/>
          <p14:tracePt t="5576" x="10582275" y="4732338"/>
          <p14:tracePt t="5577" x="10587038" y="4724400"/>
          <p14:tracePt t="5580" x="10606088" y="4708525"/>
          <p14:tracePt t="5581" x="10610850" y="4695825"/>
          <p14:tracePt t="5582" x="10618788" y="4692650"/>
          <p14:tracePt t="5583" x="10621963" y="4684713"/>
          <p14:tracePt t="5584" x="10634663" y="4676775"/>
          <p14:tracePt t="5585" x="10637838" y="4672013"/>
          <p14:tracePt t="5586" x="10645775" y="4664075"/>
          <p14:tracePt t="5587" x="10650538" y="4659313"/>
          <p14:tracePt t="5588" x="10658475" y="4651375"/>
          <p14:tracePt t="5589" x="10666413" y="4643438"/>
          <p14:tracePt t="5590" x="10671175" y="4640263"/>
          <p14:tracePt t="5591" x="10674350" y="4635500"/>
          <p14:tracePt t="5592" x="10682288" y="4627563"/>
          <p14:tracePt t="5593" x="10690225" y="4624388"/>
          <p14:tracePt t="5595" x="10694988" y="4611688"/>
          <p14:tracePt t="5597" x="10706100" y="4608513"/>
          <p14:tracePt t="5597" x="10710863" y="4595813"/>
          <p14:tracePt t="5598" x="10718800" y="4592638"/>
          <p14:tracePt t="5599" x="10721975" y="4584700"/>
          <p14:tracePt t="5600" x="10734675" y="4579938"/>
          <p14:tracePt t="5601" x="10734675" y="4576763"/>
          <p14:tracePt t="5602" x="10737850" y="4572000"/>
          <p14:tracePt t="5603" x="10745788" y="4564063"/>
          <p14:tracePt t="5604" x="10750550" y="4559300"/>
          <p14:tracePt t="5605" x="10755313" y="4556125"/>
          <p14:tracePt t="5606" x="10758488" y="4551363"/>
          <p14:tracePt t="5607" x="10763250" y="4548188"/>
          <p14:tracePt t="5609" x="10774363" y="4543425"/>
          <p14:tracePt t="5610" x="10779125" y="4540250"/>
          <p14:tracePt t="5611" x="10782300" y="4540250"/>
          <p14:tracePt t="5613" x="10790238" y="4532313"/>
          <p14:tracePt t="5614" x="10790238" y="4527550"/>
          <p14:tracePt t="5615" x="10795000" y="4524375"/>
          <p14:tracePt t="5616" x="10795000" y="4519613"/>
          <p14:tracePt t="5617" x="10798175" y="4519613"/>
          <p14:tracePt t="5618" x="10802938" y="4516438"/>
          <p14:tracePt t="5619" x="10806113" y="4511675"/>
          <p14:tracePt t="5620" x="10806113" y="4508500"/>
          <p14:tracePt t="5621" x="10810875" y="4508500"/>
          <p14:tracePt t="5622" x="10814050" y="4503738"/>
          <p14:tracePt t="5623" x="10818813" y="4503738"/>
          <p14:tracePt t="5624" x="10821988" y="4503738"/>
          <p14:tracePt t="5625" x="10826750" y="4500563"/>
          <p14:tracePt t="5626" x="10829925" y="4495800"/>
          <p14:tracePt t="5628" x="10834688" y="4492625"/>
          <p14:tracePt t="5630" x="10839450" y="4487863"/>
          <p14:tracePt t="5632" x="10842625" y="4484688"/>
          <p14:tracePt t="5633" x="10847388" y="4479925"/>
          <p14:tracePt t="5634" x="10850563" y="4479925"/>
          <p14:tracePt t="5635" x="10855325" y="4475163"/>
          <p14:tracePt t="5637" x="10858500" y="4471988"/>
          <p14:tracePt t="5638" x="10863263" y="4471988"/>
          <p14:tracePt t="5640" x="10866438" y="4467225"/>
          <p14:tracePt t="5642" x="10871200" y="4464050"/>
          <p14:tracePt t="5644" x="10874375" y="4464050"/>
          <p14:tracePt t="5646" x="10879138" y="4459288"/>
          <p14:tracePt t="5648" x="10882313" y="4456113"/>
          <p14:tracePt t="5650" x="10887075" y="4456113"/>
          <p14:tracePt t="5652" x="10890250" y="4451350"/>
          <p14:tracePt t="5653" x="10895013" y="4451350"/>
          <p14:tracePt t="5654" x="10895013" y="4448175"/>
          <p14:tracePt t="5655" x="10898188" y="4448175"/>
          <p14:tracePt t="5656" x="10902950" y="4443413"/>
          <p14:tracePt t="5659" x="10906125" y="4440238"/>
          <p14:tracePt t="5661" x="10910888" y="4435475"/>
          <p14:tracePt t="5661" x="10914063" y="4435475"/>
          <p14:tracePt t="5662" x="10914063" y="4432300"/>
          <p14:tracePt t="5663" x="10918825" y="4432300"/>
          <p14:tracePt t="5665" x="10918825" y="4427538"/>
          <p14:tracePt t="5666" x="10922000" y="4424363"/>
          <p14:tracePt t="5667" x="10926763" y="4424363"/>
          <p14:tracePt t="5669" x="10931525" y="4424363"/>
          <p14:tracePt t="5670" x="10934700" y="4419600"/>
          <p14:tracePt t="5671" x="10939463" y="4419600"/>
          <p14:tracePt t="5672" x="10942638" y="4416425"/>
          <p14:tracePt t="5673" x="10947400" y="4416425"/>
          <p14:tracePt t="5674" x="10947400" y="4411663"/>
          <p14:tracePt t="5675" x="10950575" y="4408488"/>
          <p14:tracePt t="5677" x="10955338" y="4403725"/>
          <p14:tracePt t="5677" x="10958513" y="4403725"/>
          <p14:tracePt t="5678" x="10958513" y="4400550"/>
          <p14:tracePt t="5679" x="10963275" y="4400550"/>
          <p14:tracePt t="5680" x="10963275" y="4395788"/>
          <p14:tracePt t="5681" x="10966450" y="4395788"/>
          <p14:tracePt t="5682" x="10971213" y="4392613"/>
          <p14:tracePt t="5683" x="10974388" y="4387850"/>
          <p14:tracePt t="5684" x="10979150" y="4387850"/>
          <p14:tracePt t="5685" x="10979150" y="4383088"/>
          <p14:tracePt t="5686" x="10987088" y="4383088"/>
          <p14:tracePt t="5688" x="10990263" y="4383088"/>
          <p14:tracePt t="5689" x="10995025" y="4379913"/>
          <p14:tracePt t="5690" x="10998200" y="4375150"/>
          <p14:tracePt t="5691" x="10998200" y="4371975"/>
          <p14:tracePt t="5692" x="11002963" y="4371975"/>
          <p14:tracePt t="5693" x="11002963" y="4367213"/>
          <p14:tracePt t="5694" x="11006138" y="4364038"/>
          <p14:tracePt t="5696" x="11010900" y="4364038"/>
          <p14:tracePt t="5697" x="11014075" y="4359275"/>
          <p14:tracePt t="5698" x="11014075" y="4356100"/>
          <p14:tracePt t="5699" x="11018838" y="4356100"/>
          <p14:tracePt t="5700" x="11023600" y="4351338"/>
          <p14:tracePt t="5701" x="11023600" y="4348163"/>
          <p14:tracePt t="5702" x="11026775" y="4348163"/>
          <p14:tracePt t="5703" x="11031538" y="4348163"/>
          <p14:tracePt t="5704" x="11031538" y="4343400"/>
          <p14:tracePt t="5705" x="11034713" y="4343400"/>
          <p14:tracePt t="5706" x="11039475" y="4343400"/>
          <p14:tracePt t="5707" x="11039475" y="4340225"/>
          <p14:tracePt t="5709" x="11042650" y="4335463"/>
          <p14:tracePt t="5711" x="11047413" y="4332288"/>
          <p14:tracePt t="5713" x="11050588" y="4332288"/>
          <p14:tracePt t="5714" x="11050588" y="4327525"/>
          <p14:tracePt t="5715" x="11055350" y="4324350"/>
          <p14:tracePt t="5717" x="11058525" y="4319588"/>
          <p14:tracePt t="5719" x="11063288" y="4316413"/>
          <p14:tracePt t="5720" x="11066463" y="4316413"/>
          <p14:tracePt t="5721" x="11066463" y="4311650"/>
          <p14:tracePt t="5722" x="11071225" y="4311650"/>
          <p14:tracePt t="5723" x="11074400" y="4311650"/>
          <p14:tracePt t="5724" x="11074400" y="4308475"/>
          <p14:tracePt t="5725" x="11079163" y="4308475"/>
          <p14:tracePt t="5726" x="11082338" y="4303713"/>
          <p14:tracePt t="5730" x="11082338" y="4300538"/>
          <p14:tracePt t="5731" x="11087100" y="4300538"/>
          <p14:tracePt t="5732" x="11090275" y="4295775"/>
          <p14:tracePt t="5734" x="11095038" y="4295775"/>
          <p14:tracePt t="5735" x="11098213" y="4291013"/>
          <p14:tracePt t="5736" x="11098213" y="4287838"/>
          <p14:tracePt t="5737" x="11102975" y="4287838"/>
          <p14:tracePt t="5738" x="11102975" y="4283075"/>
          <p14:tracePt t="5740" x="11106150" y="4279900"/>
          <p14:tracePt t="5741" x="11110913" y="4279900"/>
          <p14:tracePt t="5742" x="11110913" y="4275138"/>
          <p14:tracePt t="5743" x="11115675" y="4275138"/>
          <p14:tracePt t="5744" x="11118850" y="4271963"/>
          <p14:tracePt t="5746" x="11123613" y="4267200"/>
          <p14:tracePt t="5747" x="11123613" y="4264025"/>
          <p14:tracePt t="5748" x="11126788" y="4259263"/>
          <p14:tracePt t="5750" x="11131550" y="4259263"/>
          <p14:tracePt t="5751" x="11134725" y="4259263"/>
          <p14:tracePt t="5752" x="11134725" y="4256088"/>
          <p14:tracePt t="5753" x="11139488" y="4256088"/>
          <p14:tracePt t="5754" x="11142663" y="4251325"/>
          <p14:tracePt t="5755" x="11142663" y="4248150"/>
          <p14:tracePt t="5756" x="11142663" y="4243388"/>
          <p14:tracePt t="5757" x="11147425" y="4243388"/>
          <p14:tracePt t="5759" x="11147425" y="4240213"/>
          <p14:tracePt t="5759" x="11150600" y="4235450"/>
          <p14:tracePt t="5761" x="11155363" y="4232275"/>
          <p14:tracePt t="5763" x="11158538" y="4227513"/>
          <p14:tracePt t="5764" x="11163300" y="4224338"/>
          <p14:tracePt t="5766" x="11163300" y="4219575"/>
          <p14:tracePt t="5767" x="11166475" y="4219575"/>
          <p14:tracePt t="5769" x="11166475" y="4216400"/>
          <p14:tracePt t="5770" x="11171238" y="4211638"/>
          <p14:tracePt t="5772" x="11171238" y="4208463"/>
          <p14:tracePt t="5773" x="11174413" y="4203700"/>
          <p14:tracePt t="5774" x="11174413" y="4198938"/>
          <p14:tracePt t="5775" x="11179175" y="4195763"/>
          <p14:tracePt t="5777" x="11182350" y="4191000"/>
          <p14:tracePt t="5778" x="11182350" y="4187825"/>
          <p14:tracePt t="5779" x="11182350" y="4183063"/>
          <p14:tracePt t="5781" x="11187113" y="4179888"/>
          <p14:tracePt t="5783" x="11190288" y="4175125"/>
          <p14:tracePt t="5784" x="11190288" y="4171950"/>
          <p14:tracePt t="5785" x="11195050" y="4167188"/>
          <p14:tracePt t="5786" x="11195050" y="4164013"/>
          <p14:tracePt t="5787" x="11199813" y="4159250"/>
          <p14:tracePt t="5788" x="11199813" y="4156075"/>
          <p14:tracePt t="5789" x="11202988" y="4151313"/>
          <p14:tracePt t="5790" x="11202988" y="4148138"/>
          <p14:tracePt t="5791" x="11207750" y="4143375"/>
          <p14:tracePt t="5793" x="11207750" y="4140200"/>
          <p14:tracePt t="5793" x="11207750" y="4135438"/>
          <p14:tracePt t="5796" x="11207750" y="4124325"/>
          <p14:tracePt t="5797" x="11207750" y="4119563"/>
          <p14:tracePt t="5798" x="11210925" y="4116388"/>
          <p14:tracePt t="5799" x="11210925" y="4106863"/>
          <p14:tracePt t="5800" x="11210925" y="4103688"/>
          <p14:tracePt t="5801" x="11210925" y="4098925"/>
          <p14:tracePt t="5802" x="11215688" y="4090988"/>
          <p14:tracePt t="5803" x="11215688" y="4087813"/>
          <p14:tracePt t="5804" x="11215688" y="4083050"/>
          <p14:tracePt t="5805" x="11215688" y="4075113"/>
          <p14:tracePt t="5806" x="11218863" y="4075113"/>
          <p14:tracePt t="5807" x="11218863" y="4071938"/>
          <p14:tracePt t="5809" x="11218863" y="4064000"/>
          <p14:tracePt t="5810" x="11218863" y="4059238"/>
          <p14:tracePt t="5810" x="11218863" y="4051300"/>
          <p14:tracePt t="5811" x="11218863" y="4048125"/>
          <p14:tracePt t="5812" x="11223625" y="4040188"/>
          <p14:tracePt t="5813" x="11223625" y="4035425"/>
          <p14:tracePt t="5814" x="11223625" y="4032250"/>
          <p14:tracePt t="5815" x="11223625" y="4024313"/>
          <p14:tracePt t="5816" x="11223625" y="4019550"/>
          <p14:tracePt t="5817" x="11223625" y="4011613"/>
          <p14:tracePt t="5818" x="11223625" y="4006850"/>
          <p14:tracePt t="5819" x="11223625" y="4003675"/>
          <p14:tracePt t="5820" x="11223625" y="3998913"/>
          <p14:tracePt t="5821" x="11223625" y="3990975"/>
          <p14:tracePt t="5822" x="11223625" y="3983038"/>
          <p14:tracePt t="5823" x="11223625" y="3979863"/>
          <p14:tracePt t="5824" x="11223625" y="3971925"/>
          <p14:tracePt t="5825" x="11223625" y="3967163"/>
          <p14:tracePt t="5827" x="11223625" y="3956050"/>
          <p14:tracePt t="5828" x="11223625" y="3948113"/>
          <p14:tracePt t="5829" x="11223625" y="3943350"/>
          <p14:tracePt t="5830" x="11223625" y="3940175"/>
          <p14:tracePt t="5831" x="11223625" y="3930650"/>
          <p14:tracePt t="5832" x="11223625" y="3922713"/>
          <p14:tracePt t="5833" x="11223625" y="3919538"/>
          <p14:tracePt t="5834" x="11223625" y="3914775"/>
          <p14:tracePt t="5835" x="11223625" y="3911600"/>
          <p14:tracePt t="5836" x="11223625" y="3906838"/>
          <p14:tracePt t="5837" x="11223625" y="3903663"/>
          <p14:tracePt t="5838" x="11223625" y="3895725"/>
          <p14:tracePt t="5839" x="11223625" y="3890963"/>
          <p14:tracePt t="5840" x="11223625" y="3887788"/>
          <p14:tracePt t="5841" x="11223625" y="3883025"/>
          <p14:tracePt t="5842" x="11223625" y="3875088"/>
          <p14:tracePt t="5844" x="11223625" y="3863975"/>
          <p14:tracePt t="5845" x="11223625" y="3859213"/>
          <p14:tracePt t="5846" x="11223625" y="3856038"/>
          <p14:tracePt t="5847" x="11223625" y="3848100"/>
          <p14:tracePt t="5848" x="11218863" y="3848100"/>
          <p14:tracePt t="5849" x="11218863" y="3843338"/>
          <p14:tracePt t="5850" x="11218863" y="3835400"/>
          <p14:tracePt t="5851" x="11218863" y="3830638"/>
          <p14:tracePt t="5852" x="11218863" y="3822700"/>
          <p14:tracePt t="5853" x="11215688" y="3819525"/>
          <p14:tracePt t="5854" x="11215688" y="3814763"/>
          <p14:tracePt t="5855" x="11215688" y="3811588"/>
          <p14:tracePt t="5856" x="11215688" y="3806825"/>
          <p14:tracePt t="5857" x="11210925" y="3798888"/>
          <p14:tracePt t="5859" x="11210925" y="3790950"/>
          <p14:tracePt t="5860" x="11210925" y="3787775"/>
          <p14:tracePt t="5862" x="11210925" y="3779838"/>
          <p14:tracePt t="5863" x="11207750" y="3775075"/>
          <p14:tracePt t="5864" x="11207750" y="3771900"/>
          <p14:tracePt t="5865" x="11207750" y="3767138"/>
          <p14:tracePt t="5866" x="11202988" y="3763963"/>
          <p14:tracePt t="5867" x="11202988" y="3759200"/>
          <p14:tracePt t="5868" x="11202988" y="3756025"/>
          <p14:tracePt t="5869" x="11199813" y="3751263"/>
          <p14:tracePt t="5870" x="11199813" y="3746500"/>
          <p14:tracePt t="5872" x="11199813" y="3738563"/>
          <p14:tracePt t="5873" x="11195050" y="3738563"/>
          <p14:tracePt t="5875" x="11195050" y="3735388"/>
          <p14:tracePt t="5876" x="11190288" y="3730625"/>
          <p14:tracePt t="5877" x="11190288" y="3727450"/>
          <p14:tracePt t="5878" x="11190288" y="3722688"/>
          <p14:tracePt t="5879" x="11187113" y="3719513"/>
          <p14:tracePt t="5880" x="11187113" y="3714750"/>
          <p14:tracePt t="5881" x="11187113" y="3711575"/>
          <p14:tracePt t="5894" x="11171238" y="3683000"/>
          <p14:tracePt t="5895" x="11171238" y="3679825"/>
          <p14:tracePt t="5897" x="11171238" y="3675063"/>
          <p14:tracePt t="5898" x="11166475" y="3675063"/>
          <p14:tracePt t="5899" x="11166475" y="3671888"/>
          <p14:tracePt t="5902" x="11166475" y="3667125"/>
          <p14:tracePt t="5904" x="11163300" y="3667125"/>
          <p14:tracePt t="5905" x="11163300" y="3663950"/>
          <p14:tracePt t="5908" x="11158538" y="3659188"/>
          <p14:tracePt t="5909" x="11155363" y="3654425"/>
          <p14:tracePt t="5911" x="11150600" y="3654425"/>
          <p14:tracePt t="5913" x="11147425" y="3654425"/>
          <p14:tracePt t="5915" x="11147425" y="3651250"/>
          <p14:tracePt t="5917" x="11147425" y="3646488"/>
          <p14:tracePt t="5918" x="11142663" y="3646488"/>
          <p14:tracePt t="5921" x="11139488" y="3643313"/>
          <p14:tracePt t="5922" x="11134725" y="3638550"/>
          <p14:tracePt t="5924" x="11131550" y="3635375"/>
          <p14:tracePt t="5927" x="11126788" y="3635375"/>
          <p14:tracePt t="5928" x="11126788" y="3630613"/>
          <p14:tracePt t="5929" x="11123613" y="3630613"/>
          <p14:tracePt t="5930" x="11123613" y="3627438"/>
          <p14:tracePt t="5931" x="11118850" y="3627438"/>
          <p14:tracePt t="5932" x="11118850" y="3622675"/>
          <p14:tracePt t="5933" x="11115675" y="3622675"/>
          <p14:tracePt t="5934" x="11110913" y="3619500"/>
          <p14:tracePt t="5938" x="11102975" y="3614738"/>
          <p14:tracePt t="5940" x="11098213" y="3614738"/>
          <p14:tracePt t="5941" x="11095038" y="3611563"/>
          <p14:tracePt t="5943" x="11090275" y="3611563"/>
          <p14:tracePt t="5944" x="11090275" y="3606800"/>
          <p14:tracePt t="5945" x="11087100" y="3606800"/>
          <p14:tracePt t="5946" x="11087100" y="3603625"/>
          <p14:tracePt t="5948" x="11087100" y="3598863"/>
          <p14:tracePt t="5949" x="11082338" y="3598863"/>
          <p14:tracePt t="5950" x="11079163" y="3598863"/>
          <p14:tracePt t="5951" x="11074400" y="3598863"/>
          <p14:tracePt t="5952" x="11074400" y="3595688"/>
          <p14:tracePt t="5954" x="11071225" y="3590925"/>
          <p14:tracePt t="5956" x="11071225" y="3587750"/>
          <p14:tracePt t="5957" x="11066463" y="3587750"/>
          <p14:tracePt t="5959" x="11066463" y="3582988"/>
          <p14:tracePt t="5960" x="11063288" y="3582988"/>
          <p14:tracePt t="5962" x="11058525" y="3579813"/>
          <p14:tracePt t="5964" x="11055350" y="3575050"/>
          <p14:tracePt t="5966" x="11050588" y="3575050"/>
          <p14:tracePt t="5968" x="11047413" y="3575050"/>
          <p14:tracePt t="5970" x="11047413" y="3571875"/>
          <p14:tracePt t="5974" x="11042650" y="3567113"/>
          <p14:tracePt t="5978" x="11039475" y="3562350"/>
          <p14:tracePt t="5980" x="11034713" y="3559175"/>
          <p14:tracePt t="5982" x="11031538" y="3559175"/>
          <p14:tracePt t="5984" x="11031538" y="3554413"/>
          <p14:tracePt t="5987" x="11026775" y="3551238"/>
          <p14:tracePt t="5990" x="11023600" y="3551238"/>
          <p14:tracePt t="5991" x="11023600" y="3546475"/>
          <p14:tracePt t="5994" x="11018838" y="3543300"/>
          <p14:tracePt t="5997" x="11018838" y="3538538"/>
          <p14:tracePt t="5998" x="11014075" y="3538538"/>
          <p14:tracePt t="6000" x="11010900" y="3535363"/>
          <p14:tracePt t="6003" x="11006138" y="3535363"/>
          <p14:tracePt t="6006" x="11006138" y="3530600"/>
          <p14:tracePt t="6009" x="11006138" y="3527425"/>
          <p14:tracePt t="6010" x="11002963" y="3522663"/>
          <p14:tracePt t="6012" x="10998200" y="3522663"/>
          <p14:tracePt t="6013" x="10995025" y="3519488"/>
          <p14:tracePt t="6016" x="10990263" y="3514725"/>
          <p14:tracePt t="6020" x="10987088" y="3511550"/>
          <p14:tracePt t="6021" x="10982325" y="3506788"/>
          <p14:tracePt t="6022" x="10982325" y="3503613"/>
          <p14:tracePt t="6023" x="10979150" y="3503613"/>
          <p14:tracePt t="6024" x="10974388" y="3498850"/>
          <p14:tracePt t="6027" x="10971213" y="3498850"/>
          <p14:tracePt t="6028" x="10966450" y="3495675"/>
          <p14:tracePt t="6030" x="10966450" y="3490913"/>
          <p14:tracePt t="6031" x="10963275" y="3490913"/>
          <p14:tracePt t="6032" x="10958513" y="3487738"/>
          <p14:tracePt t="6033" x="10958513" y="3482975"/>
          <p14:tracePt t="6034" x="10955338" y="3482975"/>
          <p14:tracePt t="6035" x="10955338" y="3479800"/>
          <p14:tracePt t="6036" x="10950575" y="3479800"/>
          <p14:tracePt t="6037" x="10950575" y="3475038"/>
          <p14:tracePt t="6038" x="10947400" y="3475038"/>
          <p14:tracePt t="6039" x="10942638" y="3470275"/>
          <p14:tracePt t="6040" x="10942638" y="3467100"/>
          <p14:tracePt t="6041" x="10939463" y="3467100"/>
          <p14:tracePt t="6042" x="10934700" y="3462338"/>
          <p14:tracePt t="6044" x="10931525" y="3459163"/>
          <p14:tracePt t="6045" x="10926763" y="3454400"/>
          <p14:tracePt t="6048" x="10922000" y="3451225"/>
          <p14:tracePt t="6049" x="10918825" y="3451225"/>
          <p14:tracePt t="6050" x="10918825" y="3446463"/>
          <p14:tracePt t="6051" x="10914063" y="3446463"/>
          <p14:tracePt t="6052" x="10910888" y="3443288"/>
          <p14:tracePt t="6053" x="10910888" y="3438525"/>
          <p14:tracePt t="6054" x="10906125" y="3438525"/>
          <p14:tracePt t="6055" x="10906125" y="3435350"/>
          <p14:tracePt t="6056" x="10902950" y="3430588"/>
          <p14:tracePt t="6057" x="10898188" y="3427413"/>
          <p14:tracePt t="6059" x="10895013" y="3422650"/>
          <p14:tracePt t="6061" x="10890250" y="3419475"/>
          <p14:tracePt t="6062" x="10887075" y="3414713"/>
          <p14:tracePt t="6064" x="10882313" y="3411538"/>
          <p14:tracePt t="6065" x="10879138" y="3411538"/>
          <p14:tracePt t="6066" x="10874375" y="3406775"/>
          <p14:tracePt t="6067" x="10871200" y="3403600"/>
          <p14:tracePt t="6069" x="10866438" y="3398838"/>
          <p14:tracePt t="6070" x="10863263" y="3395663"/>
          <p14:tracePt t="6071" x="10858500" y="3390900"/>
          <p14:tracePt t="6072" x="10855325" y="3387725"/>
          <p14:tracePt t="6074" x="10850563" y="3382963"/>
          <p14:tracePt t="6075" x="10847388" y="3378200"/>
          <p14:tracePt t="6077" x="10847388" y="3375025"/>
          <p14:tracePt t="6079" x="10834688" y="3367088"/>
          <p14:tracePt t="6081" x="10829925" y="3362325"/>
          <p14:tracePt t="6082" x="10821988" y="3359150"/>
          <p14:tracePt t="6083" x="10818813" y="3354388"/>
          <p14:tracePt t="6085" x="10814050" y="3351213"/>
          <p14:tracePt t="6086" x="10810875" y="3346450"/>
          <p14:tracePt t="6087" x="10806113" y="3343275"/>
          <p14:tracePt t="6088" x="10802938" y="3343275"/>
          <p14:tracePt t="6089" x="10798175" y="3338513"/>
          <p14:tracePt t="6090" x="10795000" y="3335338"/>
          <p14:tracePt t="6091" x="10795000" y="3330575"/>
          <p14:tracePt t="6092" x="10790238" y="3327400"/>
          <p14:tracePt t="6093" x="10787063" y="3327400"/>
          <p14:tracePt t="6095" x="10782300" y="3327400"/>
          <p14:tracePt t="6097" x="10774363" y="3319463"/>
          <p14:tracePt t="6097" x="10774363" y="3314700"/>
          <p14:tracePt t="6098" x="10771188" y="3311525"/>
          <p14:tracePt t="6099" x="10766425" y="3311525"/>
          <p14:tracePt t="6100" x="10763250" y="3306763"/>
          <p14:tracePt t="6101" x="10755313" y="3303588"/>
          <p14:tracePt t="6102" x="10750550" y="3298825"/>
          <p14:tracePt t="6103" x="10750550" y="3295650"/>
          <p14:tracePt t="6104" x="10745788" y="3295650"/>
          <p14:tracePt t="6105" x="10745788" y="3290888"/>
          <p14:tracePt t="6106" x="10742613" y="3286125"/>
          <p14:tracePt t="6107" x="10737850" y="3282950"/>
          <p14:tracePt t="6108" x="10734675" y="3282950"/>
          <p14:tracePt t="6109" x="10729913" y="3278188"/>
          <p14:tracePt t="6110" x="10726738" y="3275013"/>
          <p14:tracePt t="6113" x="10718800" y="3270250"/>
          <p14:tracePt t="6113" x="10714038" y="3267075"/>
          <p14:tracePt t="6114" x="10710863" y="3267075"/>
          <p14:tracePt t="6115" x="10706100" y="3262313"/>
          <p14:tracePt t="6116" x="10706100" y="3259138"/>
          <p14:tracePt t="6117" x="10702925" y="3254375"/>
          <p14:tracePt t="6118" x="10698163" y="3251200"/>
          <p14:tracePt t="6119" x="10694988" y="3251200"/>
          <p14:tracePt t="6120" x="10687050" y="3246438"/>
          <p14:tracePt t="6121" x="10682288" y="3243263"/>
          <p14:tracePt t="6122" x="10679113" y="3238500"/>
          <p14:tracePt t="6123" x="10674350" y="3238500"/>
          <p14:tracePt t="6125" x="10671175" y="3235325"/>
          <p14:tracePt t="6126" x="10663238" y="3230563"/>
          <p14:tracePt t="6128" x="10658475" y="3222625"/>
          <p14:tracePt t="6129" x="10650538" y="3219450"/>
          <p14:tracePt t="6130" x="10645775" y="3214688"/>
          <p14:tracePt t="6131" x="10642600" y="3214688"/>
          <p14:tracePt t="6132" x="10637838" y="3211513"/>
          <p14:tracePt t="6133" x="10629900" y="3206750"/>
          <p14:tracePt t="6134" x="10626725" y="3203575"/>
          <p14:tracePt t="6135" x="10618788" y="3198813"/>
          <p14:tracePt t="6136" x="10614025" y="3194050"/>
          <p14:tracePt t="6137" x="10610850" y="3190875"/>
          <p14:tracePt t="6138" x="10606088" y="3190875"/>
          <p14:tracePt t="6139" x="10598150" y="3186113"/>
          <p14:tracePt t="6140" x="10594975" y="3182938"/>
          <p14:tracePt t="6141" x="10590213" y="3182938"/>
          <p14:tracePt t="6142" x="10582275" y="3182938"/>
          <p14:tracePt t="6143" x="10579100" y="3178175"/>
          <p14:tracePt t="6145" x="10571163" y="3170238"/>
          <p14:tracePt t="6146" x="10566400" y="3170238"/>
          <p14:tracePt t="6147" x="10561638" y="3167063"/>
          <p14:tracePt t="6148" x="10558463" y="3162300"/>
          <p14:tracePt t="6149" x="10553700" y="3162300"/>
          <p14:tracePt t="6150" x="10550525" y="3159125"/>
          <p14:tracePt t="6151" x="10542588" y="3159125"/>
          <p14:tracePt t="6152" x="10537825" y="3154363"/>
          <p14:tracePt t="6153" x="10534650" y="3151188"/>
          <p14:tracePt t="6154" x="10529888" y="3146425"/>
          <p14:tracePt t="6155" x="10521950" y="3146425"/>
          <p14:tracePt t="6157" x="10518775" y="3143250"/>
          <p14:tracePt t="6159" x="10514013" y="3138488"/>
          <p14:tracePt t="6159" x="10510838" y="3138488"/>
          <p14:tracePt t="6160" x="10502900" y="3135313"/>
          <p14:tracePt t="6162" x="10494963" y="3130550"/>
          <p14:tracePt t="6163" x="10490200" y="3130550"/>
          <p14:tracePt t="6164" x="10487025" y="3130550"/>
          <p14:tracePt t="6165" x="10482263" y="3127375"/>
          <p14:tracePt t="6166" x="10479088" y="3127375"/>
          <p14:tracePt t="6167" x="10474325" y="3127375"/>
          <p14:tracePt t="6168" x="10469563" y="3122613"/>
          <p14:tracePt t="6170" x="10466388" y="3119438"/>
          <p14:tracePt t="6171" x="10461625" y="3119438"/>
          <p14:tracePt t="6172" x="10458450" y="3119438"/>
          <p14:tracePt t="6173" x="10453688" y="3114675"/>
          <p14:tracePt t="6174" x="10450513" y="3114675"/>
          <p14:tracePt t="6175" x="10445750" y="3114675"/>
          <p14:tracePt t="6176" x="10442575" y="3111500"/>
          <p14:tracePt t="6177" x="10437813" y="3111500"/>
          <p14:tracePt t="6178" x="10434638" y="3111500"/>
          <p14:tracePt t="6179" x="10429875" y="3106738"/>
          <p14:tracePt t="6181" x="10426700" y="3106738"/>
          <p14:tracePt t="6183" x="10421938" y="3101975"/>
          <p14:tracePt t="6184" x="10418763" y="3101975"/>
          <p14:tracePt t="6185" x="10414000" y="3101975"/>
          <p14:tracePt t="6187" x="10410825" y="3101975"/>
          <p14:tracePt t="6188" x="10406063" y="3098800"/>
          <p14:tracePt t="6189" x="10402888" y="3098800"/>
          <p14:tracePt t="6190" x="10398125" y="3098800"/>
          <p14:tracePt t="6192" x="10394950" y="3094038"/>
          <p14:tracePt t="6193" x="10390188" y="3094038"/>
          <p14:tracePt t="6196" x="10387013" y="3090863"/>
          <p14:tracePt t="6197" x="10382250" y="3090863"/>
          <p14:tracePt t="6198" x="10377488" y="3090863"/>
          <p14:tracePt t="6200" x="10374313" y="3090863"/>
          <p14:tracePt t="6202" x="10369550" y="3090863"/>
          <p14:tracePt t="6204" x="10366375" y="3090863"/>
          <p14:tracePt t="6206" x="10361613" y="3090863"/>
          <p14:tracePt t="6209" x="10358438" y="3090863"/>
          <p14:tracePt t="6210" x="10353675" y="3090863"/>
          <p14:tracePt t="6211" x="10350500" y="3090863"/>
          <p14:tracePt t="6213" x="10350500" y="3086100"/>
          <p14:tracePt t="6215" x="10345738" y="3086100"/>
          <p14:tracePt t="6218" x="10342563" y="3086100"/>
          <p14:tracePt t="6220" x="10337800" y="3082925"/>
          <p14:tracePt t="6221" x="10334625" y="3082925"/>
          <p14:tracePt t="6224" x="10329863" y="3082925"/>
          <p14:tracePt t="6227" x="10326688" y="3082925"/>
          <p14:tracePt t="6228" x="10321925" y="3082925"/>
          <p14:tracePt t="6230" x="10318750" y="3082925"/>
          <p14:tracePt t="6231" x="10318750" y="3078163"/>
          <p14:tracePt t="6232" x="10313988" y="3078163"/>
          <p14:tracePt t="6234" x="10310813" y="3078163"/>
          <p14:tracePt t="6238" x="10306050" y="3078163"/>
          <p14:tracePt t="6240" x="10302875" y="3078163"/>
          <p14:tracePt t="6242" x="10302875" y="3074988"/>
          <p14:tracePt t="6244" x="10293350" y="3074988"/>
          <p14:tracePt t="6245" x="10293350" y="3070225"/>
          <p14:tracePt t="6246" x="10290175" y="3070225"/>
          <p14:tracePt t="6247" x="10285413" y="3070225"/>
          <p14:tracePt t="6249" x="10282238" y="3070225"/>
          <p14:tracePt t="6252" x="10277475" y="3070225"/>
          <p14:tracePt t="6252" x="10277475" y="3067050"/>
          <p14:tracePt t="6254" x="10274300" y="3067050"/>
          <p14:tracePt t="6257" x="10269538" y="3067050"/>
          <p14:tracePt t="6259" x="10269538" y="3062288"/>
          <p14:tracePt t="6261" x="10266363" y="3062288"/>
          <p14:tracePt t="6263" x="10261600" y="3062288"/>
          <p14:tracePt t="6266" x="10258425" y="3062288"/>
          <p14:tracePt t="6268" x="10253663" y="3059113"/>
          <p14:tracePt t="6270" x="10250488" y="3059113"/>
          <p14:tracePt t="6272" x="10245725" y="3059113"/>
          <p14:tracePt t="6274" x="10242550" y="3059113"/>
          <p14:tracePt t="6276" x="10237788" y="3059113"/>
          <p14:tracePt t="6277" x="10234613" y="3059113"/>
          <p14:tracePt t="6279" x="10229850" y="3059113"/>
          <p14:tracePt t="6281" x="10229850" y="3054350"/>
          <p14:tracePt t="6282" x="10226675" y="3054350"/>
          <p14:tracePt t="6283" x="10221913" y="3054350"/>
          <p14:tracePt t="6284" x="10218738" y="3054350"/>
          <p14:tracePt t="6286" x="10213975" y="3054350"/>
          <p14:tracePt t="6287" x="10213975" y="3051175"/>
          <p14:tracePt t="6288" x="10210800" y="3051175"/>
          <p14:tracePt t="6289" x="10206038" y="3051175"/>
          <p14:tracePt t="6291" x="10201275" y="3051175"/>
          <p14:tracePt t="6292" x="10198100" y="3051175"/>
          <p14:tracePt t="6294" x="10190163" y="3051175"/>
          <p14:tracePt t="6297" x="10185400" y="3051175"/>
          <p14:tracePt t="6298" x="10182225" y="3051175"/>
          <p14:tracePt t="6299" x="10177463" y="3051175"/>
          <p14:tracePt t="6300" x="10174288" y="3051175"/>
          <p14:tracePt t="6301" x="10169525" y="3046413"/>
          <p14:tracePt t="6302" x="10166350" y="3046413"/>
          <p14:tracePt t="6304" x="10161588" y="3046413"/>
          <p14:tracePt t="6305" x="10153650" y="3046413"/>
          <p14:tracePt t="6306" x="10150475" y="3043238"/>
          <p14:tracePt t="6308" x="10145713" y="3043238"/>
          <p14:tracePt t="6309" x="10142538" y="3043238"/>
          <p14:tracePt t="6311" x="10137775" y="3043238"/>
          <p14:tracePt t="6312" x="10129838" y="3038475"/>
          <p14:tracePt t="6313" x="10121900" y="3038475"/>
          <p14:tracePt t="6314" x="10118725" y="3038475"/>
          <p14:tracePt t="6315" x="10113963" y="3038475"/>
          <p14:tracePt t="6316" x="10106025" y="3038475"/>
          <p14:tracePt t="6317" x="10101263" y="3038475"/>
          <p14:tracePt t="6318" x="10098088" y="3035300"/>
          <p14:tracePt t="6319" x="10093325" y="3035300"/>
          <p14:tracePt t="6320" x="10085388" y="3035300"/>
          <p14:tracePt t="6322" x="10077450" y="3035300"/>
          <p14:tracePt t="6323" x="10074275" y="3035300"/>
          <p14:tracePt t="6324" x="10069513" y="3030538"/>
          <p14:tracePt t="6325" x="10061575" y="3030538"/>
          <p14:tracePt t="6328" x="10050463" y="3030538"/>
          <p14:tracePt t="6329" x="10037763" y="3027363"/>
          <p14:tracePt t="6330" x="10029825" y="3027363"/>
          <p14:tracePt t="6331" x="10026650" y="3027363"/>
          <p14:tracePt t="6332" x="10017125" y="3027363"/>
          <p14:tracePt t="6333" x="10009188" y="3027363"/>
          <p14:tracePt t="6334" x="10006013" y="3027363"/>
          <p14:tracePt t="6335" x="9998075" y="3022600"/>
          <p14:tracePt t="6336" x="9990138" y="3022600"/>
          <p14:tracePt t="6337" x="9982200" y="3022600"/>
          <p14:tracePt t="6338" x="9974263" y="3022600"/>
          <p14:tracePt t="6339" x="9969500" y="3019425"/>
          <p14:tracePt t="6340" x="9958388" y="3019425"/>
          <p14:tracePt t="6341" x="9953625" y="3019425"/>
          <p14:tracePt t="6342" x="9945688" y="3019425"/>
          <p14:tracePt t="6343" x="9937750" y="3019425"/>
          <p14:tracePt t="6344" x="9932988" y="3019425"/>
          <p14:tracePt t="6345" x="9921875" y="3019425"/>
          <p14:tracePt t="6346" x="9913938" y="3019425"/>
          <p14:tracePt t="6347" x="9906000" y="3014663"/>
          <p14:tracePt t="6348" x="9901238" y="3014663"/>
          <p14:tracePt t="6349" x="9893300" y="3014663"/>
          <p14:tracePt t="6350" x="9885363" y="3014663"/>
          <p14:tracePt t="6351" x="9877425" y="3014663"/>
          <p14:tracePt t="6352" x="9869488" y="3014663"/>
          <p14:tracePt t="6353" x="9861550" y="3014663"/>
          <p14:tracePt t="6354" x="9858375" y="3014663"/>
          <p14:tracePt t="6355" x="9845675" y="3014663"/>
          <p14:tracePt t="6356" x="9837738" y="3014663"/>
          <p14:tracePt t="6357" x="9829800" y="3014663"/>
          <p14:tracePt t="6359" x="9817100" y="3014663"/>
          <p14:tracePt t="6360" x="9805988" y="3009900"/>
          <p14:tracePt t="6361" x="9798050" y="3009900"/>
          <p14:tracePt t="6362" x="9790113" y="3009900"/>
          <p14:tracePt t="6363" x="9782175" y="3009900"/>
          <p14:tracePt t="6364" x="9774238" y="3009900"/>
          <p14:tracePt t="6366" x="9766300" y="3009900"/>
          <p14:tracePt t="6367" x="9758363" y="3009900"/>
          <p14:tracePt t="6367" x="9745663" y="3009900"/>
          <p14:tracePt t="6368" x="9737725" y="3009900"/>
          <p14:tracePt t="6369" x="9729788" y="3009900"/>
          <p14:tracePt t="6370" x="9717088" y="3009900"/>
          <p14:tracePt t="6371" x="9709150" y="3009900"/>
          <p14:tracePt t="6372" x="9701213" y="3006725"/>
          <p14:tracePt t="6373" x="9698038" y="3006725"/>
          <p14:tracePt t="6374" x="9685338" y="3006725"/>
          <p14:tracePt t="6375" x="9677400" y="3006725"/>
          <p14:tracePt t="6376" x="9669463" y="3006725"/>
          <p14:tracePt t="6377" x="9661525" y="3006725"/>
          <p14:tracePt t="6378" x="9653588" y="3006725"/>
          <p14:tracePt t="6379" x="9637713" y="3006725"/>
          <p14:tracePt t="6380" x="9629775" y="3006725"/>
          <p14:tracePt t="6381" x="9621838" y="3006725"/>
          <p14:tracePt t="6382" x="9613900" y="3006725"/>
          <p14:tracePt t="6383" x="9605963" y="3006725"/>
          <p14:tracePt t="6384" x="9593263" y="3006725"/>
          <p14:tracePt t="6385" x="9585325" y="3006725"/>
          <p14:tracePt t="6386" x="9574213" y="3006725"/>
          <p14:tracePt t="6387" x="9564688" y="3006725"/>
          <p14:tracePt t="6388" x="9556750" y="3006725"/>
          <p14:tracePt t="6389" x="9545638" y="3006725"/>
          <p14:tracePt t="6390" x="9537700" y="3006725"/>
          <p14:tracePt t="6391" x="9529763" y="3006725"/>
          <p14:tracePt t="6392" x="9513888" y="3006725"/>
          <p14:tracePt t="6393" x="9505950" y="3006725"/>
          <p14:tracePt t="6394" x="9493250" y="3006725"/>
          <p14:tracePt t="6395" x="9485313" y="3006725"/>
          <p14:tracePt t="6396" x="9477375" y="3006725"/>
          <p14:tracePt t="6397" x="9469438" y="3006725"/>
          <p14:tracePt t="6398" x="9461500" y="3001963"/>
          <p14:tracePt t="6399" x="9445625" y="3001963"/>
          <p14:tracePt t="6400" x="9437688" y="3001963"/>
          <p14:tracePt t="6401" x="9424988" y="3001963"/>
          <p14:tracePt t="6402" x="9417050" y="3001963"/>
          <p14:tracePt t="6403" x="9409113" y="3001963"/>
          <p14:tracePt t="6404" x="9393238" y="3001963"/>
          <p14:tracePt t="6405" x="9380538" y="3001963"/>
          <p14:tracePt t="6406" x="9372600" y="3001963"/>
          <p14:tracePt t="6407" x="9364663" y="3001963"/>
          <p14:tracePt t="6408" x="9345613" y="3001963"/>
          <p14:tracePt t="6409" x="9337675" y="3001963"/>
          <p14:tracePt t="6410" x="9321800" y="3001963"/>
          <p14:tracePt t="6411" x="9313863" y="3001963"/>
          <p14:tracePt t="6413" x="9293225" y="3001963"/>
          <p14:tracePt t="6414" x="9280525" y="3001963"/>
          <p14:tracePt t="6415" x="9272588" y="3001963"/>
          <p14:tracePt t="6416" x="9256713" y="3001963"/>
          <p14:tracePt t="6417" x="9248775" y="3001963"/>
          <p14:tracePt t="6418" x="9237663" y="3001963"/>
          <p14:tracePt t="6419" x="9229725" y="3001963"/>
          <p14:tracePt t="6420" x="9213850" y="3001963"/>
          <p14:tracePt t="6421" x="9204325" y="3001963"/>
          <p14:tracePt t="6422" x="9196388" y="3001963"/>
          <p14:tracePt t="6423" x="9188450" y="3001963"/>
          <p14:tracePt t="6424" x="9177338" y="3001963"/>
          <p14:tracePt t="6425" x="9169400" y="3001963"/>
          <p14:tracePt t="6426" x="9161463" y="3001963"/>
          <p14:tracePt t="6427" x="9145588" y="3001963"/>
          <p14:tracePt t="6428" x="9132888" y="3001963"/>
          <p14:tracePt t="6429" x="9124950" y="3001963"/>
          <p14:tracePt t="6430" x="9117013" y="3001963"/>
          <p14:tracePt t="6431" x="9109075" y="3001963"/>
          <p14:tracePt t="6432" x="9096375" y="2998788"/>
          <p14:tracePt t="6433" x="9085263" y="2998788"/>
          <p14:tracePt t="6434" x="9077325" y="2998788"/>
          <p14:tracePt t="6435" x="9069388" y="2998788"/>
          <p14:tracePt t="6438" x="9053513" y="2998788"/>
          <p14:tracePt t="6438" x="9037638" y="2998788"/>
          <p14:tracePt t="6439" x="9028113" y="2998788"/>
          <p14:tracePt t="6440" x="9020175" y="2998788"/>
          <p14:tracePt t="6441" x="9012238" y="2998788"/>
          <p14:tracePt t="6442" x="9004300" y="2998788"/>
          <p14:tracePt t="6443" x="8993188" y="2998788"/>
          <p14:tracePt t="6444" x="8985250" y="2998788"/>
          <p14:tracePt t="6445" x="8977313" y="2998788"/>
          <p14:tracePt t="6446" x="8969375" y="2998788"/>
          <p14:tracePt t="6447" x="8961438" y="2998788"/>
          <p14:tracePt t="6448" x="8948738" y="2998788"/>
          <p14:tracePt t="6449" x="8940800" y="2998788"/>
          <p14:tracePt t="6450" x="8932863" y="2998788"/>
          <p14:tracePt t="6451" x="8924925" y="2998788"/>
          <p14:tracePt t="6452" x="8916988" y="2998788"/>
          <p14:tracePt t="6453" x="8909050" y="2998788"/>
          <p14:tracePt t="6454" x="8901113" y="2998788"/>
          <p14:tracePt t="6455" x="8893175" y="2998788"/>
          <p14:tracePt t="6456" x="8888413" y="2998788"/>
          <p14:tracePt t="6457" x="8880475" y="2998788"/>
          <p14:tracePt t="6459" x="8864600" y="2998788"/>
          <p14:tracePt t="6460" x="8856663" y="2994025"/>
          <p14:tracePt t="6461" x="8853488" y="2994025"/>
          <p14:tracePt t="6462" x="8843963" y="2994025"/>
          <p14:tracePt t="6463" x="8836025" y="2994025"/>
          <p14:tracePt t="6464" x="8828088" y="2994025"/>
          <p14:tracePt t="6465" x="8824913" y="2994025"/>
          <p14:tracePt t="6466" x="8820150" y="2994025"/>
          <p14:tracePt t="6467" x="8812213" y="2994025"/>
          <p14:tracePt t="6468" x="8804275" y="2994025"/>
          <p14:tracePt t="6469" x="8801100" y="2994025"/>
          <p14:tracePt t="6470" x="8793163" y="2994025"/>
          <p14:tracePt t="6472" x="8785225" y="2994025"/>
          <p14:tracePt t="6473" x="8777288" y="2994025"/>
          <p14:tracePt t="6474" x="8772525" y="2994025"/>
          <p14:tracePt t="6476" x="8769350" y="2994025"/>
          <p14:tracePt t="6477" x="8761413" y="2994025"/>
          <p14:tracePt t="6477" x="8751888" y="2994025"/>
          <p14:tracePt t="6478" x="8748713" y="2994025"/>
          <p14:tracePt t="6479" x="8743950" y="2994025"/>
          <p14:tracePt t="6480" x="8736013" y="2994025"/>
          <p14:tracePt t="6481" x="8732838" y="2994025"/>
          <p14:tracePt t="6482" x="8724900" y="2994025"/>
          <p14:tracePt t="6483" x="8720138" y="2994025"/>
          <p14:tracePt t="6484" x="8712200" y="2994025"/>
          <p14:tracePt t="6485" x="8709025" y="2994025"/>
          <p14:tracePt t="6486" x="8701088" y="2994025"/>
          <p14:tracePt t="6488" x="8696325" y="2994025"/>
          <p14:tracePt t="6489" x="8693150" y="2994025"/>
          <p14:tracePt t="6490" x="8685213" y="2994025"/>
          <p14:tracePt t="6491" x="8680450" y="2994025"/>
          <p14:tracePt t="6493" x="8672513" y="2994025"/>
          <p14:tracePt t="6494" x="8659813" y="2994025"/>
          <p14:tracePt t="6495" x="8656638" y="2994025"/>
          <p14:tracePt t="6496" x="8648700" y="2994025"/>
          <p14:tracePt t="6497" x="8643938" y="2994025"/>
          <p14:tracePt t="6498" x="8636000" y="2994025"/>
          <p14:tracePt t="6499" x="8632825" y="2994025"/>
          <p14:tracePt t="6501" x="8624888" y="2994025"/>
          <p14:tracePt t="6502" x="8616950" y="2994025"/>
          <p14:tracePt t="6503" x="8612188" y="2994025"/>
          <p14:tracePt t="6504" x="8604250" y="2994025"/>
          <p14:tracePt t="6505" x="8601075" y="2994025"/>
          <p14:tracePt t="6506" x="8593138" y="2994025"/>
          <p14:tracePt t="6507" x="8588375" y="2994025"/>
          <p14:tracePt t="6509" x="8575675" y="2994025"/>
          <p14:tracePt t="6510" x="8572500" y="2994025"/>
          <p14:tracePt t="6511" x="8564563" y="2994025"/>
          <p14:tracePt t="6512" x="8559800" y="2994025"/>
          <p14:tracePt t="6513" x="8551863" y="2994025"/>
          <p14:tracePt t="6514" x="8548688" y="2994025"/>
          <p14:tracePt t="6516" x="8540750" y="2994025"/>
          <p14:tracePt t="6517" x="8535988" y="2998788"/>
          <p14:tracePt t="6518" x="8532813" y="2998788"/>
          <p14:tracePt t="6519" x="8528050" y="2998788"/>
          <p14:tracePt t="6520" x="8520113" y="2998788"/>
          <p14:tracePt t="6521" x="8516938" y="3001963"/>
          <p14:tracePt t="6522" x="8509000" y="3001963"/>
          <p14:tracePt t="6523" x="8504238" y="3001963"/>
          <p14:tracePt t="6524" x="8501063" y="3001963"/>
          <p14:tracePt t="6525" x="8496300" y="3001963"/>
          <p14:tracePt t="6526" x="8488363" y="3001963"/>
          <p14:tracePt t="6527" x="8488363" y="3006725"/>
          <p14:tracePt t="6528" x="8483600" y="3006725"/>
          <p14:tracePt t="6529" x="8480425" y="3006725"/>
          <p14:tracePt t="6530" x="8475663" y="3009900"/>
          <p14:tracePt t="6531" x="8467725" y="3009900"/>
          <p14:tracePt t="6532" x="8464550" y="3009900"/>
          <p14:tracePt t="6533" x="8459788" y="3009900"/>
          <p14:tracePt t="6534" x="8456613" y="3014663"/>
          <p14:tracePt t="6535" x="8451850" y="3014663"/>
          <p14:tracePt t="6536" x="8448675" y="3014663"/>
          <p14:tracePt t="6537" x="8443913" y="3014663"/>
          <p14:tracePt t="6538" x="8443913" y="3019425"/>
          <p14:tracePt t="6539" x="8440738" y="3019425"/>
          <p14:tracePt t="6540" x="8432800" y="3019425"/>
          <p14:tracePt t="6541" x="8428038" y="3019425"/>
          <p14:tracePt t="6542" x="8424863" y="3022600"/>
          <p14:tracePt t="6544" x="8416925" y="3022600"/>
          <p14:tracePt t="6545" x="8412163" y="3022600"/>
          <p14:tracePt t="6547" x="8408988" y="3027363"/>
          <p14:tracePt t="6547" x="8404225" y="3027363"/>
          <p14:tracePt t="6549" x="8401050" y="3027363"/>
          <p14:tracePt t="6550" x="8396288" y="3030538"/>
          <p14:tracePt t="6552" x="8391525" y="3030538"/>
          <p14:tracePt t="6553" x="8388350" y="3035300"/>
          <p14:tracePt t="6554" x="8383588" y="3035300"/>
          <p14:tracePt t="6555" x="8380413" y="3035300"/>
          <p14:tracePt t="6556" x="8375650" y="3038475"/>
          <p14:tracePt t="6557" x="8372475" y="3038475"/>
          <p14:tracePt t="6559" x="8367713" y="3038475"/>
          <p14:tracePt t="6560" x="8364538" y="3038475"/>
          <p14:tracePt t="6562" x="8359775" y="3043238"/>
          <p14:tracePt t="6562" x="8356600" y="3043238"/>
          <p14:tracePt t="6563" x="8351838" y="3043238"/>
          <p14:tracePt t="6564" x="8348663" y="3046413"/>
          <p14:tracePt t="6565" x="8343900" y="3051175"/>
          <p14:tracePt t="6566" x="8340725" y="3051175"/>
          <p14:tracePt t="6567" x="8335963" y="3054350"/>
          <p14:tracePt t="6568" x="8332788" y="3054350"/>
          <p14:tracePt t="6569" x="8328025" y="3059113"/>
          <p14:tracePt t="6570" x="8324850" y="3062288"/>
          <p14:tracePt t="6571" x="8320088" y="3062288"/>
          <p14:tracePt t="6572" x="8312150" y="3067050"/>
          <p14:tracePt t="6573" x="8307388" y="3067050"/>
          <p14:tracePt t="6574" x="8304213" y="3070225"/>
          <p14:tracePt t="6576" x="8304213" y="3074988"/>
          <p14:tracePt t="6576" x="8299450" y="3078163"/>
          <p14:tracePt t="6579" x="8288338" y="3082925"/>
          <p14:tracePt t="6580" x="8280400" y="3086100"/>
          <p14:tracePt t="6581" x="8275638" y="3090863"/>
          <p14:tracePt t="6582" x="8272463" y="3094038"/>
          <p14:tracePt t="6583" x="8267700" y="3094038"/>
          <p14:tracePt t="6584" x="8264525" y="3101975"/>
          <p14:tracePt t="6585" x="8259763" y="3106738"/>
          <p14:tracePt t="6586" x="8256588" y="3106738"/>
          <p14:tracePt t="6587" x="8251825" y="3111500"/>
          <p14:tracePt t="6588" x="8251825" y="3114675"/>
          <p14:tracePt t="6589" x="8251825" y="3119438"/>
          <p14:tracePt t="6590" x="8248650" y="3122613"/>
          <p14:tracePt t="6591" x="8243888" y="3127375"/>
          <p14:tracePt t="6592" x="8240713" y="3130550"/>
          <p14:tracePt t="6593" x="8235950" y="3138488"/>
          <p14:tracePt t="6595" x="8232775" y="3143250"/>
          <p14:tracePt t="6596" x="8224838" y="3146425"/>
          <p14:tracePt t="6597" x="8220075" y="3151188"/>
          <p14:tracePt t="6598" x="8215313" y="3154363"/>
          <p14:tracePt t="6599" x="8212138" y="3159125"/>
          <p14:tracePt t="6600" x="8207375" y="3167063"/>
          <p14:tracePt t="6601" x="8204200" y="3170238"/>
          <p14:tracePt t="6602" x="8199438" y="3175000"/>
          <p14:tracePt t="6603" x="8196263" y="3178175"/>
          <p14:tracePt t="6604" x="8191500" y="3186113"/>
          <p14:tracePt t="6605" x="8191500" y="3190875"/>
          <p14:tracePt t="6606" x="8188325" y="3198813"/>
          <p14:tracePt t="6607" x="8183563" y="3203575"/>
          <p14:tracePt t="6609" x="8183563" y="3211513"/>
          <p14:tracePt t="6610" x="8180388" y="3219450"/>
          <p14:tracePt t="6612" x="8175625" y="3222625"/>
          <p14:tracePt t="6613" x="8175625" y="3230563"/>
          <p14:tracePt t="6614" x="8172450" y="3235325"/>
          <p14:tracePt t="6615" x="8172450" y="3243263"/>
          <p14:tracePt t="6616" x="8167688" y="3246438"/>
          <p14:tracePt t="6617" x="8167688" y="3251200"/>
          <p14:tracePt t="6618" x="8164513" y="3259138"/>
          <p14:tracePt t="6619" x="8159750" y="3267075"/>
          <p14:tracePt t="6620" x="8159750" y="3270250"/>
          <p14:tracePt t="6621" x="8159750" y="3275013"/>
          <p14:tracePt t="6622" x="8156575" y="3278188"/>
          <p14:tracePt t="6623" x="8156575" y="3286125"/>
          <p14:tracePt t="6624" x="8156575" y="3290888"/>
          <p14:tracePt t="6626" x="8156575" y="3303588"/>
          <p14:tracePt t="6627" x="8151813" y="3311525"/>
          <p14:tracePt t="6629" x="8151813" y="3322638"/>
          <p14:tracePt t="6630" x="8151813" y="3327400"/>
          <p14:tracePt t="6631" x="8148638" y="3330575"/>
          <p14:tracePt t="6632" x="8148638" y="3338513"/>
          <p14:tracePt t="6633" x="8148638" y="3343275"/>
          <p14:tracePt t="6634" x="8148638" y="3351213"/>
          <p14:tracePt t="6635" x="8148638" y="3359150"/>
          <p14:tracePt t="6636" x="8148638" y="3362325"/>
          <p14:tracePt t="6637" x="8148638" y="3370263"/>
          <p14:tracePt t="6638" x="8143875" y="3378200"/>
          <p14:tracePt t="6639" x="8143875" y="3382963"/>
          <p14:tracePt t="6640" x="8143875" y="3387725"/>
          <p14:tracePt t="6641" x="8143875" y="3395663"/>
          <p14:tracePt t="6642" x="8143875" y="3398838"/>
          <p14:tracePt t="6643" x="8143875" y="3406775"/>
          <p14:tracePt t="6644" x="8143875" y="3414713"/>
          <p14:tracePt t="6645" x="8143875" y="3419475"/>
          <p14:tracePt t="6646" x="8143875" y="3427413"/>
          <p14:tracePt t="6647" x="8143875" y="3435350"/>
          <p14:tracePt t="6648" x="8143875" y="3443288"/>
          <p14:tracePt t="6649" x="8143875" y="3446463"/>
          <p14:tracePt t="6650" x="8143875" y="3454400"/>
          <p14:tracePt t="6651" x="8143875" y="3459163"/>
          <p14:tracePt t="6652" x="8143875" y="3467100"/>
          <p14:tracePt t="6653" x="8143875" y="3475038"/>
          <p14:tracePt t="6655" x="8143875" y="3482975"/>
          <p14:tracePt t="6657" x="8143875" y="3487738"/>
          <p14:tracePt t="6657" x="8143875" y="3490913"/>
          <p14:tracePt t="6658" x="8143875" y="3498850"/>
          <p14:tracePt t="6659" x="8143875" y="3506788"/>
          <p14:tracePt t="6660" x="8143875" y="3511550"/>
          <p14:tracePt t="6661" x="8143875" y="3514725"/>
          <p14:tracePt t="6662" x="8143875" y="3522663"/>
          <p14:tracePt t="6663" x="8143875" y="3530600"/>
          <p14:tracePt t="6664" x="8143875" y="3535363"/>
          <p14:tracePt t="6665" x="8143875" y="3538538"/>
          <p14:tracePt t="6666" x="8143875" y="3543300"/>
          <p14:tracePt t="6667" x="8143875" y="3551238"/>
          <p14:tracePt t="6668" x="8148638" y="3559175"/>
          <p14:tracePt t="6669" x="8148638" y="3562350"/>
          <p14:tracePt t="6670" x="8148638" y="3571875"/>
          <p14:tracePt t="6671" x="8151813" y="3575050"/>
          <p14:tracePt t="6672" x="8151813" y="3582988"/>
          <p14:tracePt t="6673" x="8156575" y="3582988"/>
          <p14:tracePt t="6674" x="8156575" y="3590925"/>
          <p14:tracePt t="6675" x="8159750" y="3595688"/>
          <p14:tracePt t="6676" x="8159750" y="3603625"/>
          <p14:tracePt t="6677" x="8159750" y="3606800"/>
          <p14:tracePt t="6678" x="8164513" y="3614738"/>
          <p14:tracePt t="6679" x="8164513" y="3619500"/>
          <p14:tracePt t="6680" x="8164513" y="3622675"/>
          <p14:tracePt t="6681" x="8167688" y="3627438"/>
          <p14:tracePt t="6682" x="8167688" y="3635375"/>
          <p14:tracePt t="6683" x="8172450" y="3638550"/>
          <p14:tracePt t="6684" x="8172450" y="3643313"/>
          <p14:tracePt t="6685" x="8175625" y="3646488"/>
          <p14:tracePt t="6686" x="8180388" y="3654425"/>
          <p14:tracePt t="6688" x="8183563" y="3659188"/>
          <p14:tracePt t="6689" x="8188325" y="3667125"/>
          <p14:tracePt t="6690" x="8188325" y="3671888"/>
          <p14:tracePt t="6691" x="8191500" y="3675063"/>
          <p14:tracePt t="6692" x="8196263" y="3683000"/>
          <p14:tracePt t="6693" x="8196263" y="3687763"/>
          <p14:tracePt t="6694" x="8199438" y="3690938"/>
          <p14:tracePt t="6695" x="8204200" y="3695700"/>
          <p14:tracePt t="6696" x="8204200" y="3698875"/>
          <p14:tracePt t="6697" x="8207375" y="3706813"/>
          <p14:tracePt t="6698" x="8212138" y="3711575"/>
          <p14:tracePt t="6699" x="8215313" y="3714750"/>
          <p14:tracePt t="6700" x="8215313" y="3719513"/>
          <p14:tracePt t="6701" x="8220075" y="3722688"/>
          <p14:tracePt t="6703" x="8224838" y="3727450"/>
          <p14:tracePt t="6704" x="8228013" y="3735388"/>
          <p14:tracePt t="6705" x="8232775" y="3738563"/>
          <p14:tracePt t="6706" x="8235950" y="3743325"/>
          <p14:tracePt t="6707" x="8240713" y="3746500"/>
          <p14:tracePt t="6709" x="8243888" y="3756025"/>
          <p14:tracePt t="6710" x="8248650" y="3759200"/>
          <p14:tracePt t="6712" x="8256588" y="3763963"/>
          <p14:tracePt t="6712" x="8256588" y="3767138"/>
          <p14:tracePt t="6713" x="8259763" y="3771900"/>
          <p14:tracePt t="6714" x="8264525" y="3775075"/>
          <p14:tracePt t="6715" x="8267700" y="3775075"/>
          <p14:tracePt t="6716" x="8272463" y="3779838"/>
          <p14:tracePt t="6717" x="8275638" y="3783013"/>
          <p14:tracePt t="6718" x="8275638" y="3787775"/>
          <p14:tracePt t="6719" x="8280400" y="3790950"/>
          <p14:tracePt t="6720" x="8280400" y="3795713"/>
          <p14:tracePt t="6721" x="8283575" y="3795713"/>
          <p14:tracePt t="6722" x="8288338" y="3803650"/>
          <p14:tracePt t="6723" x="8291513" y="3803650"/>
          <p14:tracePt t="6724" x="8296275" y="3806825"/>
          <p14:tracePt t="6725" x="8299450" y="3811588"/>
          <p14:tracePt t="6726" x="8307388" y="3814763"/>
          <p14:tracePt t="6727" x="8312150" y="3819525"/>
          <p14:tracePt t="6729" x="8320088" y="3827463"/>
          <p14:tracePt t="6730" x="8324850" y="3827463"/>
          <p14:tracePt t="6731" x="8328025" y="3830638"/>
          <p14:tracePt t="6732" x="8328025" y="3835400"/>
          <p14:tracePt t="6733" x="8335963" y="3835400"/>
          <p14:tracePt t="6734" x="8340725" y="3838575"/>
          <p14:tracePt t="6735" x="8343900" y="3843338"/>
          <p14:tracePt t="6736" x="8348663" y="3848100"/>
          <p14:tracePt t="6737" x="8351838" y="3851275"/>
          <p14:tracePt t="6738" x="8356600" y="3856038"/>
          <p14:tracePt t="6739" x="8364538" y="3856038"/>
          <p14:tracePt t="6740" x="8367713" y="3859213"/>
          <p14:tracePt t="6741" x="8375650" y="3863975"/>
          <p14:tracePt t="6742" x="8380413" y="3867150"/>
          <p14:tracePt t="6743" x="8383588" y="3871913"/>
          <p14:tracePt t="6745" x="8391525" y="3871913"/>
          <p14:tracePt t="6746" x="8401050" y="3875088"/>
          <p14:tracePt t="6747" x="8412163" y="3883025"/>
          <p14:tracePt t="6748" x="8416925" y="3883025"/>
          <p14:tracePt t="6749" x="8420100" y="3883025"/>
          <p14:tracePt t="6750" x="8424863" y="3887788"/>
          <p14:tracePt t="6751" x="8432800" y="3890963"/>
          <p14:tracePt t="6752" x="8443913" y="3895725"/>
          <p14:tracePt t="6753" x="8443913" y="3898900"/>
          <p14:tracePt t="6754" x="8451850" y="3898900"/>
          <p14:tracePt t="6755" x="8464550" y="3903663"/>
          <p14:tracePt t="6756" x="8472488" y="3911600"/>
          <p14:tracePt t="6757" x="8480425" y="3911600"/>
          <p14:tracePt t="6759" x="8493125" y="3914775"/>
          <p14:tracePt t="6760" x="8501063" y="3914775"/>
          <p14:tracePt t="6762" x="8516938" y="3927475"/>
          <p14:tracePt t="6763" x="8520113" y="3927475"/>
          <p14:tracePt t="6764" x="8528050" y="3930650"/>
          <p14:tracePt t="6765" x="8535988" y="3930650"/>
          <p14:tracePt t="6766" x="8543925" y="3935413"/>
          <p14:tracePt t="6767" x="8556625" y="3940175"/>
          <p14:tracePt t="6769" x="8564563" y="3943350"/>
          <p14:tracePt t="6770" x="8575675" y="3948113"/>
          <p14:tracePt t="6771" x="8585200" y="3948113"/>
          <p14:tracePt t="6772" x="8588375" y="3951288"/>
          <p14:tracePt t="6773" x="8593138" y="3951288"/>
          <p14:tracePt t="6774" x="8604250" y="3956050"/>
          <p14:tracePt t="6775" x="8612188" y="3956050"/>
          <p14:tracePt t="6776" x="8620125" y="3959225"/>
          <p14:tracePt t="6778" x="8632825" y="3963988"/>
          <p14:tracePt t="6779" x="8636000" y="3963988"/>
          <p14:tracePt t="6781" x="8643938" y="3967163"/>
          <p14:tracePt t="6781" x="8651875" y="3967163"/>
          <p14:tracePt t="6782" x="8656638" y="3971925"/>
          <p14:tracePt t="6783" x="8664575" y="3971925"/>
          <p14:tracePt t="6784" x="8667750" y="3971925"/>
          <p14:tracePt t="6785" x="8677275" y="3975100"/>
          <p14:tracePt t="6787" x="8685213" y="3979863"/>
          <p14:tracePt t="6788" x="8688388" y="3979863"/>
          <p14:tracePt t="6789" x="8696325" y="3983038"/>
          <p14:tracePt t="6790" x="8704263" y="3983038"/>
          <p14:tracePt t="6791" x="8709025" y="3983038"/>
          <p14:tracePt t="6792" x="8712200" y="3983038"/>
          <p14:tracePt t="6793" x="8720138" y="3987800"/>
          <p14:tracePt t="6794" x="8724900" y="3987800"/>
          <p14:tracePt t="6795" x="8732838" y="3987800"/>
          <p14:tracePt t="6796" x="8740775" y="3990975"/>
          <p14:tracePt t="6797" x="8743950" y="3990975"/>
          <p14:tracePt t="6798" x="8751888" y="3995738"/>
          <p14:tracePt t="6799" x="8756650" y="3995738"/>
          <p14:tracePt t="6800" x="8764588" y="3998913"/>
          <p14:tracePt t="6801" x="8772525" y="3998913"/>
          <p14:tracePt t="6802" x="8777288" y="3998913"/>
          <p14:tracePt t="6803" x="8785225" y="4003675"/>
          <p14:tracePt t="6804" x="8793163" y="4003675"/>
          <p14:tracePt t="6805" x="8796338" y="4003675"/>
          <p14:tracePt t="6806" x="8804275" y="4006850"/>
          <p14:tracePt t="6807" x="8809038" y="4006850"/>
          <p14:tracePt t="6809" x="8820150" y="4011613"/>
          <p14:tracePt t="6811" x="8832850" y="4011613"/>
          <p14:tracePt t="6811" x="8836025" y="4014788"/>
          <p14:tracePt t="6812" x="8843963" y="4014788"/>
          <p14:tracePt t="6813" x="8853488" y="4014788"/>
          <p14:tracePt t="6814" x="8861425" y="4019550"/>
          <p14:tracePt t="6815" x="8869363" y="4019550"/>
          <p14:tracePt t="6816" x="8877300" y="4019550"/>
          <p14:tracePt t="6817" x="8880475" y="4024313"/>
          <p14:tracePt t="6818" x="8888413" y="4024313"/>
          <p14:tracePt t="6819" x="8896350" y="4024313"/>
          <p14:tracePt t="6820" x="8904288" y="4024313"/>
          <p14:tracePt t="6821" x="8909050" y="4027488"/>
          <p14:tracePt t="6822" x="8916988" y="4027488"/>
          <p14:tracePt t="6823" x="8924925" y="4032250"/>
          <p14:tracePt t="6824" x="8932863" y="4032250"/>
          <p14:tracePt t="6825" x="8940800" y="4032250"/>
          <p14:tracePt t="6826" x="8948738" y="4035425"/>
          <p14:tracePt t="6828" x="8964613" y="4035425"/>
          <p14:tracePt t="6829" x="8972550" y="4035425"/>
          <p14:tracePt t="6830" x="8985250" y="4040188"/>
          <p14:tracePt t="6831" x="8993188" y="4040188"/>
          <p14:tracePt t="6832" x="9001125" y="4040188"/>
          <p14:tracePt t="6833" x="9004300" y="4043363"/>
          <p14:tracePt t="6834" x="9017000" y="4043363"/>
          <p14:tracePt t="6835" x="9020175" y="4043363"/>
          <p14:tracePt t="6836" x="9028113" y="4043363"/>
          <p14:tracePt t="6837" x="9037638" y="4043363"/>
          <p14:tracePt t="6838" x="9045575" y="4048125"/>
          <p14:tracePt t="6839" x="9053513" y="4048125"/>
          <p14:tracePt t="6840" x="9061450" y="4048125"/>
          <p14:tracePt t="6841" x="9069388" y="4051300"/>
          <p14:tracePt t="6842" x="9077325" y="4051300"/>
          <p14:tracePt t="6843" x="9085263" y="4051300"/>
          <p14:tracePt t="6845" x="9109075" y="4056063"/>
          <p14:tracePt t="6846" x="9117013" y="4056063"/>
          <p14:tracePt t="6847" x="9120188" y="4056063"/>
          <p14:tracePt t="6848" x="9132888" y="4059238"/>
          <p14:tracePt t="6849" x="9140825" y="4059238"/>
          <p14:tracePt t="6850" x="9148763" y="4059238"/>
          <p14:tracePt t="6851" x="9156700" y="4059238"/>
          <p14:tracePt t="6852" x="9164638" y="4059238"/>
          <p14:tracePt t="6853" x="9172575" y="4064000"/>
          <p14:tracePt t="6854" x="9180513" y="4064000"/>
          <p14:tracePt t="6855" x="9188450" y="4064000"/>
          <p14:tracePt t="6856" x="9196388" y="4064000"/>
          <p14:tracePt t="6857" x="9204325" y="4064000"/>
          <p14:tracePt t="6859" x="9229725" y="4071938"/>
          <p14:tracePt t="6860" x="9237663" y="4071938"/>
          <p14:tracePt t="6861" x="9245600" y="4075113"/>
          <p14:tracePt t="6862" x="9253538" y="4075113"/>
          <p14:tracePt t="6863" x="9269413" y="4075113"/>
          <p14:tracePt t="6864" x="9277350" y="4075113"/>
          <p14:tracePt t="6865" x="9285288" y="4079875"/>
          <p14:tracePt t="6866" x="9288463" y="4079875"/>
          <p14:tracePt t="6867" x="9296400" y="4079875"/>
          <p14:tracePt t="6868" x="9309100" y="4083050"/>
          <p14:tracePt t="6869" x="9317038" y="4083050"/>
          <p14:tracePt t="6871" x="9324975" y="4083050"/>
          <p14:tracePt t="6871" x="9332913" y="4083050"/>
          <p14:tracePt t="6872" x="9340850" y="4083050"/>
          <p14:tracePt t="6873" x="9348788" y="4083050"/>
          <p14:tracePt t="6874" x="9364663" y="4087813"/>
          <p14:tracePt t="6876" x="9377363" y="4087813"/>
          <p14:tracePt t="6877" x="9385300" y="4087813"/>
          <p14:tracePt t="6878" x="9398000" y="4090988"/>
          <p14:tracePt t="6879" x="9405938" y="4090988"/>
          <p14:tracePt t="6880" x="9413875" y="4090988"/>
          <p14:tracePt t="6881" x="9424988" y="4090988"/>
          <p14:tracePt t="6893" x="9517063" y="4106863"/>
          <p14:tracePt t="6894" x="9521825" y="4106863"/>
          <p14:tracePt t="6895" x="9529763" y="4106863"/>
          <p14:tracePt t="6896" x="9537700" y="4106863"/>
          <p14:tracePt t="6897" x="9545638" y="4106863"/>
          <p14:tracePt t="6898" x="9553575" y="4106863"/>
          <p14:tracePt t="6899" x="9556750" y="4106863"/>
          <p14:tracePt t="6900" x="9564688" y="4111625"/>
          <p14:tracePt t="6901" x="9569450" y="4111625"/>
          <p14:tracePt t="6902" x="9582150" y="4111625"/>
          <p14:tracePt t="6903" x="9585325" y="4111625"/>
          <p14:tracePt t="6904" x="9593263" y="4111625"/>
          <p14:tracePt t="6905" x="9598025" y="4111625"/>
          <p14:tracePt t="6906" x="9605963" y="4111625"/>
          <p14:tracePt t="6907" x="9613900" y="4111625"/>
          <p14:tracePt t="6909" x="9625013" y="4111625"/>
          <p14:tracePt t="6910" x="9629775" y="4111625"/>
          <p14:tracePt t="6911" x="9637713" y="4111625"/>
          <p14:tracePt t="6912" x="9645650" y="4111625"/>
          <p14:tracePt t="6913" x="9648825" y="4111625"/>
          <p14:tracePt t="6914" x="9653588" y="4111625"/>
          <p14:tracePt t="6915" x="9656763" y="4111625"/>
          <p14:tracePt t="6916" x="9666288" y="4111625"/>
          <p14:tracePt t="6917" x="9674225" y="4111625"/>
          <p14:tracePt t="6918" x="9677400" y="4111625"/>
          <p14:tracePt t="6919" x="9685338" y="4111625"/>
          <p14:tracePt t="6920" x="9690100" y="4111625"/>
          <p14:tracePt t="6921" x="9698038" y="4111625"/>
          <p14:tracePt t="6922" x="9705975" y="4111625"/>
          <p14:tracePt t="6923" x="9713913" y="4111625"/>
          <p14:tracePt t="6924" x="9721850" y="4111625"/>
          <p14:tracePt t="6925" x="9725025" y="4111625"/>
          <p14:tracePt t="6926" x="9737725" y="4111625"/>
          <p14:tracePt t="6927" x="9740900" y="4111625"/>
          <p14:tracePt t="6928" x="9748838" y="4111625"/>
          <p14:tracePt t="6929" x="9758363" y="4111625"/>
          <p14:tracePt t="6930" x="9761538" y="4111625"/>
          <p14:tracePt t="6931" x="9769475" y="4111625"/>
          <p14:tracePt t="6932" x="9782175" y="4111625"/>
          <p14:tracePt t="6933" x="9790113" y="4111625"/>
          <p14:tracePt t="6934" x="9798050" y="4111625"/>
          <p14:tracePt t="6935" x="9801225" y="4111625"/>
          <p14:tracePt t="6936" x="9813925" y="4111625"/>
          <p14:tracePt t="6937" x="9821863" y="4111625"/>
          <p14:tracePt t="6938" x="9829800" y="4111625"/>
          <p14:tracePt t="6939" x="9832975" y="4111625"/>
          <p14:tracePt t="6940" x="9840913" y="4111625"/>
          <p14:tracePt t="6941" x="9850438" y="4111625"/>
          <p14:tracePt t="6942" x="9866313" y="4111625"/>
          <p14:tracePt t="6943" x="9874250" y="4111625"/>
          <p14:tracePt t="6944" x="9882188" y="4111625"/>
          <p14:tracePt t="6945" x="9885363" y="4111625"/>
          <p14:tracePt t="6946" x="9898063" y="4106863"/>
          <p14:tracePt t="6947" x="9906000" y="4106863"/>
          <p14:tracePt t="6948" x="9913938" y="4106863"/>
          <p14:tracePt t="6949" x="9921875" y="4106863"/>
          <p14:tracePt t="6950" x="9929813" y="4098925"/>
          <p14:tracePt t="6951" x="9937750" y="4098925"/>
          <p14:tracePt t="6953" x="9958388" y="4095750"/>
          <p14:tracePt t="6954" x="9966325" y="4095750"/>
          <p14:tracePt t="6955" x="9974263" y="4095750"/>
          <p14:tracePt t="6956" x="9985375" y="4095750"/>
          <p14:tracePt t="6957" x="9993313" y="4095750"/>
          <p14:tracePt t="6959" x="10009188" y="4090988"/>
          <p14:tracePt t="6960" x="10017125" y="4090988"/>
          <p14:tracePt t="6961" x="10034588" y="4090988"/>
          <p14:tracePt t="6962" x="10042525" y="4090988"/>
          <p14:tracePt t="6963" x="10050463" y="4087813"/>
          <p14:tracePt t="6964" x="10058400" y="4087813"/>
          <p14:tracePt t="6965" x="10066338" y="4087813"/>
          <p14:tracePt t="6966" x="10082213" y="4083050"/>
          <p14:tracePt t="6967" x="10090150" y="4083050"/>
          <p14:tracePt t="6968" x="10098088" y="4083050"/>
          <p14:tracePt t="6969" x="10106025" y="4079875"/>
          <p14:tracePt t="6970" x="10118725" y="4079875"/>
          <p14:tracePt t="6971" x="10129838" y="4075113"/>
          <p14:tracePt t="6972" x="10142538" y="4075113"/>
          <p14:tracePt t="6973" x="10150475" y="4075113"/>
          <p14:tracePt t="6974" x="10158413" y="4071938"/>
          <p14:tracePt t="6975" x="10166350" y="4071938"/>
          <p14:tracePt t="6976" x="10182225" y="4071938"/>
          <p14:tracePt t="6977" x="10190163" y="4067175"/>
          <p14:tracePt t="6978" x="10198100" y="4067175"/>
          <p14:tracePt t="6979" x="10210800" y="4067175"/>
          <p14:tracePt t="6980" x="10226675" y="4059238"/>
          <p14:tracePt t="6981" x="10234613" y="4059238"/>
          <p14:tracePt t="6982" x="10242550" y="4056063"/>
          <p14:tracePt t="6983" x="10250488" y="4056063"/>
          <p14:tracePt t="6984" x="10258425" y="4056063"/>
          <p14:tracePt t="6985" x="10274300" y="4051300"/>
          <p14:tracePt t="6986" x="10282238" y="4051300"/>
          <p14:tracePt t="6987" x="10293350" y="4048125"/>
          <p14:tracePt t="6988" x="10302875" y="4048125"/>
          <p14:tracePt t="6989" x="10310813" y="4048125"/>
          <p14:tracePt t="6990" x="10321925" y="4043363"/>
          <p14:tracePt t="6991" x="10329863" y="4040188"/>
          <p14:tracePt t="6992" x="10337800" y="4040188"/>
          <p14:tracePt t="6994" x="10353675" y="4035425"/>
          <p14:tracePt t="6995" x="10366375" y="4035425"/>
          <p14:tracePt t="6996" x="10369550" y="4032250"/>
          <p14:tracePt t="6997" x="10377488" y="4032250"/>
          <p14:tracePt t="6998" x="10387013" y="4032250"/>
          <p14:tracePt t="6999" x="10398125" y="4027488"/>
          <p14:tracePt t="7000" x="10406063" y="4024313"/>
          <p14:tracePt t="7001" x="10414000" y="4024313"/>
          <p14:tracePt t="7002" x="10418763" y="4019550"/>
          <p14:tracePt t="7003" x="10426700" y="4019550"/>
          <p14:tracePt t="7004" x="10434638" y="4014788"/>
          <p14:tracePt t="7005" x="10442575" y="4014788"/>
          <p14:tracePt t="7006" x="10445750" y="4011613"/>
          <p14:tracePt t="7007" x="10453688" y="4011613"/>
          <p14:tracePt t="7009" x="10466388" y="4006850"/>
          <p14:tracePt t="7011" x="10479088" y="3998913"/>
          <p14:tracePt t="7012" x="10482263" y="3998913"/>
          <p14:tracePt t="7013" x="10490200" y="3995738"/>
          <p14:tracePt t="7015" x="10494963" y="3990975"/>
          <p14:tracePt t="7016" x="10502900" y="3990975"/>
          <p14:tracePt t="7017" x="10506075" y="3987800"/>
          <p14:tracePt t="7018" x="10510838" y="3983038"/>
          <p14:tracePt t="7019" x="10514013" y="3983038"/>
          <p14:tracePt t="7020" x="10521950" y="3979863"/>
          <p14:tracePt t="7021" x="10526713" y="3979863"/>
          <p14:tracePt t="7022" x="10529888" y="3975100"/>
          <p14:tracePt t="7023" x="10534650" y="3975100"/>
          <p14:tracePt t="7024" x="10542588" y="3971925"/>
          <p14:tracePt t="7025" x="10545763" y="3967163"/>
          <p14:tracePt t="7027" x="10550525" y="3963988"/>
          <p14:tracePt t="7029" x="10553700" y="3959225"/>
          <p14:tracePt t="7031" x="10566400" y="3959225"/>
          <p14:tracePt t="7032" x="10571163" y="3959225"/>
          <p14:tracePt t="7033" x="10571163" y="3956050"/>
          <p14:tracePt t="7034" x="10579100" y="3951288"/>
          <p14:tracePt t="7036" x="10582275" y="3948113"/>
          <p14:tracePt t="7037" x="10587038" y="3948113"/>
          <p14:tracePt t="7038" x="10590213" y="3943350"/>
          <p14:tracePt t="7039" x="10594975" y="3940175"/>
          <p14:tracePt t="7040" x="10598150" y="3940175"/>
          <p14:tracePt t="7041" x="10598150" y="3935413"/>
          <p14:tracePt t="7042" x="10602913" y="3935413"/>
          <p14:tracePt t="7043" x="10602913" y="3930650"/>
          <p14:tracePt t="7044" x="10606088" y="3930650"/>
          <p14:tracePt t="7045" x="10606088" y="3927475"/>
          <p14:tracePt t="7046" x="10610850" y="3927475"/>
          <p14:tracePt t="7047" x="10610850" y="3922713"/>
          <p14:tracePt t="7048" x="10614025" y="3919538"/>
          <p14:tracePt t="7050" x="10618788" y="3914775"/>
          <p14:tracePt t="7052" x="10621963" y="3914775"/>
          <p14:tracePt t="7054" x="10626725" y="3911600"/>
          <p14:tracePt t="7055" x="10629900" y="3911600"/>
          <p14:tracePt t="7056" x="10629900" y="3906838"/>
          <p14:tracePt t="7057" x="10634663" y="3903663"/>
          <p14:tracePt t="7059" x="10637838" y="3898900"/>
          <p14:tracePt t="7061" x="10637838" y="3895725"/>
          <p14:tracePt t="7063" x="10642600" y="3890963"/>
          <p14:tracePt t="7064" x="10642600" y="3887788"/>
          <p14:tracePt t="7065" x="10642600" y="3883025"/>
          <p14:tracePt t="7066" x="10645775" y="3883025"/>
          <p14:tracePt t="7067" x="10645775" y="3879850"/>
          <p14:tracePt t="7069" x="10645775" y="3875088"/>
          <p14:tracePt t="7072" x="10645775" y="3871913"/>
          <p14:tracePt t="7074" x="10650538" y="3867150"/>
          <p14:tracePt t="7075" x="10650538" y="3863975"/>
          <p14:tracePt t="7077" x="10650538" y="3859213"/>
          <p14:tracePt t="7078" x="10650538" y="3856038"/>
          <p14:tracePt t="7079" x="10650538" y="3851275"/>
          <p14:tracePt t="7080" x="10650538" y="3848100"/>
          <p14:tracePt t="7082" x="10650538" y="3843338"/>
          <p14:tracePt t="7083" x="10653713" y="3838575"/>
          <p14:tracePt t="7084" x="10653713" y="3835400"/>
          <p14:tracePt t="7086" x="10658475" y="3835400"/>
          <p14:tracePt t="7087" x="10658475" y="3830638"/>
          <p14:tracePt t="7088" x="10658475" y="3827463"/>
          <p14:tracePt t="7089" x="10658475" y="3822700"/>
          <p14:tracePt t="7090" x="10658475" y="3819525"/>
          <p14:tracePt t="7091" x="10658475" y="3814763"/>
          <p14:tracePt t="7092" x="10658475" y="3811588"/>
          <p14:tracePt t="7094" x="10658475" y="3803650"/>
          <p14:tracePt t="7096" x="10658475" y="3795713"/>
          <p14:tracePt t="7098" x="10658475" y="3790950"/>
          <p14:tracePt t="7099" x="10658475" y="3783013"/>
          <p14:tracePt t="7100" x="10658475" y="3779838"/>
          <p14:tracePt t="7101" x="10658475" y="3775075"/>
          <p14:tracePt t="7102" x="10658475" y="3771900"/>
          <p14:tracePt t="7103" x="10658475" y="3767138"/>
          <p14:tracePt t="7104" x="10658475" y="3763963"/>
          <p14:tracePt t="7105" x="10658475" y="3759200"/>
          <p14:tracePt t="7106" x="10658475" y="3756025"/>
          <p14:tracePt t="7107" x="10658475" y="3746500"/>
          <p14:tracePt t="7109" x="10653713" y="3743325"/>
          <p14:tracePt t="7110" x="10653713" y="3738563"/>
          <p14:tracePt t="7111" x="10653713" y="3735388"/>
          <p14:tracePt t="7112" x="10650538" y="3727450"/>
          <p14:tracePt t="7113" x="10650538" y="3722688"/>
          <p14:tracePt t="7114" x="10650538" y="3719513"/>
          <p14:tracePt t="7115" x="10645775" y="3714750"/>
          <p14:tracePt t="7116" x="10645775" y="3711575"/>
          <p14:tracePt t="7117" x="10645775" y="3703638"/>
          <p14:tracePt t="7118" x="10645775" y="3698875"/>
          <p14:tracePt t="7119" x="10645775" y="3695700"/>
          <p14:tracePt t="7120" x="10642600" y="3690938"/>
          <p14:tracePt t="7122" x="10637838" y="3683000"/>
          <p14:tracePt t="7123" x="10637838" y="3679825"/>
          <p14:tracePt t="7124" x="10634663" y="3675063"/>
          <p14:tracePt t="7126" x="10634663" y="3671888"/>
          <p14:tracePt t="7127" x="10629900" y="3659188"/>
          <p14:tracePt t="7128" x="10626725" y="3654425"/>
          <p14:tracePt t="7129" x="10626725" y="3651250"/>
          <p14:tracePt t="7130" x="10621963" y="3646488"/>
          <p14:tracePt t="7131" x="10618788" y="3638550"/>
          <p14:tracePt t="7132" x="10614025" y="3635375"/>
          <p14:tracePt t="7133" x="10614025" y="3630613"/>
          <p14:tracePt t="7134" x="10610850" y="3627438"/>
          <p14:tracePt t="7135" x="10610850" y="3622675"/>
          <p14:tracePt t="7136" x="10606088" y="3614738"/>
          <p14:tracePt t="7137" x="10602913" y="3614738"/>
          <p14:tracePt t="7138" x="10598150" y="3611563"/>
          <p14:tracePt t="7139" x="10594975" y="3603625"/>
          <p14:tracePt t="7140" x="10590213" y="3598863"/>
          <p14:tracePt t="7141" x="10587038" y="3595688"/>
          <p14:tracePt t="7142" x="10582275" y="3587750"/>
          <p14:tracePt t="7144" x="10579100" y="3579813"/>
          <p14:tracePt t="7145" x="10574338" y="3575050"/>
          <p14:tracePt t="7146" x="10571163" y="3567113"/>
          <p14:tracePt t="7147" x="10566400" y="3562350"/>
          <p14:tracePt t="7148" x="10561638" y="3559175"/>
          <p14:tracePt t="7149" x="10558463" y="3551238"/>
          <p14:tracePt t="7150" x="10553700" y="3546475"/>
          <p14:tracePt t="7151" x="10550525" y="3543300"/>
          <p14:tracePt t="7152" x="10545763" y="3543300"/>
          <p14:tracePt t="7153" x="10542588" y="3535363"/>
          <p14:tracePt t="7154" x="10537825" y="3530600"/>
          <p14:tracePt t="7155" x="10534650" y="3527425"/>
          <p14:tracePt t="7156" x="10526713" y="3519488"/>
          <p14:tracePt t="7157" x="10521950" y="3514725"/>
          <p14:tracePt t="7159" x="10518775" y="3506788"/>
          <p14:tracePt t="7160" x="10514013" y="3503613"/>
          <p14:tracePt t="7162" x="10502900" y="3495675"/>
          <p14:tracePt t="7163" x="10498138" y="3490913"/>
          <p14:tracePt t="7164" x="10494963" y="3487738"/>
          <p14:tracePt t="7165" x="10490200" y="3482975"/>
          <p14:tracePt t="7166" x="10482263" y="3479800"/>
          <p14:tracePt t="7167" x="10479088" y="3475038"/>
          <p14:tracePt t="7168" x="10474325" y="3475038"/>
          <p14:tracePt t="7169" x="10469563" y="3470275"/>
          <p14:tracePt t="7170" x="10466388" y="3467100"/>
          <p14:tracePt t="7171" x="10461625" y="3462338"/>
          <p14:tracePt t="7172" x="10461625" y="3459163"/>
          <p14:tracePt t="7173" x="10453688" y="3454400"/>
          <p14:tracePt t="7174" x="10450513" y="3451225"/>
          <p14:tracePt t="7175" x="10445750" y="3446463"/>
          <p14:tracePt t="7176" x="10442575" y="3443288"/>
          <p14:tracePt t="7177" x="10437813" y="3443288"/>
          <p14:tracePt t="7180" x="10426700" y="3435350"/>
          <p14:tracePt t="7180" x="10421938" y="3430588"/>
          <p14:tracePt t="7181" x="10418763" y="3430588"/>
          <p14:tracePt t="7182" x="10414000" y="3427413"/>
          <p14:tracePt t="7183" x="10410825" y="3427413"/>
          <p14:tracePt t="7184" x="10402888" y="3422650"/>
          <p14:tracePt t="7185" x="10398125" y="3422650"/>
          <p14:tracePt t="7186" x="10394950" y="3419475"/>
          <p14:tracePt t="7187" x="10387013" y="3414713"/>
          <p14:tracePt t="7188" x="10387013" y="3411538"/>
          <p14:tracePt t="7189" x="10382250" y="3411538"/>
          <p14:tracePt t="7190" x="10374313" y="3406775"/>
          <p14:tracePt t="7191" x="10369550" y="3403600"/>
          <p14:tracePt t="7192" x="10366375" y="3398838"/>
          <p14:tracePt t="7193" x="10361613" y="3395663"/>
          <p14:tracePt t="7194" x="10358438" y="3395663"/>
          <p14:tracePt t="7196" x="10350500" y="3390900"/>
          <p14:tracePt t="7196" x="10345738" y="3387725"/>
          <p14:tracePt t="7197" x="10337800" y="3387725"/>
          <p14:tracePt t="7198" x="10334625" y="3382963"/>
          <p14:tracePt t="7199" x="10329863" y="3378200"/>
          <p14:tracePt t="7200" x="10321925" y="3378200"/>
          <p14:tracePt t="7201" x="10313988" y="3375025"/>
          <p14:tracePt t="7202" x="10310813" y="3370263"/>
          <p14:tracePt t="7204" x="10302875" y="3370263"/>
          <p14:tracePt t="7204" x="10298113" y="3367088"/>
          <p14:tracePt t="7205" x="10290175" y="3362325"/>
          <p14:tracePt t="7207" x="10282238" y="3359150"/>
          <p14:tracePt t="7208" x="10277475" y="3359150"/>
          <p14:tracePt t="7209" x="10269538" y="3354388"/>
          <p14:tracePt t="7210" x="10261600" y="3354388"/>
          <p14:tracePt t="7212" x="10258425" y="3351213"/>
          <p14:tracePt t="7213" x="10253663" y="3351213"/>
          <p14:tracePt t="7213" x="10250488" y="3351213"/>
          <p14:tracePt t="7214" x="10242550" y="3346450"/>
          <p14:tracePt t="7215" x="10234613" y="3346450"/>
          <p14:tracePt t="7216" x="10229850" y="3343275"/>
          <p14:tracePt t="7217" x="10221913" y="3343275"/>
          <p14:tracePt t="7218" x="10218738" y="3338513"/>
          <p14:tracePt t="7219" x="10210800" y="3338513"/>
          <p14:tracePt t="7220" x="10206038" y="3335338"/>
          <p14:tracePt t="7221" x="10198100" y="3335338"/>
          <p14:tracePt t="7222" x="10193338" y="3335338"/>
          <p14:tracePt t="7223" x="10190163" y="3330575"/>
          <p14:tracePt t="7224" x="10185400" y="3330575"/>
          <p14:tracePt t="7225" x="10174288" y="3327400"/>
          <p14:tracePt t="7226" x="10169525" y="3327400"/>
          <p14:tracePt t="7227" x="10161588" y="3322638"/>
          <p14:tracePt t="7229" x="10158413" y="3319463"/>
          <p14:tracePt t="7230" x="10150475" y="3319463"/>
          <p14:tracePt t="7231" x="10137775" y="3314700"/>
          <p14:tracePt t="7233" x="10129838" y="3314700"/>
          <p14:tracePt t="7234" x="10118725" y="3311525"/>
          <p14:tracePt t="7236" x="10109200" y="3311525"/>
          <p14:tracePt t="7237" x="10106025" y="3306763"/>
          <p14:tracePt t="7238" x="10098088" y="3306763"/>
          <p14:tracePt t="7239" x="10090150" y="3303588"/>
          <p14:tracePt t="7240" x="10085388" y="3303588"/>
          <p14:tracePt t="7241" x="10077450" y="3303588"/>
          <p14:tracePt t="7242" x="10069513" y="3298825"/>
          <p14:tracePt t="7243" x="10066338" y="3298825"/>
          <p14:tracePt t="7244" x="10058400" y="3298825"/>
          <p14:tracePt t="7245" x="10050463" y="3298825"/>
          <p14:tracePt t="7246" x="10037763" y="3295650"/>
          <p14:tracePt t="7248" x="10029825" y="3290888"/>
          <p14:tracePt t="7250" x="10021888" y="3290888"/>
          <p14:tracePt t="7250" x="10009188" y="3290888"/>
          <p14:tracePt t="7251" x="10001250" y="3282950"/>
          <p14:tracePt t="7252" x="9993313" y="3282950"/>
          <p14:tracePt t="7253" x="9985375" y="3282950"/>
          <p14:tracePt t="7254" x="9977438" y="3278188"/>
          <p14:tracePt t="7255" x="9969500" y="3278188"/>
          <p14:tracePt t="7256" x="9961563" y="3278188"/>
          <p14:tracePt t="7257" x="9958388" y="3275013"/>
          <p14:tracePt t="7259" x="9937750" y="3275013"/>
          <p14:tracePt t="7261" x="9925050" y="3270250"/>
          <p14:tracePt t="7262" x="9917113" y="3270250"/>
          <p14:tracePt t="7263" x="9906000" y="3270250"/>
          <p14:tracePt t="7264" x="9893300" y="3267075"/>
          <p14:tracePt t="7265" x="9885363" y="3267075"/>
          <p14:tracePt t="7266" x="9877425" y="3267075"/>
          <p14:tracePt t="7267" x="9874250" y="3267075"/>
          <p14:tracePt t="7268" x="9861550" y="3267075"/>
          <p14:tracePt t="7269" x="9853613" y="3267075"/>
          <p14:tracePt t="7270" x="9850438" y="3262313"/>
          <p14:tracePt t="7271" x="9840913" y="3262313"/>
          <p14:tracePt t="7272" x="9832975" y="3262313"/>
          <p14:tracePt t="7273" x="9825038" y="3262313"/>
          <p14:tracePt t="7274" x="9817100" y="3262313"/>
          <p14:tracePt t="7276" x="9809163" y="3259138"/>
          <p14:tracePt t="7277" x="9798050" y="3259138"/>
          <p14:tracePt t="7278" x="9790113" y="3259138"/>
          <p14:tracePt t="7279" x="9782175" y="3259138"/>
          <p14:tracePt t="7280" x="9777413" y="3254375"/>
          <p14:tracePt t="7281" x="9769475" y="3254375"/>
          <p14:tracePt t="7282" x="9761538" y="3254375"/>
          <p14:tracePt t="7283" x="9753600" y="3254375"/>
          <p14:tracePt t="7284" x="9748838" y="3254375"/>
          <p14:tracePt t="7285" x="9740900" y="3254375"/>
          <p14:tracePt t="7286" x="9737725" y="3251200"/>
          <p14:tracePt t="7287" x="9729788" y="3251200"/>
          <p14:tracePt t="7288" x="9721850" y="3251200"/>
          <p14:tracePt t="7289" x="9717088" y="3251200"/>
          <p14:tracePt t="7290" x="9713913" y="3251200"/>
          <p14:tracePt t="7291" x="9709150" y="3251200"/>
          <p14:tracePt t="7292" x="9701213" y="3251200"/>
          <p14:tracePt t="7294" x="9690100" y="3243263"/>
          <p14:tracePt t="7295" x="9685338" y="3243263"/>
          <p14:tracePt t="7296" x="9677400" y="3243263"/>
          <p14:tracePt t="7297" x="9674225" y="3243263"/>
          <p14:tracePt t="7298" x="9666288" y="3243263"/>
          <p14:tracePt t="7299" x="9656763" y="3243263"/>
          <p14:tracePt t="7300" x="9653588" y="3243263"/>
          <p14:tracePt t="7301" x="9648825" y="3243263"/>
          <p14:tracePt t="7302" x="9640888" y="3243263"/>
          <p14:tracePt t="7303" x="9632950" y="3238500"/>
          <p14:tracePt t="7304" x="9625013" y="3238500"/>
          <p14:tracePt t="7305" x="9621838" y="3238500"/>
          <p14:tracePt t="7306" x="9613900" y="3238500"/>
          <p14:tracePt t="7307" x="9605963" y="3238500"/>
          <p14:tracePt t="7309" x="9593263" y="3235325"/>
          <p14:tracePt t="7310" x="9590088" y="3235325"/>
          <p14:tracePt t="7311" x="9582150" y="3235325"/>
          <p14:tracePt t="7312" x="9574213" y="3230563"/>
          <p14:tracePt t="7313" x="9569450" y="3230563"/>
          <p14:tracePt t="7314" x="9561513" y="3230563"/>
          <p14:tracePt t="7315" x="9556750" y="3230563"/>
          <p14:tracePt t="7316" x="9548813" y="3230563"/>
          <p14:tracePt t="7317" x="9540875" y="3230563"/>
          <p14:tracePt t="7318" x="9537700" y="3227388"/>
          <p14:tracePt t="7319" x="9529763" y="3227388"/>
          <p14:tracePt t="7320" x="9525000" y="3227388"/>
          <p14:tracePt t="7321" x="9517063" y="3227388"/>
          <p14:tracePt t="7322" x="9509125" y="3227388"/>
          <p14:tracePt t="7323" x="9505950" y="3227388"/>
          <p14:tracePt t="7324" x="9501188" y="3227388"/>
          <p14:tracePt t="7325" x="9498013" y="3222625"/>
          <p14:tracePt t="7327" x="9490075" y="3222625"/>
          <p14:tracePt t="7328" x="9480550" y="3222625"/>
          <p14:tracePt t="7328" x="9472613" y="3222625"/>
          <p14:tracePt t="7329" x="9469438" y="3222625"/>
          <p14:tracePt t="7330" x="9461500" y="3219450"/>
          <p14:tracePt t="7331" x="9453563" y="3219450"/>
          <p14:tracePt t="7332" x="9445625" y="3219450"/>
          <p14:tracePt t="7333" x="9440863" y="3219450"/>
          <p14:tracePt t="7334" x="9432925" y="3214688"/>
          <p14:tracePt t="7335" x="9429750" y="3214688"/>
          <p14:tracePt t="7336" x="9421813" y="3214688"/>
          <p14:tracePt t="7337" x="9413875" y="3214688"/>
          <p14:tracePt t="7338" x="9405938" y="3214688"/>
          <p14:tracePt t="7339" x="9401175" y="3211513"/>
          <p14:tracePt t="7340" x="9393238" y="3211513"/>
          <p14:tracePt t="7341" x="9385300" y="3211513"/>
          <p14:tracePt t="7342" x="9377363" y="3211513"/>
          <p14:tracePt t="7344" x="9361488" y="3206750"/>
          <p14:tracePt t="7345" x="9356725" y="3206750"/>
          <p14:tracePt t="7346" x="9345613" y="3206750"/>
          <p14:tracePt t="7347" x="9337675" y="3206750"/>
          <p14:tracePt t="7348" x="9332913" y="3203575"/>
          <p14:tracePt t="7349" x="9324975" y="3203575"/>
          <p14:tracePt t="7350" x="9317038" y="3203575"/>
          <p14:tracePt t="7351" x="9301163" y="3203575"/>
          <p14:tracePt t="7352" x="9296400" y="3203575"/>
          <p14:tracePt t="7353" x="9288463" y="3203575"/>
          <p14:tracePt t="7354" x="9280525" y="3203575"/>
          <p14:tracePt t="7355" x="9272588" y="3203575"/>
          <p14:tracePt t="7356" x="9264650" y="3203575"/>
          <p14:tracePt t="7357" x="9256713" y="3194050"/>
          <p14:tracePt t="7358" x="9253538" y="3194050"/>
          <p14:tracePt t="7359" x="9245600" y="3194050"/>
          <p14:tracePt t="7361" x="9229725" y="3190875"/>
          <p14:tracePt t="7362" x="9221788" y="3190875"/>
          <p14:tracePt t="7363" x="9213850" y="3190875"/>
          <p14:tracePt t="7364" x="9209088" y="3186113"/>
          <p14:tracePt t="7365" x="9201150" y="3186113"/>
          <p14:tracePt t="7366" x="9193213" y="3186113"/>
          <p14:tracePt t="7367" x="9185275" y="3186113"/>
          <p14:tracePt t="7368" x="9180513" y="3186113"/>
          <p14:tracePt t="7369" x="9172575" y="3186113"/>
          <p14:tracePt t="7370" x="9164638" y="3186113"/>
          <p14:tracePt t="7371" x="9156700" y="3186113"/>
          <p14:tracePt t="7372" x="9153525" y="3186113"/>
          <p14:tracePt t="7373" x="9145588" y="3186113"/>
          <p14:tracePt t="7374" x="9140825" y="3186113"/>
          <p14:tracePt t="7376" x="9124950" y="3182938"/>
          <p14:tracePt t="7377" x="9120188" y="3182938"/>
          <p14:tracePt t="7378" x="9112250" y="3182938"/>
          <p14:tracePt t="7379" x="9104313" y="3182938"/>
          <p14:tracePt t="7380" x="9096375" y="3182938"/>
          <p14:tracePt t="7381" x="9093200" y="3182938"/>
          <p14:tracePt t="7382" x="9085263" y="3178175"/>
          <p14:tracePt t="7383" x="9080500" y="3178175"/>
          <p14:tracePt t="7385" x="9072563" y="3178175"/>
          <p14:tracePt t="7386" x="9069388" y="3178175"/>
          <p14:tracePt t="7387" x="9061450" y="3178175"/>
          <p14:tracePt t="7388" x="9056688" y="3178175"/>
          <p14:tracePt t="7389" x="9053513" y="3178175"/>
          <p14:tracePt t="7390" x="9045575" y="3175000"/>
          <p14:tracePt t="7391" x="9040813" y="3175000"/>
          <p14:tracePt t="7392" x="9037638" y="3175000"/>
          <p14:tracePt t="7394" x="9028113" y="3175000"/>
          <p14:tracePt t="7395" x="9020175" y="3175000"/>
          <p14:tracePt t="7396" x="9017000" y="3175000"/>
          <p14:tracePt t="7398" x="9012238" y="3175000"/>
          <p14:tracePt t="7399" x="9004300" y="3175000"/>
          <p14:tracePt t="7400" x="9001125" y="3170238"/>
          <p14:tracePt t="7401" x="8996363" y="3170238"/>
          <p14:tracePt t="7402" x="8993188" y="3170238"/>
          <p14:tracePt t="7403" x="8988425" y="3170238"/>
          <p14:tracePt t="7404" x="8985250" y="3170238"/>
          <p14:tracePt t="7405" x="8980488" y="3170238"/>
          <p14:tracePt t="7406" x="8977313" y="3170238"/>
          <p14:tracePt t="7407" x="8972550" y="3170238"/>
          <p14:tracePt t="7409" x="8969375" y="3170238"/>
          <p14:tracePt t="7410" x="8964613" y="3170238"/>
          <p14:tracePt t="7411" x="8961438" y="3170238"/>
          <p14:tracePt t="7412" x="8956675" y="3170238"/>
          <p14:tracePt t="7413" x="8953500" y="3170238"/>
          <p14:tracePt t="7414" x="8948738" y="3170238"/>
          <p14:tracePt t="7415" x="8945563" y="3170238"/>
          <p14:tracePt t="7416" x="8940800" y="3170238"/>
          <p14:tracePt t="7417" x="8936038" y="3167063"/>
          <p14:tracePt t="7418" x="8932863" y="3167063"/>
          <p14:tracePt t="7419" x="8928100" y="3167063"/>
          <p14:tracePt t="7421" x="8924925" y="3167063"/>
          <p14:tracePt t="7422" x="8920163" y="3167063"/>
          <p14:tracePt t="7423" x="8916988" y="3167063"/>
          <p14:tracePt t="7424" x="8912225" y="3167063"/>
          <p14:tracePt t="7425" x="8909050" y="3167063"/>
          <p14:tracePt t="7426" x="8904288" y="3167063"/>
          <p14:tracePt t="7427" x="8901113" y="3167063"/>
          <p14:tracePt t="7428" x="8896350" y="3167063"/>
          <p14:tracePt t="7429" x="8893175" y="3167063"/>
          <p14:tracePt t="7430" x="8888413" y="3167063"/>
          <p14:tracePt t="7432" x="8885238" y="3167063"/>
          <p14:tracePt t="7433" x="8880475" y="3167063"/>
          <p14:tracePt t="7434" x="8877300" y="3167063"/>
          <p14:tracePt t="7435" x="8869363" y="3167063"/>
          <p14:tracePt t="7436" x="8864600" y="3167063"/>
          <p14:tracePt t="7437" x="8861425" y="3167063"/>
          <p14:tracePt t="7438" x="8856663" y="3167063"/>
          <p14:tracePt t="7439" x="8853488" y="3167063"/>
          <p14:tracePt t="7440" x="8848725" y="3167063"/>
          <p14:tracePt t="7441" x="8843963" y="3167063"/>
          <p14:tracePt t="7443" x="8840788" y="3167063"/>
          <p14:tracePt t="7444" x="8832850" y="3167063"/>
          <p14:tracePt t="7445" x="8828088" y="3167063"/>
          <p14:tracePt t="7446" x="8824913" y="3167063"/>
          <p14:tracePt t="7447" x="8820150" y="3167063"/>
          <p14:tracePt t="7448" x="8812213" y="3167063"/>
          <p14:tracePt t="7449" x="8809038" y="3167063"/>
          <p14:tracePt t="7450" x="8804275" y="3167063"/>
          <p14:tracePt t="7451" x="8801100" y="3167063"/>
          <p14:tracePt t="7452" x="8796338" y="3167063"/>
          <p14:tracePt t="7453" x="8793163" y="3167063"/>
          <p14:tracePt t="7455" x="8785225" y="3167063"/>
          <p14:tracePt t="7456" x="8780463" y="3167063"/>
          <p14:tracePt t="7457" x="8777288" y="3167063"/>
          <p14:tracePt t="7459" x="8769350" y="3167063"/>
          <p14:tracePt t="7460" x="8764588" y="3167063"/>
          <p14:tracePt t="7461" x="8761413" y="3167063"/>
          <p14:tracePt t="7462" x="8756650" y="3167063"/>
          <p14:tracePt t="7463" x="8751888" y="3167063"/>
          <p14:tracePt t="7464" x="8748713" y="3170238"/>
          <p14:tracePt t="7465" x="8743950" y="3170238"/>
          <p14:tracePt t="7466" x="8740775" y="3170238"/>
          <p14:tracePt t="7467" x="8736013" y="3170238"/>
          <p14:tracePt t="7468" x="8732838" y="3170238"/>
          <p14:tracePt t="7469" x="8728075" y="3170238"/>
          <p14:tracePt t="7470" x="8724900" y="3170238"/>
          <p14:tracePt t="7471" x="8716963" y="3170238"/>
          <p14:tracePt t="7472" x="8712200" y="3175000"/>
          <p14:tracePt t="7473" x="8709025" y="3175000"/>
          <p14:tracePt t="7474" x="8704263" y="3175000"/>
          <p14:tracePt t="7475" x="8701088" y="3178175"/>
          <p14:tracePt t="7476" x="8696325" y="3178175"/>
          <p14:tracePt t="7478" x="8693150" y="3178175"/>
          <p14:tracePt t="7479" x="8688388" y="3182938"/>
          <p14:tracePt t="7480" x="8685213" y="3182938"/>
          <p14:tracePt t="7481" x="8680450" y="3182938"/>
          <p14:tracePt t="7482" x="8677275" y="3186113"/>
          <p14:tracePt t="7483" x="8672513" y="3186113"/>
          <p14:tracePt t="7484" x="8667750" y="3186113"/>
          <p14:tracePt t="7485" x="8664575" y="3190875"/>
          <p14:tracePt t="7486" x="8659813" y="3190875"/>
          <p14:tracePt t="7487" x="8656638" y="3190875"/>
          <p14:tracePt t="7488" x="8656638" y="3194050"/>
          <p14:tracePt t="7490" x="8651875" y="3194050"/>
          <p14:tracePt t="7491" x="8648700" y="3198813"/>
          <p14:tracePt t="7492" x="8643938" y="3198813"/>
          <p14:tracePt t="7494" x="8640763" y="3203575"/>
          <p14:tracePt t="7495" x="8636000" y="3203575"/>
          <p14:tracePt t="7496" x="8632825" y="3206750"/>
          <p14:tracePt t="7499" x="8624888" y="3211513"/>
          <p14:tracePt t="7501" x="8620125" y="3211513"/>
          <p14:tracePt t="7502" x="8616950" y="3214688"/>
          <p14:tracePt t="7504" x="8612188" y="3219450"/>
          <p14:tracePt t="7506" x="8609013" y="3222625"/>
          <p14:tracePt t="7507" x="8604250" y="3222625"/>
          <p14:tracePt t="7508" x="8601075" y="3227388"/>
          <p14:tracePt t="7510" x="8596313" y="3230563"/>
          <p14:tracePt t="7511" x="8593138" y="3230563"/>
          <p14:tracePt t="7512" x="8588375" y="3235325"/>
          <p14:tracePt t="7513" x="8585200" y="3238500"/>
          <p14:tracePt t="7516" x="8580438" y="3243263"/>
          <p14:tracePt t="7516" x="8580438" y="3246438"/>
          <p14:tracePt t="7517" x="8575675" y="3246438"/>
          <p14:tracePt t="7518" x="8575675" y="3251200"/>
          <p14:tracePt t="7520" x="8572500" y="3251200"/>
          <p14:tracePt t="7521" x="8567738" y="3254375"/>
          <p14:tracePt t="7522" x="8564563" y="3259138"/>
          <p14:tracePt t="7523" x="8559800" y="3259138"/>
          <p14:tracePt t="7524" x="8559800" y="3262313"/>
          <p14:tracePt t="7525" x="8556625" y="3267075"/>
          <p14:tracePt t="7526" x="8551863" y="3270250"/>
          <p14:tracePt t="7528" x="8548688" y="3275013"/>
          <p14:tracePt t="7529" x="8543925" y="3278188"/>
          <p14:tracePt t="7530" x="8540750" y="3282950"/>
          <p14:tracePt t="7532" x="8535988" y="3286125"/>
          <p14:tracePt t="7533" x="8535988" y="3290888"/>
          <p14:tracePt t="7534" x="8532813" y="3295650"/>
          <p14:tracePt t="7536" x="8528050" y="3298825"/>
          <p14:tracePt t="7538" x="8524875" y="3303588"/>
          <p14:tracePt t="7538" x="8520113" y="3303588"/>
          <p14:tracePt t="7539" x="8516938" y="3306763"/>
          <p14:tracePt t="7540" x="8516938" y="3311525"/>
          <p14:tracePt t="7541" x="8512175" y="3314700"/>
          <p14:tracePt t="7542" x="8509000" y="3319463"/>
          <p14:tracePt t="7543" x="8509000" y="3322638"/>
          <p14:tracePt t="7544" x="8504238" y="3322638"/>
          <p14:tracePt t="7545" x="8501063" y="3327400"/>
          <p14:tracePt t="7546" x="8501063" y="3335338"/>
          <p14:tracePt t="7547" x="8496300" y="3335338"/>
          <p14:tracePt t="7548" x="8493125" y="3338513"/>
          <p14:tracePt t="7550" x="8493125" y="3343275"/>
          <p14:tracePt t="7551" x="8488363" y="3346450"/>
          <p14:tracePt t="7552" x="8488363" y="3351213"/>
          <p14:tracePt t="7553" x="8483600" y="3354388"/>
          <p14:tracePt t="7555" x="8483600" y="3359150"/>
          <p14:tracePt t="7556" x="8480425" y="3362325"/>
          <p14:tracePt t="7557" x="8480425" y="3367088"/>
          <p14:tracePt t="7558" x="8480425" y="3370263"/>
          <p14:tracePt t="7559" x="8475663" y="3375025"/>
          <p14:tracePt t="7560" x="8475663" y="3378200"/>
          <p14:tracePt t="7563" x="8472488" y="3378200"/>
          <p14:tracePt t="7564" x="8472488" y="3382963"/>
          <p14:tracePt t="7565" x="8467725" y="3387725"/>
          <p14:tracePt t="7566" x="8467725" y="3390900"/>
          <p14:tracePt t="7567" x="8467725" y="3395663"/>
          <p14:tracePt t="7568" x="8467725" y="3398838"/>
          <p14:tracePt t="7569" x="8464550" y="3403600"/>
          <p14:tracePt t="7570" x="8464550" y="3406775"/>
          <p14:tracePt t="7572" x="8464550" y="3411538"/>
          <p14:tracePt t="7573" x="8464550" y="3414713"/>
          <p14:tracePt t="7574" x="8464550" y="3419475"/>
          <p14:tracePt t="7576" x="8464550" y="3422650"/>
          <p14:tracePt t="7577" x="8464550" y="3427413"/>
          <p14:tracePt t="7579" x="8464550" y="3430588"/>
          <p14:tracePt t="7580" x="8464550" y="3435350"/>
          <p14:tracePt t="7581" x="8464550" y="3438525"/>
          <p14:tracePt t="7582" x="8464550" y="3443288"/>
          <p14:tracePt t="7583" x="8464550" y="3446463"/>
          <p14:tracePt t="7584" x="8464550" y="3451225"/>
          <p14:tracePt t="7585" x="8464550" y="3454400"/>
          <p14:tracePt t="7587" x="8464550" y="3459163"/>
          <p14:tracePt t="7589" x="8464550" y="3462338"/>
          <p14:tracePt t="7590" x="8464550" y="3467100"/>
          <p14:tracePt t="7591" x="8464550" y="3470275"/>
          <p14:tracePt t="7592" x="8464550" y="3475038"/>
          <p14:tracePt t="7594" x="8464550" y="3482975"/>
          <p14:tracePt t="7595" x="8464550" y="3487738"/>
          <p14:tracePt t="7596" x="8467725" y="3490913"/>
          <p14:tracePt t="7597" x="8467725" y="3495675"/>
          <p14:tracePt t="7598" x="8467725" y="3498850"/>
          <p14:tracePt t="7599" x="8472488" y="3498850"/>
          <p14:tracePt t="7600" x="8472488" y="3503613"/>
          <p14:tracePt t="7601" x="8472488" y="3506788"/>
          <p14:tracePt t="7602" x="8475663" y="3511550"/>
          <p14:tracePt t="7603" x="8475663" y="3514725"/>
          <p14:tracePt t="7604" x="8475663" y="3519488"/>
          <p14:tracePt t="7605" x="8480425" y="3522663"/>
          <p14:tracePt t="7606" x="8480425" y="3527425"/>
          <p14:tracePt t="7607" x="8480425" y="3530600"/>
          <p14:tracePt t="7608" x="8483600" y="3535363"/>
          <p14:tracePt t="7610" x="8483600" y="3538538"/>
          <p14:tracePt t="7611" x="8488363" y="3543300"/>
          <p14:tracePt t="7613" x="8488363" y="3546475"/>
          <p14:tracePt t="7614" x="8493125" y="3551238"/>
          <p14:tracePt t="7615" x="8493125" y="3554413"/>
          <p14:tracePt t="7616" x="8493125" y="3559175"/>
          <p14:tracePt t="7617" x="8496300" y="3562350"/>
          <p14:tracePt t="7619" x="8496300" y="3571875"/>
          <p14:tracePt t="7620" x="8501063" y="3575050"/>
          <p14:tracePt t="7622" x="8504238" y="3579813"/>
          <p14:tracePt t="7623" x="8504238" y="3582988"/>
          <p14:tracePt t="7625" x="8509000" y="3587750"/>
          <p14:tracePt t="7626" x="8512175" y="3590925"/>
          <p14:tracePt t="7628" x="8516938" y="3595688"/>
          <p14:tracePt t="7629" x="8516938" y="3598863"/>
          <p14:tracePt t="7630" x="8520113" y="3603625"/>
          <p14:tracePt t="7631" x="8520113" y="3606800"/>
          <p14:tracePt t="7632" x="8524875" y="3611563"/>
          <p14:tracePt t="7633" x="8524875" y="3614738"/>
          <p14:tracePt t="7634" x="8528050" y="3619500"/>
          <p14:tracePt t="7635" x="8532813" y="3622675"/>
          <p14:tracePt t="7637" x="8532813" y="3627438"/>
          <p14:tracePt t="7639" x="8535988" y="3630613"/>
          <p14:tracePt t="7640" x="8535988" y="3635375"/>
          <p14:tracePt t="7641" x="8540750" y="3638550"/>
          <p14:tracePt t="7642" x="8543925" y="3643313"/>
          <p14:tracePt t="7643" x="8543925" y="3646488"/>
          <p14:tracePt t="7644" x="8548688" y="3651250"/>
          <p14:tracePt t="7645" x="8551863" y="3654425"/>
          <p14:tracePt t="7646" x="8551863" y="3659188"/>
          <p14:tracePt t="7647" x="8556625" y="3663950"/>
          <p14:tracePt t="7648" x="8559800" y="3667125"/>
          <p14:tracePt t="7649" x="8564563" y="3667125"/>
          <p14:tracePt t="7650" x="8564563" y="3671888"/>
          <p14:tracePt t="7651" x="8567738" y="3675063"/>
          <p14:tracePt t="7652" x="8572500" y="3679825"/>
          <p14:tracePt t="7653" x="8572500" y="3683000"/>
          <p14:tracePt t="7654" x="8575675" y="3687763"/>
          <p14:tracePt t="7655" x="8580438" y="3690938"/>
          <p14:tracePt t="7656" x="8585200" y="3695700"/>
          <p14:tracePt t="7657" x="8588375" y="3698875"/>
          <p14:tracePt t="7658" x="8593138" y="3703638"/>
          <p14:tracePt t="7659" x="8596313" y="3711575"/>
          <p14:tracePt t="7660" x="8601075" y="3714750"/>
          <p14:tracePt t="7661" x="8604250" y="3714750"/>
          <p14:tracePt t="7662" x="8609013" y="3719513"/>
          <p14:tracePt t="7663" x="8612188" y="3722688"/>
          <p14:tracePt t="7664" x="8620125" y="3727450"/>
          <p14:tracePt t="7665" x="8624888" y="3738563"/>
          <p14:tracePt t="7666" x="8628063" y="3738563"/>
          <p14:tracePt t="7667" x="8636000" y="3743325"/>
          <p14:tracePt t="7668" x="8640763" y="3746500"/>
          <p14:tracePt t="7669" x="8648700" y="3751263"/>
          <p14:tracePt t="7670" x="8651875" y="3763963"/>
          <p14:tracePt t="7671" x="8659813" y="3767138"/>
          <p14:tracePt t="7672" x="8664575" y="3771900"/>
          <p14:tracePt t="7673" x="8672513" y="3779838"/>
          <p14:tracePt t="7674" x="8680450" y="3783013"/>
          <p14:tracePt t="7675" x="8685213" y="3787775"/>
          <p14:tracePt t="7676" x="8693150" y="3790950"/>
          <p14:tracePt t="7677" x="8701088" y="3795713"/>
          <p14:tracePt t="7679" x="8709025" y="3803650"/>
          <p14:tracePt t="7680" x="8720138" y="3811588"/>
          <p14:tracePt t="7681" x="8724900" y="3814763"/>
          <p14:tracePt t="7682" x="8732838" y="3819525"/>
          <p14:tracePt t="7683" x="8743950" y="3827463"/>
          <p14:tracePt t="7684" x="8751888" y="3830638"/>
          <p14:tracePt t="7685" x="8761413" y="3835400"/>
          <p14:tracePt t="7686" x="8764588" y="3838575"/>
          <p14:tracePt t="7687" x="8772525" y="3843338"/>
          <p14:tracePt t="7688" x="8780463" y="3848100"/>
          <p14:tracePt t="7689" x="8788400" y="3851275"/>
          <p14:tracePt t="7690" x="8793163" y="3856038"/>
          <p14:tracePt t="7691" x="8801100" y="3859213"/>
          <p14:tracePt t="7692" x="8809038" y="3863975"/>
          <p14:tracePt t="7693" x="8820150" y="3875088"/>
          <p14:tracePt t="7694" x="8824913" y="3875088"/>
          <p14:tracePt t="7696" x="8840788" y="3883025"/>
          <p14:tracePt t="7697" x="8848725" y="3887788"/>
          <p14:tracePt t="7698" x="8856663" y="3890963"/>
          <p14:tracePt t="7699" x="8861425" y="3895725"/>
          <p14:tracePt t="7700" x="8869363" y="3898900"/>
          <p14:tracePt t="7701" x="8877300" y="3903663"/>
          <p14:tracePt t="7702" x="8885238" y="3903663"/>
          <p14:tracePt t="7703" x="8893175" y="3906838"/>
          <p14:tracePt t="7704" x="8904288" y="3911600"/>
          <p14:tracePt t="7705" x="8909050" y="3914775"/>
          <p14:tracePt t="7706" x="8916988" y="3919538"/>
          <p14:tracePt t="7707" x="8924925" y="3922713"/>
          <p14:tracePt t="7708" x="8932863" y="3922713"/>
          <p14:tracePt t="7709" x="8940800" y="3927475"/>
          <p14:tracePt t="7710" x="8948738" y="3930650"/>
          <p14:tracePt t="7711" x="8956675" y="3930650"/>
          <p14:tracePt t="7713" x="8977313" y="3943350"/>
          <p14:tracePt t="7714" x="8985250" y="3948113"/>
          <p14:tracePt t="7715" x="8993188" y="3951288"/>
          <p14:tracePt t="7716" x="9001125" y="3951288"/>
          <p14:tracePt t="7717" x="9009063" y="3956050"/>
          <p14:tracePt t="7718" x="9017000" y="3959225"/>
          <p14:tracePt t="7719" x="9028113" y="3963988"/>
          <p14:tracePt t="7720" x="9037638" y="3963988"/>
          <p14:tracePt t="7721" x="9045575" y="3967163"/>
          <p14:tracePt t="7722" x="9053513" y="3971925"/>
          <p14:tracePt t="7723" x="9061450" y="3971925"/>
          <p14:tracePt t="7724" x="9069388" y="3975100"/>
          <p14:tracePt t="7725" x="9077325" y="3975100"/>
          <p14:tracePt t="7726" x="9085263" y="3979863"/>
          <p14:tracePt t="7727" x="9096375" y="3987800"/>
          <p14:tracePt t="7729" x="9112250" y="3990975"/>
          <p14:tracePt t="7730" x="9117013" y="3990975"/>
          <p14:tracePt t="7731" x="9124950" y="3995738"/>
          <p14:tracePt t="7732" x="9137650" y="3995738"/>
          <p14:tracePt t="7733" x="9140825" y="3998913"/>
          <p14:tracePt t="7734" x="9148763" y="3998913"/>
          <p14:tracePt t="7735" x="9156700" y="3998913"/>
          <p14:tracePt t="7736" x="9172575" y="4003675"/>
          <p14:tracePt t="7737" x="9180513" y="4003675"/>
          <p14:tracePt t="7738" x="9185275" y="4006850"/>
          <p14:tracePt t="7739" x="9188450" y="4006850"/>
          <p14:tracePt t="7740" x="9201150" y="4011613"/>
          <p14:tracePt t="7741" x="9209088" y="4011613"/>
          <p14:tracePt t="7742" x="9217025" y="4011613"/>
          <p14:tracePt t="7743" x="9224963" y="4014788"/>
          <p14:tracePt t="7744" x="9229725" y="4014788"/>
          <p14:tracePt t="7745" x="9237663" y="4014788"/>
          <p14:tracePt t="7746" x="9248775" y="4019550"/>
          <p14:tracePt t="7747" x="9253538" y="4019550"/>
          <p14:tracePt t="7748" x="9261475" y="4019550"/>
          <p14:tracePt t="7749" x="9269413" y="4019550"/>
          <p14:tracePt t="7750" x="9272588" y="4024313"/>
          <p14:tracePt t="7751" x="9280525" y="4024313"/>
          <p14:tracePt t="7752" x="9288463" y="4024313"/>
          <p14:tracePt t="7753" x="9296400" y="4024313"/>
          <p14:tracePt t="7754" x="9301163" y="4024313"/>
          <p14:tracePt t="7755" x="9309100" y="4024313"/>
          <p14:tracePt t="7756" x="9317038" y="4024313"/>
          <p14:tracePt t="7757" x="9324975" y="4024313"/>
          <p14:tracePt t="7758" x="9332913" y="4024313"/>
          <p14:tracePt t="7759" x="9340850" y="4027488"/>
          <p14:tracePt t="7761" x="9345613" y="4027488"/>
          <p14:tracePt t="7762" x="9361488" y="4027488"/>
          <p14:tracePt t="7763" x="9369425" y="4027488"/>
          <p14:tracePt t="7764" x="9372600" y="4027488"/>
          <p14:tracePt t="7765" x="9380538" y="4027488"/>
          <p14:tracePt t="7766" x="9393238" y="4027488"/>
          <p14:tracePt t="7767" x="9398000" y="4027488"/>
          <p14:tracePt t="7768" x="9405938" y="4027488"/>
          <p14:tracePt t="7769" x="9413875" y="4027488"/>
          <p14:tracePt t="7770" x="9421813" y="4027488"/>
          <p14:tracePt t="7771" x="9429750" y="4027488"/>
          <p14:tracePt t="7772" x="9432925" y="4027488"/>
          <p14:tracePt t="7773" x="9440863" y="4027488"/>
          <p14:tracePt t="7774" x="9448800" y="4027488"/>
          <p14:tracePt t="7776" x="9456738" y="4027488"/>
          <p14:tracePt t="7777" x="9477375" y="4027488"/>
          <p14:tracePt t="7779" x="9485313" y="4027488"/>
          <p14:tracePt t="7780" x="9501188" y="4027488"/>
          <p14:tracePt t="7781" x="9505950" y="4027488"/>
          <p14:tracePt t="7782" x="9513888" y="4027488"/>
          <p14:tracePt t="7783" x="9521825" y="4027488"/>
          <p14:tracePt t="7784" x="9529763" y="4027488"/>
          <p14:tracePt t="7785" x="9537700" y="4027488"/>
          <p14:tracePt t="7786" x="9545638" y="4027488"/>
          <p14:tracePt t="7787" x="9553575" y="4027488"/>
          <p14:tracePt t="7788" x="9556750" y="4027488"/>
          <p14:tracePt t="7789" x="9564688" y="4027488"/>
          <p14:tracePt t="7790" x="9577388" y="4027488"/>
          <p14:tracePt t="7791" x="9585325" y="4027488"/>
          <p14:tracePt t="7792" x="9593263" y="4027488"/>
          <p14:tracePt t="7793" x="9598025" y="4027488"/>
          <p14:tracePt t="7794" x="9605963" y="4027488"/>
          <p14:tracePt t="7795" x="9617075" y="4027488"/>
          <p14:tracePt t="7796" x="9629775" y="4027488"/>
          <p14:tracePt t="7797" x="9637713" y="4027488"/>
          <p14:tracePt t="7799" x="9645650" y="4024313"/>
          <p14:tracePt t="7800" x="9661525" y="4024313"/>
          <p14:tracePt t="7801" x="9666288" y="4024313"/>
          <p14:tracePt t="7802" x="9674225" y="4024313"/>
          <p14:tracePt t="7803" x="9682163" y="4019550"/>
          <p14:tracePt t="7804" x="9690100" y="4019550"/>
          <p14:tracePt t="7805" x="9698038" y="4019550"/>
          <p14:tracePt t="7806" x="9705975" y="4019550"/>
          <p14:tracePt t="7807" x="9709150" y="4019550"/>
          <p14:tracePt t="7808" x="9717088" y="4019550"/>
          <p14:tracePt t="7809" x="9725025" y="4014788"/>
          <p14:tracePt t="7810" x="9732963" y="4014788"/>
          <p14:tracePt t="7811" x="9740900" y="4014788"/>
          <p14:tracePt t="7813" x="9753600" y="4014788"/>
          <p14:tracePt t="7814" x="9761538" y="4011613"/>
          <p14:tracePt t="7815" x="9769475" y="4011613"/>
          <p14:tracePt t="7816" x="9777413" y="4011613"/>
          <p14:tracePt t="7817" x="9782175" y="4011613"/>
          <p14:tracePt t="7818" x="9790113" y="4006850"/>
          <p14:tracePt t="7819" x="9798050" y="4006850"/>
          <p14:tracePt t="7820" x="9805988" y="4006850"/>
          <p14:tracePt t="7821" x="9813925" y="4003675"/>
          <p14:tracePt t="7822" x="9817100" y="4003675"/>
          <p14:tracePt t="7823" x="9825038" y="4003675"/>
          <p14:tracePt t="7824" x="9832975" y="3998913"/>
          <p14:tracePt t="7825" x="9845675" y="3998913"/>
          <p14:tracePt t="7826" x="9853613" y="3998913"/>
          <p14:tracePt t="7828" x="9861550" y="3995738"/>
          <p14:tracePt t="7829" x="9874250" y="3995738"/>
          <p14:tracePt t="7830" x="9882188" y="3995738"/>
          <p14:tracePt t="7831" x="9885363" y="3990975"/>
          <p14:tracePt t="7832" x="9890125" y="3990975"/>
          <p14:tracePt t="7833" x="9893300" y="3987800"/>
          <p14:tracePt t="7834" x="9901238" y="3987800"/>
          <p14:tracePt t="7835" x="9909175" y="3987800"/>
          <p14:tracePt t="7836" x="9913938" y="3983038"/>
          <p14:tracePt t="7837" x="9921875" y="3983038"/>
          <p14:tracePt t="7838" x="9925050" y="3979863"/>
          <p14:tracePt t="7839" x="9932988" y="3979863"/>
          <p14:tracePt t="7840" x="9942513" y="3979863"/>
          <p14:tracePt t="7841" x="9945688" y="3975100"/>
          <p14:tracePt t="7842" x="9953625" y="3975100"/>
          <p14:tracePt t="7843" x="9958388" y="3971925"/>
          <p14:tracePt t="7846" x="9977438" y="3967163"/>
          <p14:tracePt t="7847" x="9982200" y="3967163"/>
          <p14:tracePt t="7848" x="9990138" y="3963988"/>
          <p14:tracePt t="7850" x="9993313" y="3959225"/>
          <p14:tracePt t="7851" x="9998075" y="3959225"/>
          <p14:tracePt t="7852" x="10006013" y="3956050"/>
          <p14:tracePt t="7853" x="10009188" y="3956050"/>
          <p14:tracePt t="7854" x="10017125" y="3956050"/>
          <p14:tracePt t="7855" x="10021888" y="3956050"/>
          <p14:tracePt t="7856" x="10026650" y="3956050"/>
          <p14:tracePt t="7857" x="10029825" y="3951288"/>
          <p14:tracePt t="7858" x="10034588" y="3951288"/>
          <p14:tracePt t="7860" x="10042525" y="3951288"/>
          <p14:tracePt t="7860" x="10045700" y="3948113"/>
          <p14:tracePt t="7862" x="10050463" y="3943350"/>
          <p14:tracePt t="7863" x="10053638" y="3943350"/>
          <p14:tracePt t="7864" x="10058400" y="3940175"/>
          <p14:tracePt t="7865" x="10061575" y="3940175"/>
          <p14:tracePt t="7867" x="10066338" y="3935413"/>
          <p14:tracePt t="7868" x="10074275" y="3935413"/>
          <p14:tracePt t="7869" x="10077450" y="3935413"/>
          <p14:tracePt t="7870" x="10082213" y="3930650"/>
          <p14:tracePt t="7871" x="10085388" y="3930650"/>
          <p14:tracePt t="7872" x="10090150" y="3930650"/>
          <p14:tracePt t="7873" x="10093325" y="3927475"/>
          <p14:tracePt t="7874" x="10093325" y="3922713"/>
          <p14:tracePt t="7875" x="10098088" y="3922713"/>
          <p14:tracePt t="7877" x="10101263" y="3919538"/>
          <p14:tracePt t="7878" x="10106025" y="3919538"/>
          <p14:tracePt t="7879" x="10109200" y="3914775"/>
          <p14:tracePt t="7880" x="10113963" y="3914775"/>
          <p14:tracePt t="7881" x="10118725" y="3914775"/>
          <p14:tracePt t="7882" x="10121900" y="3914775"/>
          <p14:tracePt t="7883" x="10126663" y="3914775"/>
          <p14:tracePt t="7885" x="10129838" y="3911600"/>
          <p14:tracePt t="7886" x="10134600" y="3911600"/>
          <p14:tracePt t="7888" x="10134600" y="3906838"/>
          <p14:tracePt t="7889" x="10137775" y="3906838"/>
          <p14:tracePt t="7891" x="10142538" y="3903663"/>
          <p14:tracePt t="7892" x="10145713" y="3903663"/>
          <p14:tracePt t="7894" x="10150475" y="3903663"/>
          <p14:tracePt t="7895" x="10153650" y="3898900"/>
          <p14:tracePt t="7910" x="10185400" y="3879850"/>
          <p14:tracePt t="7911" x="10190163" y="3879850"/>
          <p14:tracePt t="7911" x="10190163" y="3875088"/>
          <p14:tracePt t="7912" x="10193338" y="3875088"/>
          <p14:tracePt t="7913" x="10198100" y="3875088"/>
          <p14:tracePt t="7914" x="10198100" y="3871913"/>
          <p14:tracePt t="7915" x="10201275" y="3871913"/>
          <p14:tracePt t="7916" x="10206038" y="3871913"/>
          <p14:tracePt t="7917" x="10206038" y="3867150"/>
          <p14:tracePt t="7918" x="10210800" y="3863975"/>
          <p14:tracePt t="7919" x="10213975" y="3863975"/>
          <p14:tracePt t="7920" x="10213975" y="3859213"/>
          <p14:tracePt t="7922" x="10213975" y="3856038"/>
          <p14:tracePt t="7923" x="10218738" y="3851275"/>
          <p14:tracePt t="7924" x="10221913" y="3851275"/>
          <p14:tracePt t="7926" x="10221913" y="3848100"/>
          <p14:tracePt t="7926" x="10226675" y="3843338"/>
          <p14:tracePt t="7928" x="10229850" y="3838575"/>
          <p14:tracePt t="7929" x="10234613" y="3838575"/>
          <p14:tracePt t="7930" x="10234613" y="3835400"/>
          <p14:tracePt t="7932" x="10237788" y="3830638"/>
          <p14:tracePt t="7934" x="10242550" y="3830638"/>
          <p14:tracePt t="7936" x="10242550" y="3827463"/>
          <p14:tracePt t="7937" x="10245725" y="3822700"/>
          <p14:tracePt t="7939" x="10245725" y="3819525"/>
          <p14:tracePt t="7940" x="10250488" y="3819525"/>
          <p14:tracePt t="7941" x="10250488" y="3814763"/>
          <p14:tracePt t="7942" x="10250488" y="3811588"/>
          <p14:tracePt t="7943" x="10253663" y="3811588"/>
          <p14:tracePt t="7944" x="10253663" y="3806825"/>
          <p14:tracePt t="7946" x="10253663" y="3803650"/>
          <p14:tracePt t="7947" x="10253663" y="3798888"/>
          <p14:tracePt t="7949" x="10253663" y="3795713"/>
          <p14:tracePt t="7950" x="10253663" y="3790950"/>
          <p14:tracePt t="7953" x="10253663" y="3787775"/>
          <p14:tracePt t="7954" x="10258425" y="3787775"/>
          <p14:tracePt t="7955" x="10258425" y="3783013"/>
          <p14:tracePt t="7956" x="10258425" y="3779838"/>
          <p14:tracePt t="7958" x="10258425" y="3775075"/>
          <p14:tracePt t="7960" x="10258425" y="3771900"/>
          <p14:tracePt t="7961" x="10258425" y="3767138"/>
          <p14:tracePt t="7962" x="10258425" y="3763963"/>
          <p14:tracePt t="7964" x="10258425" y="3759200"/>
          <p14:tracePt t="7965" x="10258425" y="3756025"/>
          <p14:tracePt t="7966" x="10258425" y="3751263"/>
          <p14:tracePt t="7969" x="10258425" y="3746500"/>
          <p14:tracePt t="7970" x="10258425" y="3743325"/>
          <p14:tracePt t="7971" x="10258425" y="3738563"/>
          <p14:tracePt t="7972" x="10258425" y="3735388"/>
          <p14:tracePt t="7973" x="10258425" y="3730625"/>
          <p14:tracePt t="7974" x="10258425" y="3727450"/>
          <p14:tracePt t="7976" x="10258425" y="3719513"/>
          <p14:tracePt t="7978" x="10258425" y="3711575"/>
          <p14:tracePt t="7980" x="10253663" y="3703638"/>
          <p14:tracePt t="7981" x="10253663" y="3698875"/>
          <p14:tracePt t="7982" x="10253663" y="3695700"/>
          <p14:tracePt t="7984" x="10250488" y="3687763"/>
          <p14:tracePt t="7985" x="10250488" y="3683000"/>
          <p14:tracePt t="7986" x="10250488" y="3679825"/>
          <p14:tracePt t="7987" x="10245725" y="3679825"/>
          <p14:tracePt t="7988" x="10245725" y="3671888"/>
          <p14:tracePt t="7989" x="10242550" y="3667125"/>
          <p14:tracePt t="7990" x="10237788" y="3663950"/>
          <p14:tracePt t="7991" x="10237788" y="3659188"/>
          <p14:tracePt t="7992" x="10234613" y="3654425"/>
          <p14:tracePt t="7994" x="10229850" y="3646488"/>
          <p14:tracePt t="7994" x="10229850" y="3643313"/>
          <p14:tracePt t="7995" x="10226675" y="3638550"/>
          <p14:tracePt t="7996" x="10226675" y="3635375"/>
          <p14:tracePt t="7997" x="10221913" y="3630613"/>
          <p14:tracePt t="7998" x="10218738" y="3627438"/>
          <p14:tracePt t="7999" x="10213975" y="3619500"/>
          <p14:tracePt t="8000" x="10210800" y="3619500"/>
          <p14:tracePt t="8001" x="10206038" y="3614738"/>
          <p14:tracePt t="8002" x="10201275" y="3611563"/>
          <p14:tracePt t="8003" x="10198100" y="3603625"/>
          <p14:tracePt t="8004" x="10198100" y="3598863"/>
          <p14:tracePt t="8005" x="10190163" y="3595688"/>
          <p14:tracePt t="8006" x="10182225" y="3587750"/>
          <p14:tracePt t="8007" x="10182225" y="3582988"/>
          <p14:tracePt t="8009" x="10169525" y="3571875"/>
          <p14:tracePt t="8011" x="10161588" y="3562350"/>
          <p14:tracePt t="8012" x="10153650" y="3554413"/>
          <p14:tracePt t="8013" x="10150475" y="3551238"/>
          <p14:tracePt t="8014" x="10142538" y="3543300"/>
          <p14:tracePt t="8015" x="10134600" y="3538538"/>
          <p14:tracePt t="8016" x="10121900" y="3535363"/>
          <p14:tracePt t="8017" x="10118725" y="3530600"/>
          <p14:tracePt t="8018" x="10109200" y="3522663"/>
          <p14:tracePt t="8019" x="10109200" y="3519488"/>
          <p14:tracePt t="8020" x="10093325" y="3511550"/>
          <p14:tracePt t="8021" x="10090150" y="3506788"/>
          <p14:tracePt t="8022" x="10082213" y="3503613"/>
          <p14:tracePt t="8023" x="10074275" y="3495675"/>
          <p14:tracePt t="8024" x="10061575" y="3487738"/>
          <p14:tracePt t="8026" x="10050463" y="3479800"/>
          <p14:tracePt t="8026" x="10042525" y="3475038"/>
          <p14:tracePt t="8028" x="10034588" y="3470275"/>
          <p14:tracePt t="8029" x="10013950" y="3459163"/>
          <p14:tracePt t="8031" x="10006013" y="3446463"/>
          <p14:tracePt t="8031" x="9998075" y="3443288"/>
          <p14:tracePt t="8032" x="9990138" y="3438525"/>
          <p14:tracePt t="8033" x="9982200" y="3435350"/>
          <p14:tracePt t="8034" x="9966325" y="3427413"/>
          <p14:tracePt t="8035" x="9961563" y="3422650"/>
          <p14:tracePt t="8036" x="9953625" y="3419475"/>
          <p14:tracePt t="8037" x="9945688" y="3414713"/>
          <p14:tracePt t="8038" x="9937750" y="3411538"/>
          <p14:tracePt t="8039" x="9925050" y="3398838"/>
          <p14:tracePt t="8040" x="9917113" y="3395663"/>
          <p14:tracePt t="8041" x="9909175" y="3390900"/>
          <p14:tracePt t="8042" x="9901238" y="3387725"/>
          <p14:tracePt t="8043" x="9893300" y="3382963"/>
          <p14:tracePt t="8044" x="9877425" y="3378200"/>
          <p14:tracePt t="8046" x="9869488" y="3375025"/>
          <p14:tracePt t="8047" x="9858375" y="3367088"/>
          <p14:tracePt t="8048" x="9840913" y="3354388"/>
          <p14:tracePt t="8049" x="9832975" y="3351213"/>
          <p14:tracePt t="8050" x="9829800" y="3346450"/>
          <p14:tracePt t="8051" x="9821863" y="3343275"/>
          <p14:tracePt t="8052" x="9813925" y="3338513"/>
          <p14:tracePt t="8053" x="9801225" y="3335338"/>
          <p14:tracePt t="8054" x="9790113" y="3330575"/>
          <p14:tracePt t="8055" x="9782175" y="3327400"/>
          <p14:tracePt t="8056" x="9774238" y="3322638"/>
          <p14:tracePt t="8057" x="9766300" y="3322638"/>
          <p14:tracePt t="8058" x="9758363" y="3311525"/>
          <p14:tracePt t="8060" x="9748838" y="3311525"/>
          <p14:tracePt t="8060" x="9740900" y="3306763"/>
          <p14:tracePt t="8061" x="9729788" y="3303588"/>
          <p14:tracePt t="8064" x="9705975" y="3295650"/>
          <p14:tracePt t="8065" x="9698038" y="3290888"/>
          <p14:tracePt t="8066" x="9690100" y="3286125"/>
          <p14:tracePt t="8067" x="9682163" y="3286125"/>
          <p14:tracePt t="8068" x="9666288" y="3282950"/>
          <p14:tracePt t="8069" x="9656763" y="3278188"/>
          <p14:tracePt t="8070" x="9648825" y="3275013"/>
          <p14:tracePt t="8071" x="9640888" y="3275013"/>
          <p14:tracePt t="8072" x="9629775" y="3267075"/>
          <p14:tracePt t="8073" x="9617075" y="3262313"/>
          <p14:tracePt t="8074" x="9609138" y="3262313"/>
          <p14:tracePt t="8075" x="9601200" y="3259138"/>
          <p14:tracePt t="8076" x="9593263" y="3259138"/>
          <p14:tracePt t="8077" x="9577388" y="3254375"/>
          <p14:tracePt t="8079" x="9561513" y="3251200"/>
          <p14:tracePt t="8080" x="9545638" y="3246438"/>
          <p14:tracePt t="8081" x="9537700" y="3246438"/>
          <p14:tracePt t="8082" x="9525000" y="3243263"/>
          <p14:tracePt t="8083" x="9517063" y="3235325"/>
          <p14:tracePt t="8084" x="9509125" y="3235325"/>
          <p14:tracePt t="8085" x="9498013" y="3230563"/>
          <p14:tracePt t="8086" x="9485313" y="3230563"/>
          <p14:tracePt t="8087" x="9477375" y="3227388"/>
          <p14:tracePt t="8088" x="9461500" y="3227388"/>
          <p14:tracePt t="8089" x="9453563" y="3222625"/>
          <p14:tracePt t="8090" x="9445625" y="3222625"/>
          <p14:tracePt t="8091" x="9432925" y="3219450"/>
          <p14:tracePt t="8092" x="9417050" y="3219450"/>
          <p14:tracePt t="8093" x="9409113" y="3214688"/>
          <p14:tracePt t="8095" x="9388475" y="3214688"/>
          <p14:tracePt t="8097" x="9377363" y="3211513"/>
          <p14:tracePt t="8097" x="9361488" y="3211513"/>
          <p14:tracePt t="8098" x="9348788" y="3206750"/>
          <p14:tracePt t="8099" x="9340850" y="3206750"/>
          <p14:tracePt t="8100" x="9332913" y="3203575"/>
          <p14:tracePt t="8101" x="9321800" y="3203575"/>
          <p14:tracePt t="8102" x="9305925" y="3194050"/>
          <p14:tracePt t="8103" x="9296400" y="3194050"/>
          <p14:tracePt t="8104" x="9285288" y="3190875"/>
          <p14:tracePt t="8105" x="9277350" y="3190875"/>
          <p14:tracePt t="8106" x="9261475" y="3190875"/>
          <p14:tracePt t="8107" x="9248775" y="3186113"/>
          <p14:tracePt t="8108" x="9240838" y="3186113"/>
          <p14:tracePt t="8110" x="9224963" y="3186113"/>
          <p14:tracePt t="8110" x="9217025" y="3186113"/>
          <p14:tracePt t="8112" x="9188450" y="3182938"/>
          <p14:tracePt t="8113" x="9180513" y="3182938"/>
          <p14:tracePt t="8114" x="9169400" y="3178175"/>
          <p14:tracePt t="8115" x="9161463" y="3178175"/>
          <p14:tracePt t="8116" x="9153525" y="3178175"/>
          <p14:tracePt t="8117" x="9132888" y="3175000"/>
          <p14:tracePt t="8118" x="9124950" y="3175000"/>
          <p14:tracePt t="8119" x="9117013" y="3175000"/>
          <p14:tracePt t="8120" x="9101138" y="3167063"/>
          <p14:tracePt t="8121" x="9093200" y="3167063"/>
          <p14:tracePt t="8122" x="9080500" y="3167063"/>
          <p14:tracePt t="8123" x="9072563" y="3167063"/>
          <p14:tracePt t="8124" x="9056688" y="3167063"/>
          <p14:tracePt t="8126" x="9048750" y="3167063"/>
          <p14:tracePt t="8126" x="9037638" y="3162300"/>
          <p14:tracePt t="8127" x="9020175" y="3162300"/>
          <p14:tracePt t="8128" x="9012238" y="3162300"/>
          <p14:tracePt t="8129" x="9004300" y="3162300"/>
          <p14:tracePt t="8130" x="8993188" y="3162300"/>
          <p14:tracePt t="8131" x="8985250" y="3162300"/>
          <p14:tracePt t="8132" x="8969375" y="3159125"/>
          <p14:tracePt t="8133" x="8956675" y="3159125"/>
          <p14:tracePt t="8134" x="8948738" y="3159125"/>
          <p14:tracePt t="8135" x="8932863" y="3159125"/>
          <p14:tracePt t="8136" x="8920163" y="3159125"/>
          <p14:tracePt t="8137" x="8912225" y="3159125"/>
          <p14:tracePt t="8138" x="8896350" y="3159125"/>
          <p14:tracePt t="8139" x="8888413" y="3159125"/>
          <p14:tracePt t="8140" x="8877300" y="3159125"/>
          <p14:tracePt t="8141" x="8861425" y="3159125"/>
          <p14:tracePt t="8142" x="8853488" y="3159125"/>
          <p14:tracePt t="8143" x="8840788" y="3159125"/>
          <p14:tracePt t="8144" x="8832850" y="3159125"/>
          <p14:tracePt t="8145" x="8816975" y="3159125"/>
          <p14:tracePt t="8146" x="8804275" y="3159125"/>
          <p14:tracePt t="8147" x="8793163" y="3159125"/>
          <p14:tracePt t="8148" x="8785225" y="3159125"/>
          <p14:tracePt t="8149" x="8777288" y="3159125"/>
          <p14:tracePt t="8150" x="8761413" y="3159125"/>
          <p14:tracePt t="8151" x="8748713" y="3159125"/>
          <p14:tracePt t="8152" x="8740775" y="3159125"/>
          <p14:tracePt t="8153" x="8724900" y="3159125"/>
          <p14:tracePt t="8154" x="8716963" y="3159125"/>
          <p14:tracePt t="8157" x="8696325" y="3159125"/>
          <p14:tracePt t="8157" x="8688388" y="3159125"/>
          <p14:tracePt t="8158" x="8680450" y="3159125"/>
          <p14:tracePt t="8160" x="8667750" y="3162300"/>
          <p14:tracePt t="8160" x="8656638" y="3162300"/>
          <p14:tracePt t="8161" x="8648700" y="3162300"/>
          <p14:tracePt t="8162" x="8640763" y="3167063"/>
          <p14:tracePt t="8163" x="8632825" y="3167063"/>
          <p14:tracePt t="8164" x="8628063" y="3167063"/>
          <p14:tracePt t="8165" x="8620125" y="3170238"/>
          <p14:tracePt t="8166" x="8612188" y="3170238"/>
          <p14:tracePt t="8167" x="8604250" y="3170238"/>
          <p14:tracePt t="8168" x="8593138" y="3178175"/>
          <p14:tracePt t="8170" x="8585200" y="3178175"/>
          <p14:tracePt t="8171" x="8572500" y="3182938"/>
          <p14:tracePt t="8172" x="8564563" y="3182938"/>
          <p14:tracePt t="8173" x="8559800" y="3182938"/>
          <p14:tracePt t="8174" x="8551863" y="3186113"/>
          <p14:tracePt t="8176" x="8543925" y="3186113"/>
          <p14:tracePt t="8177" x="8532813" y="3190875"/>
          <p14:tracePt t="8179" x="8524875" y="3194050"/>
          <p14:tracePt t="8180" x="8512175" y="3194050"/>
          <p14:tracePt t="8181" x="8512175" y="3198813"/>
          <p14:tracePt t="8182" x="8509000" y="3198813"/>
          <p14:tracePt t="8183" x="8501063" y="3198813"/>
          <p14:tracePt t="8184" x="8496300" y="3203575"/>
          <p14:tracePt t="8185" x="8488363" y="3203575"/>
          <p14:tracePt t="8186" x="8483600" y="3203575"/>
          <p14:tracePt t="8188" x="8472488" y="3206750"/>
          <p14:tracePt t="8189" x="8467725" y="3206750"/>
          <p14:tracePt t="8190" x="8459788" y="3211513"/>
          <p14:tracePt t="8191" x="8456613" y="3211513"/>
          <p14:tracePt t="8192" x="8448675" y="3211513"/>
          <p14:tracePt t="8194" x="8443913" y="3211513"/>
          <p14:tracePt t="8194" x="8440738" y="3214688"/>
          <p14:tracePt t="8196" x="8432800" y="3219450"/>
          <p14:tracePt t="8197" x="8428038" y="3219450"/>
          <p14:tracePt t="8198" x="8424863" y="3219450"/>
          <p14:tracePt t="8199" x="8420100" y="3222625"/>
          <p14:tracePt t="8200" x="8416925" y="3227388"/>
          <p14:tracePt t="8201" x="8412163" y="3227388"/>
          <p14:tracePt t="8202" x="8408988" y="3227388"/>
          <p14:tracePt t="8203" x="8404225" y="3230563"/>
          <p14:tracePt t="8204" x="8401050" y="3230563"/>
          <p14:tracePt t="8205" x="8396288" y="3235325"/>
          <p14:tracePt t="8206" x="8391525" y="3235325"/>
          <p14:tracePt t="8209" x="8383588" y="3238500"/>
          <p14:tracePt t="8210" x="8380413" y="3243263"/>
          <p14:tracePt t="8212" x="8375650" y="3246438"/>
          <p14:tracePt t="8214" x="8372475" y="3251200"/>
          <p14:tracePt t="8216" x="8367713" y="3251200"/>
          <p14:tracePt t="8217" x="8367713" y="3254375"/>
          <p14:tracePt t="8218" x="8364538" y="3254375"/>
          <p14:tracePt t="8219" x="8359775" y="3254375"/>
          <p14:tracePt t="8221" x="8356600" y="3254375"/>
          <p14:tracePt t="8222" x="8351838" y="3254375"/>
          <p14:tracePt t="8223" x="8351838" y="3259138"/>
          <p14:tracePt t="8226" x="8351838" y="3262313"/>
          <p14:tracePt t="8227" x="8348663" y="3262313"/>
          <p14:tracePt t="8228" x="8348663" y="3267075"/>
          <p14:tracePt t="8230" x="8348663" y="3270250"/>
          <p14:tracePt t="8231" x="8343900" y="3270250"/>
          <p14:tracePt t="8233" x="8343900" y="3275013"/>
          <p14:tracePt t="8235" x="8343900" y="3278188"/>
          <p14:tracePt t="8236" x="8340725" y="3278188"/>
          <p14:tracePt t="8238" x="8340725" y="3282950"/>
          <p14:tracePt t="8239" x="8335963" y="3282950"/>
          <p14:tracePt t="8240" x="8335963" y="3286125"/>
          <p14:tracePt t="8242" x="8335963" y="3290888"/>
          <p14:tracePt t="8244" x="8335963" y="3295650"/>
          <p14:tracePt t="8248" x="8332788" y="3298825"/>
          <p14:tracePt t="8250" x="8332788" y="3303588"/>
          <p14:tracePt t="8251" x="8332788" y="3306763"/>
          <p14:tracePt t="8253" x="8332788" y="3311525"/>
          <p14:tracePt t="8254" x="8332788" y="3314700"/>
          <p14:tracePt t="8255" x="8332788" y="3319463"/>
          <p14:tracePt t="8256" x="8328025" y="3319463"/>
          <p14:tracePt t="8257" x="8328025" y="3322638"/>
          <p14:tracePt t="8258" x="8328025" y="3327400"/>
          <p14:tracePt t="8260" x="8328025" y="3330575"/>
          <p14:tracePt t="8262" x="8328025" y="3335338"/>
          <p14:tracePt t="8264" x="8328025" y="3338513"/>
          <p14:tracePt t="8266" x="8328025" y="3343275"/>
          <p14:tracePt t="8268" x="8328025" y="3346450"/>
          <p14:tracePt t="8269" x="8328025" y="3351213"/>
          <p14:tracePt t="8270" x="8328025" y="3354388"/>
          <p14:tracePt t="8271" x="8328025" y="3359150"/>
          <p14:tracePt t="8273" x="8328025" y="3362325"/>
          <p14:tracePt t="8274" x="8328025" y="3367088"/>
          <p14:tracePt t="8276" x="8328025" y="3370263"/>
          <p14:tracePt t="8277" x="8328025" y="3375025"/>
          <p14:tracePt t="8280" x="8328025" y="3378200"/>
          <p14:tracePt t="8282" x="8332788" y="3382963"/>
          <p14:tracePt t="8283" x="8332788" y="3387725"/>
          <p14:tracePt t="8284" x="8332788" y="3390900"/>
          <p14:tracePt t="8285" x="8332788" y="3395663"/>
          <p14:tracePt t="8287" x="8332788" y="3398838"/>
          <p14:tracePt t="8288" x="8335963" y="3403600"/>
          <p14:tracePt t="8289" x="8335963" y="3406775"/>
          <p14:tracePt t="8291" x="8335963" y="3411538"/>
          <p14:tracePt t="8292" x="8340725" y="3414713"/>
          <p14:tracePt t="8293" x="8340725" y="3419475"/>
          <p14:tracePt t="8295" x="8343900" y="3419475"/>
          <p14:tracePt t="8297" x="8343900" y="3422650"/>
          <p14:tracePt t="8297" x="8348663" y="3427413"/>
          <p14:tracePt t="8298" x="8348663" y="3430588"/>
          <p14:tracePt t="8299" x="8348663" y="3435350"/>
          <p14:tracePt t="8301" x="8351838" y="3438525"/>
          <p14:tracePt t="8302" x="8351838" y="3443288"/>
          <p14:tracePt t="8303" x="8356600" y="3446463"/>
          <p14:tracePt t="8304" x="8356600" y="3451225"/>
          <p14:tracePt t="8305" x="8359775" y="3451225"/>
          <p14:tracePt t="8306" x="8359775" y="3454400"/>
          <p14:tracePt t="8307" x="8364538" y="3459163"/>
          <p14:tracePt t="8308" x="8367713" y="3459163"/>
          <p14:tracePt t="8309" x="8372475" y="3462338"/>
          <p14:tracePt t="8311" x="8375650" y="3467100"/>
          <p14:tracePt t="8313" x="8383588" y="3475038"/>
          <p14:tracePt t="8314" x="8383588" y="3479800"/>
          <p14:tracePt t="8315" x="8388350" y="3482975"/>
          <p14:tracePt t="8317" x="8391525" y="3487738"/>
          <p14:tracePt t="8318" x="8396288" y="3490913"/>
          <p14:tracePt t="8319" x="8401050" y="3495675"/>
          <p14:tracePt t="8320" x="8404225" y="3498850"/>
          <p14:tracePt t="8321" x="8408988" y="3498850"/>
          <p14:tracePt t="8322" x="8412163" y="3506788"/>
          <p14:tracePt t="8323" x="8416925" y="3506788"/>
          <p14:tracePt t="8326" x="8420100" y="3511550"/>
          <p14:tracePt t="8326" x="8424863" y="3514725"/>
          <p14:tracePt t="8328" x="8435975" y="3522663"/>
          <p14:tracePt t="8329" x="8440738" y="3522663"/>
          <p14:tracePt t="8330" x="8440738" y="3527425"/>
          <p14:tracePt t="8331" x="8443913" y="3530600"/>
          <p14:tracePt t="8332" x="8448675" y="3535363"/>
          <p14:tracePt t="8333" x="8456613" y="3538538"/>
          <p14:tracePt t="8334" x="8459788" y="3543300"/>
          <p14:tracePt t="8335" x="8464550" y="3546475"/>
          <p14:tracePt t="8336" x="8472488" y="3551238"/>
          <p14:tracePt t="8337" x="8480425" y="3554413"/>
          <p14:tracePt t="8338" x="8483600" y="3559175"/>
          <p14:tracePt t="8339" x="8488363" y="3562350"/>
          <p14:tracePt t="8340" x="8496300" y="3562350"/>
          <p14:tracePt t="8341" x="8501063" y="3567113"/>
          <p14:tracePt t="8342" x="8509000" y="3575050"/>
          <p14:tracePt t="8343" x="8516938" y="3579813"/>
          <p14:tracePt t="8344" x="8520113" y="3582988"/>
          <p14:tracePt t="8345" x="8528050" y="3582988"/>
          <p14:tracePt t="8346" x="8535988" y="3587750"/>
          <p14:tracePt t="8347" x="8543925" y="3590925"/>
          <p14:tracePt t="8348" x="8548688" y="3595688"/>
          <p14:tracePt t="8349" x="8556625" y="3598863"/>
          <p14:tracePt t="8350" x="8559800" y="3603625"/>
          <p14:tracePt t="8351" x="8572500" y="3606800"/>
          <p14:tracePt t="8352" x="8575675" y="3611563"/>
          <p14:tracePt t="8353" x="8585200" y="3611563"/>
          <p14:tracePt t="8354" x="8593138" y="3614738"/>
          <p14:tracePt t="8355" x="8604250" y="3619500"/>
          <p14:tracePt t="8356" x="8612188" y="3622675"/>
          <p14:tracePt t="8357" x="8620125" y="3627438"/>
          <p14:tracePt t="8358" x="8624888" y="3630613"/>
          <p14:tracePt t="8359" x="8632825" y="3630613"/>
          <p14:tracePt t="8360" x="8640763" y="3635375"/>
          <p14:tracePt t="8361" x="8651875" y="3638550"/>
          <p14:tracePt t="8362" x="8664575" y="3643313"/>
          <p14:tracePt t="8363" x="8667750" y="3646488"/>
          <p14:tracePt t="8364" x="8677275" y="3646488"/>
          <p14:tracePt t="8365" x="8685213" y="3651250"/>
          <p14:tracePt t="8366" x="8696325" y="3654425"/>
          <p14:tracePt t="8367" x="8704263" y="3659188"/>
          <p14:tracePt t="8368" x="8709025" y="3663950"/>
          <p14:tracePt t="8369" x="8716963" y="3663950"/>
          <p14:tracePt t="8370" x="8724900" y="3667125"/>
          <p14:tracePt t="8371" x="8740775" y="3675063"/>
          <p14:tracePt t="8372" x="8748713" y="3679825"/>
          <p14:tracePt t="8373" x="8756650" y="3679825"/>
          <p14:tracePt t="8374" x="8761413" y="3683000"/>
          <p14:tracePt t="8376" x="8772525" y="3687763"/>
          <p14:tracePt t="8376" x="8780463" y="3687763"/>
          <p14:tracePt t="8377" x="8788400" y="3690938"/>
          <p14:tracePt t="8378" x="8793163" y="3690938"/>
          <p14:tracePt t="8379" x="8801100" y="3695700"/>
          <p14:tracePt t="8380" x="8812213" y="3698875"/>
          <p14:tracePt t="8381" x="8820150" y="3698875"/>
          <p14:tracePt t="8382" x="8828088" y="3703638"/>
          <p14:tracePt t="8383" x="8836025" y="3706813"/>
          <p14:tracePt t="8384" x="8840788" y="3706813"/>
          <p14:tracePt t="8385" x="8848725" y="3706813"/>
          <p14:tracePt t="8386" x="8856663" y="3711575"/>
          <p14:tracePt t="8387" x="8864600" y="3711575"/>
          <p14:tracePt t="8388" x="8869363" y="3714750"/>
          <p14:tracePt t="8389" x="8877300" y="3714750"/>
          <p14:tracePt t="8390" x="8885238" y="3719513"/>
          <p14:tracePt t="8391" x="8893175" y="3719513"/>
          <p14:tracePt t="8392" x="8896350" y="3722688"/>
          <p14:tracePt t="8393" x="8901113" y="3722688"/>
          <p14:tracePt t="8395" x="8909050" y="3727450"/>
          <p14:tracePt t="8395" x="8916988" y="3727450"/>
          <p14:tracePt t="8396" x="8920163" y="3730625"/>
          <p14:tracePt t="8397" x="8928100" y="3730625"/>
          <p14:tracePt t="8398" x="8936038" y="3730625"/>
          <p14:tracePt t="8399" x="8940800" y="3735388"/>
          <p14:tracePt t="8400" x="8948738" y="3735388"/>
          <p14:tracePt t="8401" x="8953500" y="3735388"/>
          <p14:tracePt t="8402" x="8961438" y="3738563"/>
          <p14:tracePt t="8403" x="8964613" y="3738563"/>
          <p14:tracePt t="8404" x="8972550" y="3743325"/>
          <p14:tracePt t="8405" x="8980488" y="3743325"/>
          <p14:tracePt t="8406" x="8985250" y="3743325"/>
          <p14:tracePt t="8407" x="8993188" y="3746500"/>
          <p14:tracePt t="8409" x="9001125" y="3746500"/>
          <p14:tracePt t="8410" x="9012238" y="3751263"/>
          <p14:tracePt t="8412" x="9020175" y="3751263"/>
          <p14:tracePt t="8413" x="9024938" y="3756025"/>
          <p14:tracePt t="8414" x="9032875" y="3756025"/>
          <p14:tracePt t="8415" x="9037638" y="3756025"/>
          <p14:tracePt t="8416" x="9045575" y="3756025"/>
          <p14:tracePt t="8417" x="9048750" y="3756025"/>
          <p14:tracePt t="8418" x="9056688" y="3759200"/>
          <p14:tracePt t="8419" x="9064625" y="3759200"/>
          <p14:tracePt t="8420" x="9072563" y="3759200"/>
          <p14:tracePt t="8421" x="9080500" y="3763963"/>
          <p14:tracePt t="8422" x="9085263" y="3763963"/>
          <p14:tracePt t="8423" x="9093200" y="3763963"/>
          <p14:tracePt t="8424" x="9101138" y="3767138"/>
          <p14:tracePt t="8426" x="9109075" y="3767138"/>
          <p14:tracePt t="8426" x="9112250" y="3767138"/>
          <p14:tracePt t="8427" x="9120188" y="3767138"/>
          <p14:tracePt t="8428" x="9124950" y="3767138"/>
          <p14:tracePt t="8429" x="9132888" y="3767138"/>
          <p14:tracePt t="8430" x="9140825" y="3771900"/>
          <p14:tracePt t="8431" x="9145588" y="3771900"/>
          <p14:tracePt t="8432" x="9153525" y="3771900"/>
          <p14:tracePt t="8433" x="9161463" y="3771900"/>
          <p14:tracePt t="8434" x="9169400" y="3771900"/>
          <p14:tracePt t="8435" x="9172575" y="3771900"/>
          <p14:tracePt t="8436" x="9180513" y="3771900"/>
          <p14:tracePt t="8437" x="9188450" y="3775075"/>
          <p14:tracePt t="8438" x="9196388" y="3775075"/>
          <p14:tracePt t="8439" x="9204325" y="3775075"/>
          <p14:tracePt t="8440" x="9213850" y="3775075"/>
          <p14:tracePt t="8441" x="9217025" y="3775075"/>
          <p14:tracePt t="8442" x="9224963" y="3775075"/>
          <p14:tracePt t="8443" x="9232900" y="3775075"/>
          <p14:tracePt t="8444" x="9240838" y="3775075"/>
          <p14:tracePt t="8445" x="9248775" y="3775075"/>
          <p14:tracePt t="8446" x="9256713" y="3775075"/>
          <p14:tracePt t="8447" x="9264650" y="3775075"/>
          <p14:tracePt t="8448" x="9269413" y="3775075"/>
          <p14:tracePt t="8449" x="9280525" y="3775075"/>
          <p14:tracePt t="8450" x="9288463" y="3775075"/>
          <p14:tracePt t="8451" x="9301163" y="3775075"/>
          <p14:tracePt t="8453" x="9309100" y="3775075"/>
          <p14:tracePt t="8454" x="9317038" y="3775075"/>
          <p14:tracePt t="8455" x="9324975" y="3775075"/>
          <p14:tracePt t="8456" x="9332913" y="3775075"/>
          <p14:tracePt t="8457" x="9345613" y="3775075"/>
          <p14:tracePt t="8458" x="9356725" y="3775075"/>
          <p14:tracePt t="8459" x="9364663" y="3775075"/>
          <p14:tracePt t="8460" x="9372600" y="3775075"/>
          <p14:tracePt t="8461" x="9377363" y="3775075"/>
          <p14:tracePt t="8462" x="9385300" y="3775075"/>
          <p14:tracePt t="8463" x="9398000" y="3775075"/>
          <p14:tracePt t="8464" x="9409113" y="3771900"/>
          <p14:tracePt t="8465" x="9417050" y="3771900"/>
          <p14:tracePt t="8466" x="9421813" y="3771900"/>
          <p14:tracePt t="8467" x="9429750" y="3771900"/>
          <p14:tracePt t="8468" x="9440863" y="3771900"/>
          <p14:tracePt t="8469" x="9448800" y="3767138"/>
          <p14:tracePt t="8470" x="9453563" y="3767138"/>
          <p14:tracePt t="8471" x="9461500" y="3767138"/>
          <p14:tracePt t="8472" x="9469438" y="3767138"/>
          <p14:tracePt t="8473" x="9477375" y="3763963"/>
          <p14:tracePt t="8474" x="9485313" y="3763963"/>
          <p14:tracePt t="8475" x="9493250" y="3763963"/>
          <p14:tracePt t="8476" x="9498013" y="3759200"/>
          <p14:tracePt t="8477" x="9505950" y="3759200"/>
          <p14:tracePt t="8478" x="9513888" y="3759200"/>
          <p14:tracePt t="8479" x="9521825" y="3756025"/>
          <p14:tracePt t="8480" x="9525000" y="3756025"/>
          <p14:tracePt t="8481" x="9532938" y="3751263"/>
          <p14:tracePt t="8482" x="9537700" y="3751263"/>
          <p14:tracePt t="8483" x="9545638" y="3751263"/>
          <p14:tracePt t="8484" x="9553575" y="3746500"/>
          <p14:tracePt t="8485" x="9556750" y="3746500"/>
          <p14:tracePt t="8486" x="9564688" y="3746500"/>
          <p14:tracePt t="8487" x="9569450" y="3743325"/>
          <p14:tracePt t="8488" x="9577388" y="3743325"/>
          <p14:tracePt t="8489" x="9585325" y="3743325"/>
          <p14:tracePt t="8490" x="9590088" y="3738563"/>
          <p14:tracePt t="8491" x="9598025" y="3738563"/>
          <p14:tracePt t="8492" x="9601200" y="3738563"/>
          <p14:tracePt t="8493" x="9609138" y="3735388"/>
          <p14:tracePt t="8494" x="9613900" y="3735388"/>
          <p14:tracePt t="8495" x="9617075" y="3735388"/>
          <p14:tracePt t="8496" x="9625013" y="3730625"/>
          <p14:tracePt t="8497" x="9629775" y="3730625"/>
          <p14:tracePt t="8498" x="9632950" y="3730625"/>
          <p14:tracePt t="8499" x="9637713" y="3730625"/>
          <p14:tracePt t="8500" x="9640888" y="3727450"/>
          <p14:tracePt t="8501" x="9648825" y="3727450"/>
          <p14:tracePt t="8502" x="9653588" y="3727450"/>
          <p14:tracePt t="8503" x="9661525" y="3722688"/>
          <p14:tracePt t="8504" x="9666288" y="3722688"/>
          <p14:tracePt t="8505" x="9669463" y="3719513"/>
          <p14:tracePt t="8506" x="9674225" y="3719513"/>
          <p14:tracePt t="8507" x="9677400" y="3719513"/>
          <p14:tracePt t="8508" x="9685338" y="3714750"/>
          <p14:tracePt t="8509" x="9690100" y="3714750"/>
          <p14:tracePt t="8510" x="9693275" y="3714750"/>
          <p14:tracePt t="8511" x="9698038" y="3711575"/>
          <p14:tracePt t="8512" x="9701213" y="3711575"/>
          <p14:tracePt t="8513" x="9705975" y="3711575"/>
          <p14:tracePt t="8514" x="9709150" y="3711575"/>
          <p14:tracePt t="8515" x="9713913" y="3706813"/>
          <p14:tracePt t="8516" x="9717088" y="3706813"/>
          <p14:tracePt t="8517" x="9725025" y="3703638"/>
          <p14:tracePt t="8518" x="9729788" y="3703638"/>
          <p14:tracePt t="8519" x="9732963" y="3703638"/>
          <p14:tracePt t="8520" x="9740900" y="3698875"/>
          <p14:tracePt t="8521" x="9745663" y="3698875"/>
          <p14:tracePt t="8522" x="9748838" y="3695700"/>
          <p14:tracePt t="8523" x="9753600" y="3695700"/>
          <p14:tracePt t="8524" x="9761538" y="3695700"/>
          <p14:tracePt t="8525" x="9766300" y="3695700"/>
          <p14:tracePt t="8527" x="9769475" y="3690938"/>
          <p14:tracePt t="8528" x="9774238" y="3690938"/>
          <p14:tracePt t="8529" x="9782175" y="3690938"/>
          <p14:tracePt t="8530" x="9785350" y="3687763"/>
          <p14:tracePt t="8531" x="9790113" y="3687763"/>
          <p14:tracePt t="8532" x="9798050" y="3687763"/>
          <p14:tracePt t="8533" x="9801225" y="3683000"/>
          <p14:tracePt t="8534" x="9805988" y="3683000"/>
          <p14:tracePt t="8535" x="9809163" y="3679825"/>
          <p14:tracePt t="8536" x="9813925" y="3679825"/>
          <p14:tracePt t="8537" x="9813925" y="3675063"/>
          <p14:tracePt t="8538" x="9817100" y="3675063"/>
          <p14:tracePt t="8539" x="9821863" y="3675063"/>
          <p14:tracePt t="8540" x="9825038" y="3671888"/>
          <p14:tracePt t="8541" x="9829800" y="3671888"/>
          <p14:tracePt t="8542" x="9832975" y="3667125"/>
          <p14:tracePt t="8543" x="9837738" y="3667125"/>
          <p14:tracePt t="8544" x="9840913" y="3663950"/>
          <p14:tracePt t="8545" x="9845675" y="3663950"/>
          <p14:tracePt t="8546" x="9853613" y="3659188"/>
          <p14:tracePt t="8547" x="9858375" y="3659188"/>
          <p14:tracePt t="8549" x="9861550" y="3654425"/>
          <p14:tracePt t="8551" x="9866313" y="3651250"/>
          <p14:tracePt t="8552" x="9869488" y="3646488"/>
          <p14:tracePt t="8553" x="9874250" y="3646488"/>
          <p14:tracePt t="8554" x="9877425" y="3646488"/>
          <p14:tracePt t="8555" x="9882188" y="3646488"/>
          <p14:tracePt t="8556" x="9885363" y="3643313"/>
          <p14:tracePt t="8557" x="9885363" y="3638550"/>
          <p14:tracePt t="8558" x="9890125" y="3638550"/>
          <p14:tracePt t="8559" x="9893300" y="3635375"/>
          <p14:tracePt t="8560" x="9898063" y="3635375"/>
          <p14:tracePt t="8562" x="9901238" y="3630613"/>
          <p14:tracePt t="8563" x="9906000" y="3627438"/>
          <p14:tracePt t="8565" x="9906000" y="3622675"/>
          <p14:tracePt t="8566" x="9909175" y="3622675"/>
          <p14:tracePt t="8567" x="9913938" y="3619500"/>
          <p14:tracePt t="8568" x="9913938" y="3614738"/>
          <p14:tracePt t="8569" x="9917113" y="3614738"/>
          <p14:tracePt t="8570" x="9917113" y="3611563"/>
          <p14:tracePt t="8571" x="9921875" y="3606800"/>
          <p14:tracePt t="8573" x="9925050" y="3606800"/>
          <p14:tracePt t="8574" x="9925050" y="3603625"/>
          <p14:tracePt t="8576" x="9929813" y="3603625"/>
          <p14:tracePt t="8576" x="9929813" y="3598863"/>
          <p14:tracePt t="8577" x="9932988" y="3595688"/>
          <p14:tracePt t="8579" x="9937750" y="3590925"/>
          <p14:tracePt t="8581" x="9942513" y="3587750"/>
          <p14:tracePt t="8582" x="9942513" y="3582988"/>
          <p14:tracePt t="8584" x="9942513" y="3579813"/>
          <p14:tracePt t="8586" x="9945688" y="3575050"/>
          <p14:tracePt t="8587" x="9945688" y="3571875"/>
          <p14:tracePt t="8589" x="9945688" y="3567113"/>
          <p14:tracePt t="8592" x="9945688" y="3562350"/>
          <p14:tracePt t="8594" x="9945688" y="3559175"/>
          <p14:tracePt t="8595" x="9945688" y="3554413"/>
          <p14:tracePt t="8597" x="9945688" y="3551238"/>
          <p14:tracePt t="8598" x="9950450" y="3546475"/>
          <p14:tracePt t="8600" x="9950450" y="3543300"/>
          <p14:tracePt t="8602" x="9950450" y="3538538"/>
          <p14:tracePt t="8604" x="9950450" y="3535363"/>
          <p14:tracePt t="8606" x="9950450" y="3530600"/>
          <p14:tracePt t="8608" x="9950450" y="3527425"/>
          <p14:tracePt t="8611" x="9950450" y="3522663"/>
          <p14:tracePt t="8614" x="9950450" y="3519488"/>
          <p14:tracePt t="8616" x="9950450" y="3514725"/>
          <p14:tracePt t="8619" x="9950450" y="3511550"/>
          <p14:tracePt t="8621" x="9950450" y="3506788"/>
          <p14:tracePt t="8623" x="9950450" y="3503613"/>
          <p14:tracePt t="8624" x="9945688" y="3503613"/>
          <p14:tracePt t="8626" x="9945688" y="3498850"/>
          <p14:tracePt t="8627" x="9942513" y="3498850"/>
          <p14:tracePt t="8629" x="9942513" y="3495675"/>
          <p14:tracePt t="8630" x="9937750" y="3495675"/>
          <p14:tracePt t="8632" x="9937750" y="3490913"/>
          <p14:tracePt t="8633" x="9932988" y="3490913"/>
          <p14:tracePt t="8635" x="9932988" y="3487738"/>
          <p14:tracePt t="8636" x="9929813" y="3487738"/>
          <p14:tracePt t="8639" x="9925050" y="3487738"/>
          <p14:tracePt t="8640" x="9921875" y="3487738"/>
          <p14:tracePt t="8641" x="9921875" y="3482975"/>
          <p14:tracePt t="8642" x="9917113" y="3482975"/>
          <p14:tracePt t="8644" x="9913938" y="3479800"/>
          <p14:tracePt t="8646" x="9909175" y="3479800"/>
          <p14:tracePt t="8648" x="9909175" y="3475038"/>
          <p14:tracePt t="8649" x="9906000" y="3475038"/>
          <p14:tracePt t="8650" x="9901238" y="3470275"/>
          <p14:tracePt t="8652" x="9898063" y="3470275"/>
          <p14:tracePt t="8653" x="9893300" y="3470275"/>
          <p14:tracePt t="8654" x="9890125" y="3467100"/>
          <p14:tracePt t="8655" x="9885363" y="3467100"/>
          <p14:tracePt t="8656" x="9882188" y="3467100"/>
          <p14:tracePt t="8657" x="9877425" y="3467100"/>
          <p14:tracePt t="8658" x="9874250" y="3462338"/>
          <p14:tracePt t="8659" x="9869488" y="3462338"/>
          <p14:tracePt t="8661" x="9866313" y="3462338"/>
          <p14:tracePt t="8662" x="9866313" y="3459163"/>
          <p14:tracePt t="8663" x="9861550" y="3459163"/>
          <p14:tracePt t="8664" x="9853613" y="3459163"/>
          <p14:tracePt t="8665" x="9850438" y="3459163"/>
          <p14:tracePt t="8666" x="9845675" y="3454400"/>
          <p14:tracePt t="8668" x="9837738" y="3454400"/>
          <p14:tracePt t="8669" x="9832975" y="3454400"/>
          <p14:tracePt t="8670" x="9829800" y="3454400"/>
          <p14:tracePt t="8671" x="9825038" y="3454400"/>
          <p14:tracePt t="8672" x="9821863" y="3454400"/>
          <p14:tracePt t="8673" x="9817100" y="3454400"/>
          <p14:tracePt t="8676" x="9813925" y="3454400"/>
          <p14:tracePt t="8677" x="9805988" y="3451225"/>
          <p14:tracePt t="8678" x="9798050" y="3451225"/>
          <p14:tracePt t="8679" x="9793288" y="3451225"/>
          <p14:tracePt t="8680" x="9790113" y="3451225"/>
          <p14:tracePt t="8681" x="9785350" y="3451225"/>
          <p14:tracePt t="8682" x="9782175" y="3451225"/>
          <p14:tracePt t="8683" x="9777413" y="3451225"/>
          <p14:tracePt t="8684" x="9769475" y="3451225"/>
          <p14:tracePt t="8685" x="9766300" y="3451225"/>
          <p14:tracePt t="8686" x="9761538" y="3451225"/>
          <p14:tracePt t="8687" x="9758363" y="3451225"/>
          <p14:tracePt t="8688" x="9748838" y="3451225"/>
          <p14:tracePt t="8689" x="9745663" y="3451225"/>
          <p14:tracePt t="8690" x="9740900" y="3451225"/>
          <p14:tracePt t="8691" x="9732963" y="3451225"/>
          <p14:tracePt t="8692" x="9729788" y="3454400"/>
          <p14:tracePt t="8693" x="9717088" y="3454400"/>
          <p14:tracePt t="8694" x="9713913" y="3459163"/>
          <p14:tracePt t="8695" x="9705975" y="3459163"/>
          <p14:tracePt t="8696" x="9698038" y="3462338"/>
          <p14:tracePt t="8697" x="9693275" y="3462338"/>
          <p14:tracePt t="8698" x="9682163" y="3467100"/>
          <p14:tracePt t="8699" x="9677400" y="3467100"/>
          <p14:tracePt t="8700" x="9669463" y="3470275"/>
          <p14:tracePt t="8701" x="9661525" y="3475038"/>
          <p14:tracePt t="8702" x="9653588" y="3479800"/>
          <p14:tracePt t="8703" x="9640888" y="3487738"/>
          <p14:tracePt t="8704" x="9632950" y="3490913"/>
          <p14:tracePt t="8705" x="9625013" y="3490913"/>
          <p14:tracePt t="8706" x="9617075" y="3495675"/>
          <p14:tracePt t="8707" x="9609138" y="3498850"/>
          <p14:tracePt t="8708" x="9601200" y="3503613"/>
          <p14:tracePt t="8709" x="9590088" y="3506788"/>
          <p14:tracePt t="8710" x="9582150" y="3511550"/>
          <p14:tracePt t="8711" x="9577388" y="3514725"/>
          <p14:tracePt t="8712" x="9564688" y="3522663"/>
          <p14:tracePt t="8713" x="9561513" y="3527425"/>
          <p14:tracePt t="8714" x="9553575" y="3530600"/>
          <p14:tracePt t="8715" x="9545638" y="3535363"/>
          <p14:tracePt t="8716" x="9537700" y="3538538"/>
          <p14:tracePt t="8717" x="9529763" y="3543300"/>
          <p14:tracePt t="8718" x="9517063" y="3546475"/>
          <p14:tracePt t="8719" x="9509125" y="3554413"/>
          <p14:tracePt t="8720" x="9505950" y="3562350"/>
          <p14:tracePt t="8721" x="9498013" y="3567113"/>
          <p14:tracePt t="8722" x="9490075" y="3571875"/>
          <p14:tracePt t="8723" x="9480550" y="3579813"/>
          <p14:tracePt t="8724" x="9469438" y="3582988"/>
          <p14:tracePt t="8726" x="9464675" y="3587750"/>
          <p14:tracePt t="8726" x="9456738" y="3595688"/>
          <p14:tracePt t="8727" x="9448800" y="3598863"/>
          <p14:tracePt t="8729" x="9437688" y="3614738"/>
          <p14:tracePt t="8730" x="9429750" y="3619500"/>
          <p14:tracePt t="8731" x="9424988" y="3627438"/>
          <p14:tracePt t="8732" x="9417050" y="3635375"/>
          <p14:tracePt t="8733" x="9413875" y="3638550"/>
          <p14:tracePt t="8734" x="9405938" y="3646488"/>
          <p14:tracePt t="8735" x="9401175" y="3651250"/>
          <p14:tracePt t="8736" x="9398000" y="3659188"/>
          <p14:tracePt t="8737" x="9380538" y="3667125"/>
          <p14:tracePt t="8738" x="9377363" y="3671888"/>
          <p14:tracePt t="8739" x="9372600" y="3679825"/>
          <p14:tracePt t="8740" x="9369425" y="3687763"/>
          <p14:tracePt t="8741" x="9361488" y="3690938"/>
          <p14:tracePt t="8742" x="9356725" y="3703638"/>
          <p14:tracePt t="8743" x="9353550" y="3711575"/>
          <p14:tracePt t="8744" x="9345613" y="3714750"/>
          <p14:tracePt t="8746" x="9332913" y="3730625"/>
          <p14:tracePt t="8747" x="9324975" y="3743325"/>
          <p14:tracePt t="8748" x="9321800" y="3751263"/>
          <p14:tracePt t="8749" x="9317038" y="3756025"/>
          <p14:tracePt t="8750" x="9313863" y="3763963"/>
          <p14:tracePt t="8751" x="9305925" y="3771900"/>
          <p14:tracePt t="8752" x="9301163" y="3779838"/>
          <p14:tracePt t="8753" x="9296400" y="3787775"/>
          <p14:tracePt t="8754" x="9293225" y="3790950"/>
          <p14:tracePt t="8755" x="9288463" y="3798888"/>
          <p14:tracePt t="8756" x="9285288" y="3806825"/>
          <p14:tracePt t="8757" x="9280525" y="3819525"/>
          <p14:tracePt t="8758" x="9272588" y="3827463"/>
          <p14:tracePt t="8759" x="9272588" y="3830638"/>
          <p14:tracePt t="8760" x="9269413" y="3838575"/>
          <p14:tracePt t="8761" x="9261475" y="3848100"/>
          <p14:tracePt t="8762" x="9256713" y="3856038"/>
          <p14:tracePt t="8763" x="9253538" y="3863975"/>
          <p14:tracePt t="8764" x="9253538" y="3871913"/>
          <p14:tracePt t="8765" x="9248775" y="3875088"/>
          <p14:tracePt t="8766" x="9245600" y="3887788"/>
          <p14:tracePt t="8767" x="9240838" y="3898900"/>
          <p14:tracePt t="8768" x="9237663" y="3898900"/>
          <p14:tracePt t="8769" x="9237663" y="3906838"/>
          <p14:tracePt t="8770" x="9232900" y="3919538"/>
          <p14:tracePt t="8771" x="9232900" y="3930650"/>
          <p14:tracePt t="8772" x="9229725" y="3940175"/>
          <p14:tracePt t="8773" x="9224963" y="3948113"/>
          <p14:tracePt t="8774" x="9224963" y="3956050"/>
          <p14:tracePt t="8776" x="9221788" y="3967163"/>
          <p14:tracePt t="8776" x="9221788" y="3975100"/>
          <p14:tracePt t="8777" x="9217025" y="3983038"/>
          <p14:tracePt t="8779" x="9213850" y="3998913"/>
          <p14:tracePt t="8780" x="9213850" y="4006850"/>
          <p14:tracePt t="8781" x="9209088" y="4024313"/>
          <p14:tracePt t="8782" x="9209088" y="4032250"/>
          <p14:tracePt t="8783" x="9204325" y="4040188"/>
          <p14:tracePt t="8784" x="9204325" y="4048125"/>
          <p14:tracePt t="8785" x="9204325" y="4056063"/>
          <p14:tracePt t="8786" x="9196388" y="4064000"/>
          <p14:tracePt t="8787" x="9196388" y="4071938"/>
          <p14:tracePt t="8788" x="9193213" y="4079875"/>
          <p14:tracePt t="8789" x="9193213" y="4087813"/>
          <p14:tracePt t="8790" x="9188450" y="4103688"/>
          <p14:tracePt t="8791" x="9188450" y="4111625"/>
          <p14:tracePt t="8792" x="9185275" y="4119563"/>
          <p14:tracePt t="8793" x="9185275" y="4127500"/>
          <p14:tracePt t="8794" x="9180513" y="4135438"/>
          <p14:tracePt t="8795" x="9180513" y="4143375"/>
          <p14:tracePt t="8796" x="9180513" y="4159250"/>
          <p14:tracePt t="8797" x="9177338" y="4167188"/>
          <p14:tracePt t="8798" x="9177338" y="4175125"/>
          <p14:tracePt t="8799" x="9172575" y="4183063"/>
          <p14:tracePt t="8800" x="9172575" y="4191000"/>
          <p14:tracePt t="8801" x="9169400" y="4198938"/>
          <p14:tracePt t="8802" x="9169400" y="4211638"/>
          <p14:tracePt t="8803" x="9164638" y="4219575"/>
          <p14:tracePt t="8804" x="9164638" y="4227513"/>
          <p14:tracePt t="8805" x="9161463" y="4235450"/>
          <p14:tracePt t="8806" x="9161463" y="4248150"/>
          <p14:tracePt t="8807" x="9153525" y="4259263"/>
          <p14:tracePt t="8808" x="9153525" y="4267200"/>
          <p14:tracePt t="8809" x="9148763" y="4275138"/>
          <p14:tracePt t="8810" x="9148763" y="4287838"/>
          <p14:tracePt t="8811" x="9145588" y="4295775"/>
          <p14:tracePt t="8812" x="9140825" y="4308475"/>
          <p14:tracePt t="8813" x="9140825" y="4316413"/>
          <p14:tracePt t="8814" x="9137650" y="4324350"/>
          <p14:tracePt t="8815" x="9132888" y="4332288"/>
          <p14:tracePt t="8817" x="9132888" y="4340225"/>
          <p14:tracePt t="8817" x="9129713" y="4348163"/>
          <p14:tracePt t="8818" x="9124950" y="4356100"/>
          <p14:tracePt t="8819" x="9124950" y="4359275"/>
          <p14:tracePt t="8820" x="9120188" y="4371975"/>
          <p14:tracePt t="8821" x="9117013" y="4375150"/>
          <p14:tracePt t="8822" x="9112250" y="4383088"/>
          <p14:tracePt t="8823" x="9112250" y="4392613"/>
          <p14:tracePt t="8824" x="9109075" y="4395788"/>
          <p14:tracePt t="8826" x="9104313" y="4403725"/>
          <p14:tracePt t="8826" x="9101138" y="4416425"/>
          <p14:tracePt t="8828" x="9096375" y="4424363"/>
          <p14:tracePt t="8829" x="9093200" y="4427538"/>
          <p14:tracePt t="8830" x="9088438" y="4435475"/>
          <p14:tracePt t="8831" x="9088438" y="4443413"/>
          <p14:tracePt t="8832" x="9085263" y="4448175"/>
          <p14:tracePt t="8833" x="9080500" y="4456113"/>
          <p14:tracePt t="8834" x="9077325" y="4464050"/>
          <p14:tracePt t="8835" x="9072563" y="4467225"/>
          <p14:tracePt t="8836" x="9069388" y="4475163"/>
          <p14:tracePt t="8837" x="9064625" y="4479925"/>
          <p14:tracePt t="8838" x="9061450" y="4484688"/>
          <p14:tracePt t="8839" x="9061450" y="4492625"/>
          <p14:tracePt t="8840" x="9053513" y="4495800"/>
          <p14:tracePt t="8841" x="9053513" y="4503738"/>
          <p14:tracePt t="8842" x="9048750" y="4508500"/>
          <p14:tracePt t="8843" x="9045575" y="4511675"/>
          <p14:tracePt t="8844" x="9040813" y="4519613"/>
          <p14:tracePt t="8846" x="9037638" y="4524375"/>
          <p14:tracePt t="8846" x="9032875" y="4527550"/>
          <p14:tracePt t="8847" x="9032875" y="4532313"/>
          <p14:tracePt t="8848" x="9028113" y="4540250"/>
          <p14:tracePt t="8849" x="9024938" y="4543425"/>
          <p14:tracePt t="8850" x="9024938" y="4548188"/>
          <p14:tracePt t="8851" x="9020175" y="4556125"/>
          <p14:tracePt t="8852" x="9017000" y="4559300"/>
          <p14:tracePt t="8854" x="9009063" y="4567238"/>
          <p14:tracePt t="8855" x="9009063" y="4576763"/>
          <p14:tracePt t="8856" x="9004300" y="4576763"/>
          <p14:tracePt t="8857" x="9001125" y="4579938"/>
          <p14:tracePt t="8858" x="8996363" y="4584700"/>
          <p14:tracePt t="8859" x="8993188" y="4587875"/>
          <p14:tracePt t="8860" x="8993188" y="4592638"/>
          <p14:tracePt t="8861" x="8988425" y="4600575"/>
          <p14:tracePt t="8863" x="8980488" y="4608513"/>
          <p14:tracePt t="8864" x="8977313" y="4611688"/>
          <p14:tracePt t="8865" x="8972550" y="4616450"/>
          <p14:tracePt t="8866" x="8972550" y="4619625"/>
          <p14:tracePt t="8867" x="8969375" y="4624388"/>
          <p14:tracePt t="8868" x="8964613" y="4632325"/>
          <p14:tracePt t="8869" x="8961438" y="4632325"/>
          <p14:tracePt t="8870" x="8961438" y="4635500"/>
          <p14:tracePt t="8871" x="8956675" y="4640263"/>
          <p14:tracePt t="8872" x="8956675" y="4643438"/>
          <p14:tracePt t="8873" x="8953500" y="4648200"/>
          <p14:tracePt t="8874" x="8948738" y="4651375"/>
          <p14:tracePt t="8876" x="8940800" y="4659313"/>
          <p14:tracePt t="8877" x="8940800" y="4664075"/>
          <p14:tracePt t="8879" x="8936038" y="4668838"/>
          <p14:tracePt t="8880" x="8928100" y="4672013"/>
          <p14:tracePt t="8881" x="8924925" y="4672013"/>
          <p14:tracePt t="8882" x="8924925" y="4676775"/>
          <p14:tracePt t="8883" x="8920163" y="4679950"/>
          <p14:tracePt t="8884" x="8916988" y="4687888"/>
          <p14:tracePt t="8886" x="8916988" y="4692650"/>
          <p14:tracePt t="8887" x="8912225" y="4695825"/>
          <p14:tracePt t="8888" x="8909050" y="4703763"/>
          <p14:tracePt t="8893" x="8901113" y="4719638"/>
          <p14:tracePt t="8894" x="8896350" y="4724400"/>
          <p14:tracePt t="8896" x="8893175" y="4727575"/>
          <p14:tracePt t="8897" x="8888413" y="4732338"/>
          <p14:tracePt t="8898" x="8885238" y="4732338"/>
          <p14:tracePt t="8899" x="8885238" y="4735513"/>
          <p14:tracePt t="8900" x="8885238" y="4740275"/>
          <p14:tracePt t="8901" x="8880475" y="4743450"/>
          <p14:tracePt t="8902" x="8880475" y="4748213"/>
          <p14:tracePt t="8903" x="8877300" y="4751388"/>
          <p14:tracePt t="8904" x="8872538" y="4756150"/>
          <p14:tracePt t="8906" x="8872538" y="4760913"/>
          <p14:tracePt t="8907" x="8872538" y="4764088"/>
          <p14:tracePt t="8908" x="8869363" y="4768850"/>
          <p14:tracePt t="8910" x="8864600" y="4772025"/>
          <p14:tracePt t="8912" x="8864600" y="4776788"/>
          <p14:tracePt t="8913" x="8861425" y="4779963"/>
          <p14:tracePt t="8914" x="8856663" y="4784725"/>
          <p14:tracePt t="8916" x="8856663" y="4787900"/>
          <p14:tracePt t="8917" x="8853488" y="4792663"/>
          <p14:tracePt t="8918" x="8853488" y="4795838"/>
          <p14:tracePt t="8919" x="8848725" y="4800600"/>
          <p14:tracePt t="8921" x="8848725" y="4803775"/>
          <p14:tracePt t="8922" x="8843963" y="4808538"/>
          <p14:tracePt t="8923" x="8843963" y="4811713"/>
          <p14:tracePt t="8924" x="8840788" y="4811713"/>
          <p14:tracePt t="8926" x="8836025" y="4816475"/>
          <p14:tracePt t="8927" x="8836025" y="4819650"/>
          <p14:tracePt t="8928" x="8832850" y="4824413"/>
          <p14:tracePt t="8929" x="8832850" y="4827588"/>
          <p14:tracePt t="8930" x="8832850" y="4832350"/>
          <p14:tracePt t="8931" x="8832850" y="4835525"/>
          <p14:tracePt t="8932" x="8828088" y="4840288"/>
          <p14:tracePt t="8933" x="8828088" y="4843463"/>
          <p14:tracePt t="8934" x="8824913" y="4848225"/>
          <p14:tracePt t="8935" x="8824913" y="4852988"/>
          <p14:tracePt t="8936" x="8820150" y="4852988"/>
          <p14:tracePt t="8937" x="8820150" y="4856163"/>
          <p14:tracePt t="8938" x="8816975" y="4860925"/>
          <p14:tracePt t="8939" x="8816975" y="4864100"/>
          <p14:tracePt t="8941" x="8816975" y="4868863"/>
          <p14:tracePt t="8945" x="8812213" y="4872038"/>
          <p14:tracePt t="8945" x="8812213" y="4876800"/>
          <p14:tracePt t="8947" x="8812213" y="4879975"/>
          <p14:tracePt t="8950" x="8812213" y="4884738"/>
          <p14:tracePt t="8953" x="8812213" y="4887913"/>
          <p14:tracePt t="8955" x="8812213" y="4892675"/>
          <p14:tracePt t="8959" x="8809038" y="4892675"/>
          <p14:tracePt t="8960" x="8809038" y="4895850"/>
          <p14:tracePt t="8962" x="8809038" y="4900613"/>
          <p14:tracePt t="8965" x="8809038" y="4903788"/>
          <p14:tracePt t="8968" x="8809038" y="4908550"/>
          <p14:tracePt t="8970" x="8809038" y="4911725"/>
          <p14:tracePt t="8972" x="8809038" y="4916488"/>
          <p14:tracePt t="8974" x="8809038" y="4919663"/>
          <p14:tracePt t="8976" x="8812213" y="4924425"/>
          <p14:tracePt t="8980" x="8812213" y="4927600"/>
          <p14:tracePt t="8981" x="8816975" y="4927600"/>
          <p14:tracePt t="8982" x="8816975" y="4932363"/>
          <p14:tracePt t="8984" x="8820150" y="4932363"/>
          <p14:tracePt t="8987" x="8824913" y="4935538"/>
          <p14:tracePt t="8989" x="8828088" y="4935538"/>
          <p14:tracePt t="8990" x="8828088" y="4940300"/>
          <p14:tracePt t="8993" x="8832850" y="4945063"/>
          <p14:tracePt t="8995" x="8836025" y="4945063"/>
          <p14:tracePt t="8997" x="8840788" y="4945063"/>
          <p14:tracePt t="8999" x="8840788" y="4948238"/>
          <p14:tracePt t="9000" x="8843963" y="4948238"/>
          <p14:tracePt t="9002" x="8848725" y="4948238"/>
          <p14:tracePt t="9008" x="8853488" y="4948238"/>
          <p14:tracePt t="9033" x="8856663" y="4948238"/>
          <p14:tracePt t="9043" x="8856663" y="4945063"/>
          <p14:tracePt t="9048" x="8856663" y="4940300"/>
          <p14:tracePt t="9050" x="8856663" y="4935538"/>
          <p14:tracePt t="9052" x="8861425" y="4935538"/>
          <p14:tracePt t="9055" x="8861425" y="4932363"/>
          <p14:tracePt t="9058" x="8861425" y="4927600"/>
          <p14:tracePt t="9061" x="8861425" y="4924425"/>
          <p14:tracePt t="9063" x="8861425" y="4919663"/>
          <p14:tracePt t="9067" x="8861425" y="4916488"/>
          <p14:tracePt t="9070" x="8861425" y="4911725"/>
          <p14:tracePt t="9079" x="8861425" y="4908550"/>
          <p14:tracePt t="9140" x="8856663" y="4908550"/>
          <p14:tracePt t="9152" x="8856663" y="4911725"/>
          <p14:tracePt t="9162" x="8856663" y="4916488"/>
          <p14:tracePt t="9201" x="8861425" y="4911725"/>
          <p14:tracePt t="9203" x="8864600" y="4911725"/>
          <p14:tracePt t="9204" x="8864600" y="4908550"/>
          <p14:tracePt t="9205" x="8869363" y="4908550"/>
          <p14:tracePt t="9206" x="8869363" y="4903788"/>
          <p14:tracePt t="9207" x="8872538" y="4903788"/>
          <p14:tracePt t="9208" x="8877300" y="4900613"/>
          <p14:tracePt t="9209" x="8877300" y="4895850"/>
          <p14:tracePt t="9210" x="8880475" y="4895850"/>
          <p14:tracePt t="9211" x="8888413" y="4892675"/>
          <p14:tracePt t="9212" x="8893175" y="4892675"/>
          <p14:tracePt t="9213" x="8896350" y="4887913"/>
          <p14:tracePt t="9214" x="8901113" y="4884738"/>
          <p14:tracePt t="9215" x="8904288" y="4879975"/>
          <p14:tracePt t="9216" x="8912225" y="4876800"/>
          <p14:tracePt t="9217" x="8920163" y="4872038"/>
          <p14:tracePt t="9218" x="8924925" y="4872038"/>
          <p14:tracePt t="9219" x="8932863" y="4868863"/>
          <p14:tracePt t="9220" x="8936038" y="4860925"/>
          <p14:tracePt t="9221" x="8945563" y="4852988"/>
          <p14:tracePt t="9222" x="8948738" y="4852988"/>
          <p14:tracePt t="9223" x="8956675" y="4848225"/>
          <p14:tracePt t="9224" x="8961438" y="4843463"/>
          <p14:tracePt t="9226" x="8977313" y="4835525"/>
          <p14:tracePt t="9228" x="8988425" y="4827588"/>
          <p14:tracePt t="9229" x="8996363" y="4816475"/>
          <p14:tracePt t="9230" x="9009063" y="4811713"/>
          <p14:tracePt t="9231" x="9012238" y="4808538"/>
          <p14:tracePt t="9232" x="9020175" y="4803775"/>
          <p14:tracePt t="9233" x="9020175" y="4800600"/>
          <p14:tracePt t="9234" x="9028113" y="4795838"/>
          <p14:tracePt t="9235" x="9032875" y="4795838"/>
          <p14:tracePt t="9236" x="9040813" y="4784725"/>
          <p14:tracePt t="9237" x="9045575" y="4784725"/>
          <p14:tracePt t="9238" x="9048750" y="4784725"/>
          <p14:tracePt t="9239" x="9056688" y="4779963"/>
          <p14:tracePt t="9240" x="9061450" y="4768850"/>
          <p14:tracePt t="9241" x="9069388" y="4764088"/>
          <p14:tracePt t="9242" x="9072563" y="4760913"/>
          <p14:tracePt t="9243" x="9077325" y="4756150"/>
          <p14:tracePt t="9244" x="9080500" y="4756150"/>
          <p14:tracePt t="9246" x="9093200" y="4748213"/>
          <p14:tracePt t="9247" x="9101138" y="4748213"/>
          <p14:tracePt t="9248" x="9104313" y="4743450"/>
          <p14:tracePt t="9249" x="9109075" y="4740275"/>
          <p14:tracePt t="9250" x="9112250" y="4732338"/>
          <p14:tracePt t="9251" x="9117013" y="4727575"/>
          <p14:tracePt t="9252" x="9120188" y="4724400"/>
          <p14:tracePt t="9253" x="9124950" y="4724400"/>
          <p14:tracePt t="9254" x="9132888" y="4719638"/>
          <p14:tracePt t="9255" x="9137650" y="4711700"/>
          <p14:tracePt t="9256" x="9140825" y="4708525"/>
          <p14:tracePt t="9257" x="9145588" y="4703763"/>
          <p14:tracePt t="9259" x="9153525" y="4700588"/>
          <p14:tracePt t="9260" x="9161463" y="4692650"/>
          <p14:tracePt t="9263" x="9164638" y="4687888"/>
          <p14:tracePt t="9263" x="9169400" y="4684713"/>
          <p14:tracePt t="9264" x="9177338" y="4676775"/>
          <p14:tracePt t="9265" x="9180513" y="4672013"/>
          <p14:tracePt t="9266" x="9185275" y="4668838"/>
          <p14:tracePt t="9267" x="9188450" y="4664075"/>
          <p14:tracePt t="9268" x="9193213" y="4659313"/>
          <p14:tracePt t="9269" x="9196388" y="4656138"/>
          <p14:tracePt t="9270" x="9204325" y="4651375"/>
          <p14:tracePt t="9271" x="9209088" y="4648200"/>
          <p14:tracePt t="9272" x="9213850" y="4648200"/>
          <p14:tracePt t="9273" x="9217025" y="4643438"/>
          <p14:tracePt t="9274" x="9224963" y="4640263"/>
          <p14:tracePt t="9276" x="9229725" y="4635500"/>
          <p14:tracePt t="9276" x="9229725" y="4632325"/>
          <p14:tracePt t="9277" x="9232900" y="4627563"/>
          <p14:tracePt t="9281" x="9245600" y="4616450"/>
          <p14:tracePt t="9281" x="9248775" y="4611688"/>
          <p14:tracePt t="9282" x="9253538" y="4608513"/>
          <p14:tracePt t="9283" x="9256713" y="4603750"/>
          <p14:tracePt t="9284" x="9261475" y="4603750"/>
          <p14:tracePt t="9285" x="9264650" y="4600575"/>
          <p14:tracePt t="9286" x="9269413" y="4595813"/>
          <p14:tracePt t="9287" x="9269413" y="4592638"/>
          <p14:tracePt t="9288" x="9272588" y="4587875"/>
          <p14:tracePt t="9289" x="9277350" y="4584700"/>
          <p14:tracePt t="9290" x="9280525" y="4579938"/>
          <p14:tracePt t="9291" x="9285288" y="4576763"/>
          <p14:tracePt t="9292" x="9285288" y="4572000"/>
          <p14:tracePt t="9293" x="9288463" y="4567238"/>
          <p14:tracePt t="9296" x="9296400" y="4564063"/>
          <p14:tracePt t="9297" x="9305925" y="4559300"/>
          <p14:tracePt t="9298" x="9309100" y="4556125"/>
          <p14:tracePt t="9299" x="9313863" y="4548188"/>
          <p14:tracePt t="9300" x="9313863" y="4543425"/>
          <p14:tracePt t="9301" x="9313863" y="4540250"/>
          <p14:tracePt t="9302" x="9317038" y="4535488"/>
          <p14:tracePt t="9303" x="9321800" y="4532313"/>
          <p14:tracePt t="9304" x="9324975" y="4527550"/>
          <p14:tracePt t="9305" x="9329738" y="4524375"/>
          <p14:tracePt t="9306" x="9332913" y="4519613"/>
          <p14:tracePt t="9307" x="9337675" y="4516438"/>
          <p14:tracePt t="9308" x="9340850" y="4516438"/>
          <p14:tracePt t="9309" x="9348788" y="4511675"/>
          <p14:tracePt t="9310" x="9353550" y="4508500"/>
          <p14:tracePt t="9313" x="9361488" y="4495800"/>
          <p14:tracePt t="9314" x="9364663" y="4492625"/>
          <p14:tracePt t="9315" x="9369425" y="4484688"/>
          <p14:tracePt t="9316" x="9372600" y="4479925"/>
          <p14:tracePt t="9317" x="9380538" y="4475163"/>
          <p14:tracePt t="9318" x="9385300" y="4471988"/>
          <p14:tracePt t="9319" x="9388475" y="4467225"/>
          <p14:tracePt t="9320" x="9398000" y="4459288"/>
          <p14:tracePt t="9322" x="9401175" y="4456113"/>
          <p14:tracePt t="9322" x="9405938" y="4451350"/>
          <p14:tracePt t="9323" x="9413875" y="4448175"/>
          <p14:tracePt t="9324" x="9417050" y="4440238"/>
          <p14:tracePt t="9326" x="9424988" y="4435475"/>
          <p14:tracePt t="9326" x="9429750" y="4432300"/>
          <p14:tracePt t="9327" x="9437688" y="4424363"/>
          <p14:tracePt t="9329" x="9456738" y="4411663"/>
          <p14:tracePt t="9330" x="9464675" y="4408488"/>
          <p14:tracePt t="9331" x="9472613" y="4403725"/>
          <p14:tracePt t="9332" x="9480550" y="4392613"/>
          <p14:tracePt t="9333" x="9493250" y="4383088"/>
          <p14:tracePt t="9334" x="9501188" y="4379913"/>
          <p14:tracePt t="9335" x="9513888" y="4371975"/>
          <p14:tracePt t="9336" x="9525000" y="4364038"/>
          <p14:tracePt t="9337" x="9532938" y="4356100"/>
          <p14:tracePt t="9338" x="9545638" y="4348163"/>
          <p14:tracePt t="9339" x="9561513" y="4335463"/>
          <p14:tracePt t="9340" x="9569450" y="4332288"/>
          <p14:tracePt t="9341" x="9585325" y="4324350"/>
          <p14:tracePt t="9342" x="9605963" y="4311650"/>
          <p14:tracePt t="9343" x="9613900" y="4303713"/>
          <p14:tracePt t="9344" x="9629775" y="4295775"/>
          <p14:tracePt t="9346" x="9661525" y="4279900"/>
          <p14:tracePt t="9347" x="9677400" y="4271963"/>
          <p14:tracePt t="9348" x="9698038" y="4256088"/>
          <p14:tracePt t="9349" x="9713913" y="4243388"/>
          <p14:tracePt t="9350" x="9725025" y="4235450"/>
          <p14:tracePt t="9351" x="9740900" y="4227513"/>
          <p14:tracePt t="9352" x="9769475" y="4208463"/>
          <p14:tracePt t="9353" x="9790113" y="4198938"/>
          <p14:tracePt t="9354" x="9813925" y="4183063"/>
          <p14:tracePt t="9355" x="9832975" y="4171950"/>
          <p14:tracePt t="9356" x="9850438" y="4164013"/>
          <p14:tracePt t="9357" x="9869488" y="4148138"/>
          <p14:tracePt t="9358" x="9906000" y="4127500"/>
          <p14:tracePt t="9360" x="9925050" y="4116388"/>
          <p14:tracePt t="9360" x="9950450" y="4098925"/>
          <p14:tracePt t="9361" x="9977438" y="4087813"/>
          <p14:tracePt t="9363" x="10037763" y="4051300"/>
          <p14:tracePt t="9364" x="10061575" y="4035425"/>
          <p14:tracePt t="9365" x="10090150" y="4024313"/>
          <p14:tracePt t="9366" x="10113963" y="4006850"/>
          <p14:tracePt t="9367" x="10142538" y="3995738"/>
          <p14:tracePt t="9368" x="10185400" y="3975100"/>
          <p14:tracePt t="9369" x="10210800" y="3959225"/>
          <p14:tracePt t="9370" x="10237788" y="3948113"/>
          <p14:tracePt t="9371" x="10269538" y="3930650"/>
          <p14:tracePt t="9372" x="10306050" y="3911600"/>
          <p14:tracePt t="9373" x="10334625" y="3898900"/>
          <p14:tracePt t="9374" x="10366375" y="3883025"/>
          <p14:tracePt t="9376" x="10421938" y="3859213"/>
          <p14:tracePt t="9377" x="10469563" y="3838575"/>
          <p14:tracePt t="9378" x="10498138" y="3827463"/>
          <p14:tracePt t="9380" x="10558463" y="3798888"/>
          <p14:tracePt t="9381" x="10587038" y="3787775"/>
          <p14:tracePt t="9382" x="10629900" y="3767138"/>
          <p14:tracePt t="9383" x="10658475" y="3756025"/>
          <p14:tracePt t="9384" x="10690225" y="3743325"/>
          <p14:tracePt t="9385" x="10718800" y="3738563"/>
          <p14:tracePt t="9386" x="10745788" y="3727450"/>
          <p14:tracePt t="9387" x="10790238" y="3706813"/>
          <p14:tracePt t="9388" x="10818813" y="3698875"/>
          <p14:tracePt t="9389" x="10855325" y="3687763"/>
          <p14:tracePt t="9390" x="10887075" y="3675063"/>
          <p14:tracePt t="9391" x="10914063" y="3671888"/>
          <p14:tracePt t="9392" x="10958513" y="3659188"/>
          <p14:tracePt t="9393" x="10987088" y="3651250"/>
          <p14:tracePt t="9394" x="11014075" y="3643313"/>
          <p14:tracePt t="9396" x="11087100" y="3622675"/>
          <p14:tracePt t="9397" x="11123613" y="3619500"/>
          <p14:tracePt t="9398" x="11150600" y="3611563"/>
          <p14:tracePt t="9399" x="11179175" y="3598863"/>
          <p14:tracePt t="9400" x="11207750" y="3595688"/>
          <p14:tracePt t="9401" x="11242675" y="3587750"/>
          <p14:tracePt t="9402" x="11279188" y="3575050"/>
          <p14:tracePt t="9403" x="11315700" y="3571875"/>
          <p14:tracePt t="9404" x="11342688" y="3562350"/>
          <p14:tracePt t="9405" x="11371263" y="3559175"/>
          <p14:tracePt t="9406" x="11415713" y="3551238"/>
          <p14:tracePt t="9407" x="11442700" y="3546475"/>
          <p14:tracePt t="9408" x="11471275" y="3543300"/>
          <p14:tracePt t="9410" x="11491913" y="3535363"/>
          <p14:tracePt t="9410" x="11518900" y="3530600"/>
          <p14:tracePt t="9411" x="11547475" y="3527425"/>
          <p14:tracePt t="9412" x="11591925" y="3527425"/>
          <p14:tracePt t="9414" x="11618913" y="3519488"/>
          <p14:tracePt t="9414" x="11639550" y="3519488"/>
          <p14:tracePt t="9415" x="11663363" y="3514725"/>
          <p14:tracePt t="9416" x="11699875" y="3514725"/>
          <p14:tracePt t="9417" x="11726863" y="3511550"/>
          <p14:tracePt t="9418" x="11747500" y="3511550"/>
          <p14:tracePt t="9419" x="11763375" y="3503613"/>
          <p14:tracePt t="9420" x="11791950" y="3503613"/>
          <p14:tracePt t="9421" x="11818938" y="3498850"/>
          <p14:tracePt t="9422" x="11839575" y="3498850"/>
          <p14:tracePt t="9423" x="11860213" y="3498850"/>
          <p14:tracePt t="9424" x="11876088" y="3495675"/>
          <p14:tracePt t="9426" x="11915775" y="3495675"/>
          <p14:tracePt t="9428" x="11947525" y="3495675"/>
          <p14:tracePt t="9429" x="11968163" y="3495675"/>
          <p14:tracePt t="9430" x="11987213" y="3495675"/>
          <p14:tracePt t="9431" x="11999913" y="3490913"/>
          <p14:tracePt t="9432" x="12015788" y="3490913"/>
          <p14:tracePt t="9433" x="12028488" y="3490913"/>
          <p14:tracePt t="9434" x="12044363" y="3490913"/>
          <p14:tracePt t="9435" x="12055475" y="3490913"/>
          <p14:tracePt t="9436" x="12068175" y="3490913"/>
          <p14:tracePt t="9437" x="12084050" y="3490913"/>
          <p14:tracePt t="9438" x="12091988" y="3490913"/>
          <p14:tracePt t="9439" x="12099925" y="3490913"/>
          <p14:tracePt t="9440" x="12120563" y="3490913"/>
          <p14:tracePt t="9441" x="12128500" y="3490913"/>
          <p14:tracePt t="9442" x="12136438" y="3490913"/>
          <p14:tracePt t="9444" x="12144375" y="3490913"/>
          <p14:tracePt t="9444" x="12152313" y="3490913"/>
          <p14:tracePt t="9445" x="12163425" y="3490913"/>
          <p14:tracePt t="9446" x="12171363" y="3490913"/>
          <p14:tracePt t="9447" x="12176125" y="3490913"/>
          <p14:tracePt t="9448" x="12184063" y="3490913"/>
          <p14:tracePt t="10183" x="12136438" y="3683000"/>
          <p14:tracePt t="10184" x="12107863" y="3683000"/>
          <p14:tracePt t="10186" x="12084050" y="3683000"/>
          <p14:tracePt t="10186" x="12055475" y="3687763"/>
          <p14:tracePt t="10189" x="11947525" y="3690938"/>
          <p14:tracePt t="10190" x="11923713" y="3690938"/>
          <p14:tracePt t="10191" x="11887200" y="3690938"/>
          <p14:tracePt t="10192" x="11852275" y="3698875"/>
          <p14:tracePt t="10193" x="11807825" y="3698875"/>
          <p14:tracePt t="10194" x="11771313" y="3703638"/>
          <p14:tracePt t="10195" x="11739563" y="3703638"/>
          <p14:tracePt t="10196" x="11703050" y="3703638"/>
          <p14:tracePt t="10197" x="11660188" y="3711575"/>
          <p14:tracePt t="10198" x="11623675" y="3711575"/>
          <p14:tracePt t="10199" x="11587163" y="3714750"/>
          <p14:tracePt t="10200" x="11563350" y="3714750"/>
          <p14:tracePt t="10201" x="11526838" y="3714750"/>
          <p14:tracePt t="10203" x="11447463" y="3722688"/>
          <p14:tracePt t="10204" x="11410950" y="3730625"/>
          <p14:tracePt t="10205" x="11379200" y="3730625"/>
          <p14:tracePt t="10206" x="11350625" y="3735388"/>
          <p14:tracePt t="10207" x="11299825" y="3743325"/>
          <p14:tracePt t="10208" x="11271250" y="3743325"/>
          <p14:tracePt t="10209" x="11234738" y="3746500"/>
          <p14:tracePt t="10210" x="11207750" y="3746500"/>
          <p14:tracePt t="10211" x="11182350" y="3756025"/>
          <p14:tracePt t="10212" x="11139488" y="3756025"/>
          <p14:tracePt t="10213" x="11110913" y="3759200"/>
          <p14:tracePt t="10214" x="11074400" y="3759200"/>
          <p14:tracePt t="10215" x="11047413" y="3763963"/>
          <p14:tracePt t="10216" x="11018838" y="3771900"/>
          <p14:tracePt t="10217" x="10995025" y="3771900"/>
          <p14:tracePt t="10218" x="10950575" y="3775075"/>
          <p14:tracePt t="10219" x="10922000" y="3783013"/>
          <p14:tracePt t="10220" x="10895013" y="3783013"/>
          <p14:tracePt t="10221" x="10866438" y="3787775"/>
          <p14:tracePt t="10222" x="10829925" y="3795713"/>
          <p14:tracePt t="10223" x="10802938" y="3798888"/>
          <p14:tracePt t="10224" x="10774363" y="3803650"/>
          <p14:tracePt t="10226" x="10729913" y="3811588"/>
          <p14:tracePt t="10227" x="10694988" y="3814763"/>
          <p14:tracePt t="10228" x="10666413" y="3819525"/>
          <p14:tracePt t="10229" x="10645775" y="3827463"/>
          <p14:tracePt t="10230" x="10618788" y="3827463"/>
          <p14:tracePt t="10231" x="10598150" y="3830638"/>
          <p14:tracePt t="10232" x="10561638" y="3835400"/>
          <p14:tracePt t="10233" x="10545763" y="3835400"/>
          <p14:tracePt t="10234" x="10526713" y="3843338"/>
          <p14:tracePt t="10235" x="10506075" y="3848100"/>
          <p14:tracePt t="10236" x="10487025" y="3851275"/>
          <p14:tracePt t="10237" x="10458450" y="3856038"/>
          <p14:tracePt t="10238" x="10437813" y="3856038"/>
          <p14:tracePt t="10239" x="10426700" y="3863975"/>
          <p14:tracePt t="10240" x="10406063" y="3867150"/>
          <p14:tracePt t="10241" x="10390188" y="3871913"/>
          <p14:tracePt t="10242" x="10366375" y="3875088"/>
          <p14:tracePt t="10243" x="10350500" y="3875088"/>
          <p14:tracePt t="10244" x="10337800" y="3883025"/>
          <p14:tracePt t="10245" x="10321925" y="3887788"/>
          <p14:tracePt t="10246" x="10302875" y="3890963"/>
          <p14:tracePt t="10247" x="10290175" y="3895725"/>
          <p14:tracePt t="10248" x="10274300" y="3895725"/>
          <p14:tracePt t="10249" x="10261600" y="3898900"/>
          <p14:tracePt t="10250" x="10253663" y="3903663"/>
          <p14:tracePt t="10251" x="10237788" y="3911600"/>
          <p14:tracePt t="10252" x="10226675" y="3914775"/>
          <p14:tracePt t="10253" x="10218738" y="3914775"/>
          <p14:tracePt t="10254" x="10206038" y="3919538"/>
          <p14:tracePt t="10255" x="10198100" y="3922713"/>
          <p14:tracePt t="10256" x="10185400" y="3927475"/>
          <p14:tracePt t="10257" x="10177463" y="3927475"/>
          <p14:tracePt t="10258" x="10166350" y="3930650"/>
          <p14:tracePt t="10259" x="10161588" y="3930650"/>
          <p14:tracePt t="10260" x="10153650" y="3935413"/>
          <p14:tracePt t="10261" x="10145713" y="3940175"/>
          <p14:tracePt t="10262" x="10142538" y="3940175"/>
          <p14:tracePt t="10263" x="10134600" y="3943350"/>
          <p14:tracePt t="10264" x="10129838" y="3948113"/>
          <p14:tracePt t="10266" x="10126663" y="3951288"/>
          <p14:tracePt t="10267" x="10121900" y="3951288"/>
          <p14:tracePt t="10268" x="10118725" y="3956050"/>
          <p14:tracePt t="10270" x="10113963" y="3956050"/>
          <p14:tracePt t="10271" x="10109200" y="3959225"/>
          <p14:tracePt t="10273" x="10106025" y="3959225"/>
          <p14:tracePt t="10278" x="10101263" y="3959225"/>
          <p14:tracePt t="10287" x="10101263" y="3963988"/>
          <p14:tracePt t="10307" x="10106025" y="3963988"/>
          <p14:tracePt t="10320" x="10106025" y="3959225"/>
          <p14:tracePt t="10321" x="10109200" y="3959225"/>
          <p14:tracePt t="10326" x="10109200" y="3956050"/>
          <p14:tracePt t="10328" x="10113963" y="3956050"/>
          <p14:tracePt t="10330" x="10113963" y="3951288"/>
          <p14:tracePt t="10332" x="10118725" y="3951288"/>
          <p14:tracePt t="10333" x="10118725" y="3948113"/>
          <p14:tracePt t="10334" x="10121900" y="3948113"/>
          <p14:tracePt t="10335" x="10121900" y="3943350"/>
          <p14:tracePt t="10337" x="10126663" y="3943350"/>
          <p14:tracePt t="10338" x="10126663" y="3940175"/>
          <p14:tracePt t="10342" x="10126663" y="3935413"/>
          <p14:tracePt t="10344" x="10129838" y="3930650"/>
          <p14:tracePt t="10346" x="10129838" y="3927475"/>
          <p14:tracePt t="10347" x="10134600" y="3927475"/>
          <p14:tracePt t="10348" x="10134600" y="3922713"/>
          <p14:tracePt t="10349" x="10134600" y="3919538"/>
          <p14:tracePt t="10351" x="10134600" y="3914775"/>
          <p14:tracePt t="10352" x="10137775" y="3911600"/>
          <p14:tracePt t="10353" x="10137775" y="3906838"/>
          <p14:tracePt t="10354" x="10137775" y="3903663"/>
          <p14:tracePt t="10355" x="10142538" y="3898900"/>
          <p14:tracePt t="10358" x="10145713" y="3895725"/>
          <p14:tracePt t="10359" x="10145713" y="3890963"/>
          <p14:tracePt t="10362" x="10145713" y="3879850"/>
          <p14:tracePt t="10363" x="10150475" y="3875088"/>
          <p14:tracePt t="10364" x="10150475" y="3871913"/>
          <p14:tracePt t="10365" x="10150475" y="3867150"/>
          <p14:tracePt t="10366" x="10150475" y="3863975"/>
          <p14:tracePt t="10367" x="10150475" y="3859213"/>
          <p14:tracePt t="10369" x="10150475" y="3856038"/>
          <p14:tracePt t="10370" x="10153650" y="3848100"/>
          <p14:tracePt t="10371" x="10153650" y="3843338"/>
          <p14:tracePt t="10372" x="10153650" y="3838575"/>
          <p14:tracePt t="10373" x="10153650" y="3835400"/>
          <p14:tracePt t="10375" x="10153650" y="3830638"/>
          <p14:tracePt t="10376" x="10153650" y="3819525"/>
          <p14:tracePt t="10377" x="10153650" y="3814763"/>
          <p14:tracePt t="10378" x="10153650" y="3811588"/>
          <p14:tracePt t="10379" x="10153650" y="3806825"/>
          <p14:tracePt t="10380" x="10153650" y="3803650"/>
          <p14:tracePt t="10382" x="10153650" y="3795713"/>
          <p14:tracePt t="10383" x="10153650" y="3790950"/>
          <p14:tracePt t="10384" x="10153650" y="3787775"/>
          <p14:tracePt t="10385" x="10153650" y="3783013"/>
          <p14:tracePt t="10386" x="10158413" y="3779838"/>
          <p14:tracePt t="10387" x="10158413" y="3775075"/>
          <p14:tracePt t="10388" x="10158413" y="3771900"/>
          <p14:tracePt t="10389" x="10158413" y="3767138"/>
          <p14:tracePt t="10390" x="10158413" y="3763963"/>
          <p14:tracePt t="10391" x="10158413" y="3759200"/>
          <p14:tracePt t="10393" x="10158413" y="3751263"/>
          <p14:tracePt t="10394" x="10158413" y="3746500"/>
          <p14:tracePt t="10396" x="10158413" y="3743325"/>
          <p14:tracePt t="10397" x="10158413" y="3738563"/>
          <p14:tracePt t="10398" x="10158413" y="3735388"/>
          <p14:tracePt t="10399" x="10158413" y="3730625"/>
          <p14:tracePt t="10400" x="10158413" y="3727450"/>
          <p14:tracePt t="10401" x="10158413" y="3722688"/>
          <p14:tracePt t="10402" x="10158413" y="3719513"/>
          <p14:tracePt t="10403" x="10158413" y="3714750"/>
          <p14:tracePt t="10404" x="10158413" y="3711575"/>
          <p14:tracePt t="10407" x="10158413" y="3706813"/>
          <p14:tracePt t="10408" x="10158413" y="3703638"/>
          <p14:tracePt t="10410" x="10153650" y="3698875"/>
          <p14:tracePt t="10411" x="10153650" y="3695700"/>
          <p14:tracePt t="10412" x="10153650" y="3690938"/>
          <p14:tracePt t="10413" x="10150475" y="3690938"/>
          <p14:tracePt t="10414" x="10150475" y="3687763"/>
          <p14:tracePt t="10416" x="10150475" y="3683000"/>
          <p14:tracePt t="10417" x="10145713" y="3679825"/>
          <p14:tracePt t="10418" x="10145713" y="3675063"/>
          <p14:tracePt t="10420" x="10142538" y="3671888"/>
          <p14:tracePt t="10422" x="10137775" y="3671888"/>
          <p14:tracePt t="10424" x="10137775" y="3667125"/>
          <p14:tracePt t="10425" x="10137775" y="3663950"/>
          <p14:tracePt t="10426" x="10134600" y="3663950"/>
          <p14:tracePt t="10428" x="10134600" y="3659188"/>
          <p14:tracePt t="10429" x="10129838" y="3654425"/>
          <p14:tracePt t="10431" x="10126663" y="3651250"/>
          <p14:tracePt t="10432" x="10126663" y="3646488"/>
          <p14:tracePt t="10433" x="10121900" y="3646488"/>
          <p14:tracePt t="10434" x="10121900" y="3643313"/>
          <p14:tracePt t="10435" x="10118725" y="3643313"/>
          <p14:tracePt t="10436" x="10118725" y="3638550"/>
          <p14:tracePt t="10437" x="10113963" y="3638550"/>
          <p14:tracePt t="10438" x="10109200" y="3635375"/>
          <p14:tracePt t="10439" x="10106025" y="3635375"/>
          <p14:tracePt t="10440" x="10106025" y="3630613"/>
          <p14:tracePt t="10441" x="10101263" y="3630613"/>
          <p14:tracePt t="10443" x="10098088" y="3630613"/>
          <p14:tracePt t="10445" x="10093325" y="3627438"/>
          <p14:tracePt t="10447" x="10090150" y="3622675"/>
          <p14:tracePt t="10449" x="10085388" y="3622675"/>
          <p14:tracePt t="10450" x="10082213" y="3622675"/>
          <p14:tracePt t="10451" x="10077450" y="3619500"/>
          <p14:tracePt t="10452" x="10074275" y="3619500"/>
          <p14:tracePt t="10454" x="10069513" y="3619500"/>
          <p14:tracePt t="10455" x="10066338" y="3614738"/>
          <p14:tracePt t="10456" x="10061575" y="3614738"/>
          <p14:tracePt t="10458" x="10058400" y="3614738"/>
          <p14:tracePt t="10459" x="10053638" y="3611563"/>
          <p14:tracePt t="10462" x="10050463" y="3611563"/>
          <p14:tracePt t="10463" x="10050463" y="3606800"/>
          <p14:tracePt t="10464" x="10045700" y="3606800"/>
          <p14:tracePt t="10465" x="10042525" y="3606800"/>
          <p14:tracePt t="10466" x="10037763" y="3606800"/>
          <p14:tracePt t="10467" x="10034588" y="3606800"/>
          <p14:tracePt t="10468" x="10029825" y="3606800"/>
          <p14:tracePt t="10469" x="10026650" y="3606800"/>
          <p14:tracePt t="10470" x="10026650" y="3603625"/>
          <p14:tracePt t="10471" x="10017125" y="3603625"/>
          <p14:tracePt t="10472" x="10013950" y="3603625"/>
          <p14:tracePt t="10474" x="10009188" y="3603625"/>
          <p14:tracePt t="10475" x="10006013" y="3603625"/>
          <p14:tracePt t="10478" x="9998075" y="3603625"/>
          <p14:tracePt t="10479" x="9993313" y="3603625"/>
          <p14:tracePt t="10480" x="9990138" y="3603625"/>
          <p14:tracePt t="10481" x="9985375" y="3603625"/>
          <p14:tracePt t="10483" x="9982200" y="3603625"/>
          <p14:tracePt t="10485" x="9974263" y="3603625"/>
          <p14:tracePt t="10486" x="9969500" y="3603625"/>
          <p14:tracePt t="10487" x="9966325" y="3603625"/>
          <p14:tracePt t="10489" x="9961563" y="3603625"/>
          <p14:tracePt t="10490" x="9958388" y="3603625"/>
          <p14:tracePt t="10491" x="9953625" y="3606800"/>
          <p14:tracePt t="10492" x="9950450" y="3606800"/>
          <p14:tracePt t="10493" x="9945688" y="3606800"/>
          <p14:tracePt t="10494" x="9942513" y="3611563"/>
          <p14:tracePt t="10496" x="9937750" y="3611563"/>
          <p14:tracePt t="10497" x="9932988" y="3614738"/>
          <p14:tracePt t="10498" x="9929813" y="3614738"/>
          <p14:tracePt t="10499" x="9925050" y="3614738"/>
          <p14:tracePt t="10500" x="9925050" y="3619500"/>
          <p14:tracePt t="10501" x="9921875" y="3619500"/>
          <p14:tracePt t="10502" x="9917113" y="3622675"/>
          <p14:tracePt t="10503" x="9913938" y="3622675"/>
          <p14:tracePt t="10504" x="9913938" y="3627438"/>
          <p14:tracePt t="10505" x="9906000" y="3630613"/>
          <p14:tracePt t="10507" x="9901238" y="3630613"/>
          <p14:tracePt t="10508" x="9898063" y="3630613"/>
          <p14:tracePt t="10509" x="9893300" y="3635375"/>
          <p14:tracePt t="10510" x="9890125" y="3638550"/>
          <p14:tracePt t="10511" x="9885363" y="3638550"/>
          <p14:tracePt t="10512" x="9882188" y="3643313"/>
          <p14:tracePt t="10513" x="9877425" y="3646488"/>
          <p14:tracePt t="10515" x="9874250" y="3654425"/>
          <p14:tracePt t="10517" x="9869488" y="3659188"/>
          <p14:tracePt t="10518" x="9866313" y="3663950"/>
          <p14:tracePt t="10519" x="9866313" y="3667125"/>
          <p14:tracePt t="10520" x="9861550" y="3671888"/>
          <p14:tracePt t="10521" x="9858375" y="3675063"/>
          <p14:tracePt t="10522" x="9853613" y="3679825"/>
          <p14:tracePt t="10524" x="9850438" y="3683000"/>
          <p14:tracePt t="10526" x="9845675" y="3690938"/>
          <p14:tracePt t="10529" x="9837738" y="3703638"/>
          <p14:tracePt t="10531" x="9832975" y="3711575"/>
          <p14:tracePt t="10531" x="9829800" y="3714750"/>
          <p14:tracePt t="10532" x="9829800" y="3719513"/>
          <p14:tracePt t="10533" x="9829800" y="3722688"/>
          <p14:tracePt t="10534" x="9825038" y="3730625"/>
          <p14:tracePt t="10535" x="9825038" y="3735388"/>
          <p14:tracePt t="10536" x="9821863" y="3735388"/>
          <p14:tracePt t="10537" x="9821863" y="3738563"/>
          <p14:tracePt t="10538" x="9817100" y="3743325"/>
          <p14:tracePt t="10539" x="9813925" y="3746500"/>
          <p14:tracePt t="10540" x="9813925" y="3751263"/>
          <p14:tracePt t="10541" x="9809163" y="3756025"/>
          <p14:tracePt t="10542" x="9809163" y="3759200"/>
          <p14:tracePt t="10543" x="9805988" y="3763963"/>
          <p14:tracePt t="10545" x="9801225" y="3775075"/>
          <p14:tracePt t="10547" x="9801225" y="3779838"/>
          <p14:tracePt t="10547" x="9798050" y="3783013"/>
          <p14:tracePt t="10549" x="9798050" y="3787775"/>
          <p14:tracePt t="10550" x="9793288" y="3790950"/>
          <p14:tracePt t="10551" x="9793288" y="3795713"/>
          <p14:tracePt t="10552" x="9793288" y="3798888"/>
          <p14:tracePt t="10553" x="9790113" y="3803650"/>
          <p14:tracePt t="10554" x="9790113" y="3811588"/>
          <p14:tracePt t="10555" x="9785350" y="3814763"/>
          <p14:tracePt t="10557" x="9785350" y="3819525"/>
          <p14:tracePt t="10558" x="9785350" y="3822700"/>
          <p14:tracePt t="10559" x="9785350" y="3827463"/>
          <p14:tracePt t="10561" x="9785350" y="3830638"/>
          <p14:tracePt t="10563" x="9785350" y="3835400"/>
          <p14:tracePt t="10564" x="9785350" y="3838575"/>
          <p14:tracePt t="10566" x="9782175" y="3838575"/>
          <p14:tracePt t="10567" x="9782175" y="3843338"/>
          <p14:tracePt t="10569" x="9782175" y="3848100"/>
          <p14:tracePt t="10572" x="9782175" y="3851275"/>
          <p14:tracePt t="10579" x="9782175" y="3856038"/>
          <p14:tracePt t="10602" x="9782175" y="3859213"/>
          <p14:tracePt t="10610" x="9782175" y="3863975"/>
          <p14:tracePt t="10615" x="9782175" y="3867150"/>
          <p14:tracePt t="10622" x="9782175" y="3871913"/>
          <p14:tracePt t="10625" x="9777413" y="3871913"/>
          <p14:tracePt t="10626" x="9777413" y="3875088"/>
          <p14:tracePt t="10629" x="9777413" y="3879850"/>
          <p14:tracePt t="10631" x="9777413" y="3883025"/>
          <p14:tracePt t="10633" x="9777413" y="3887788"/>
          <p14:tracePt t="10635" x="9777413" y="3890963"/>
          <p14:tracePt t="10637" x="9777413" y="3895725"/>
          <p14:tracePt t="10640" x="9777413" y="3898900"/>
          <p14:tracePt t="10643" x="9777413" y="3906838"/>
          <p14:tracePt t="10645" x="9774238" y="3911600"/>
          <p14:tracePt t="10649" x="9774238" y="3914775"/>
          <p14:tracePt t="10651" x="9774238" y="3919538"/>
          <p14:tracePt t="10653" x="9774238" y="3922713"/>
          <p14:tracePt t="10655" x="9774238" y="3927475"/>
          <p14:tracePt t="10657" x="9774238" y="3930650"/>
          <p14:tracePt t="10659" x="9774238" y="3935413"/>
          <p14:tracePt t="10662" x="9774238" y="3940175"/>
          <p14:tracePt t="10663" x="9774238" y="3943350"/>
          <p14:tracePt t="10665" x="9769475" y="3948113"/>
          <p14:tracePt t="10667" x="9769475" y="3951288"/>
          <p14:tracePt t="10672" x="9766300" y="3956050"/>
          <p14:tracePt t="10674" x="9766300" y="3959225"/>
          <p14:tracePt t="10676" x="9766300" y="3963988"/>
          <p14:tracePt t="10678" x="9766300" y="3967163"/>
          <p14:tracePt t="10679" x="9761538" y="3967163"/>
          <p14:tracePt t="10680" x="9761538" y="3971925"/>
          <p14:tracePt t="10681" x="9761538" y="3975100"/>
          <p14:tracePt t="10683" x="9761538" y="3979863"/>
          <p14:tracePt t="10685" x="9761538" y="3983038"/>
          <p14:tracePt t="10686" x="9758363" y="3987800"/>
          <p14:tracePt t="10688" x="9758363" y="3990975"/>
          <p14:tracePt t="10690" x="9753600" y="3995738"/>
          <p14:tracePt t="10691" x="9753600" y="3998913"/>
          <p14:tracePt t="10692" x="9753600" y="4003675"/>
          <p14:tracePt t="10694" x="9753600" y="4006850"/>
          <p14:tracePt t="10695" x="9753600" y="4011613"/>
          <p14:tracePt t="10696" x="9748838" y="4014788"/>
          <p14:tracePt t="10697" x="9748838" y="4019550"/>
          <p14:tracePt t="10698" x="9748838" y="4024313"/>
          <p14:tracePt t="10699" x="9748838" y="4027488"/>
          <p14:tracePt t="10700" x="9748838" y="4035425"/>
          <p14:tracePt t="10701" x="9745663" y="4035425"/>
          <p14:tracePt t="10702" x="9745663" y="4040188"/>
          <p14:tracePt t="10703" x="9740900" y="4043363"/>
          <p14:tracePt t="10704" x="9740900" y="4048125"/>
          <p14:tracePt t="10705" x="9737725" y="4056063"/>
          <p14:tracePt t="10706" x="9737725" y="4059238"/>
          <p14:tracePt t="10707" x="9737725" y="4064000"/>
          <p14:tracePt t="10708" x="9737725" y="4071938"/>
          <p14:tracePt t="10709" x="9737725" y="4075113"/>
          <p14:tracePt t="10710" x="9737725" y="4083050"/>
          <p14:tracePt t="10711" x="9737725" y="4087813"/>
          <p14:tracePt t="10712" x="9737725" y="4095750"/>
          <p14:tracePt t="10713" x="9732963" y="4098925"/>
          <p14:tracePt t="10714" x="9732963" y="4103688"/>
          <p14:tracePt t="10715" x="9732963" y="4116388"/>
          <p14:tracePt t="10716" x="9732963" y="4124325"/>
          <p14:tracePt t="10717" x="9729788" y="4127500"/>
          <p14:tracePt t="10718" x="9729788" y="4132263"/>
          <p14:tracePt t="10719" x="9729788" y="4140200"/>
          <p14:tracePt t="10720" x="9725025" y="4151313"/>
          <p14:tracePt t="10721" x="9725025" y="4159250"/>
          <p14:tracePt t="10722" x="9725025" y="4167188"/>
          <p14:tracePt t="10723" x="9725025" y="4171950"/>
          <p14:tracePt t="10724" x="9721850" y="4179888"/>
          <p14:tracePt t="10725" x="9721850" y="4191000"/>
          <p14:tracePt t="10726" x="9721850" y="4198938"/>
          <p14:tracePt t="10727" x="9721850" y="4208463"/>
          <p14:tracePt t="10728" x="9717088" y="4216400"/>
          <p14:tracePt t="10729" x="9717088" y="4219575"/>
          <p14:tracePt t="10730" x="9717088" y="4232275"/>
          <p14:tracePt t="10731" x="9717088" y="4240213"/>
          <p14:tracePt t="10732" x="9717088" y="4256088"/>
          <p14:tracePt t="10734" x="9709150" y="4271963"/>
          <p14:tracePt t="10735" x="9709150" y="4283075"/>
          <p14:tracePt t="10736" x="9709150" y="4295775"/>
          <p14:tracePt t="10737" x="9709150" y="4303713"/>
          <p14:tracePt t="10738" x="9709150" y="4311650"/>
          <p14:tracePt t="10739" x="9709150" y="4324350"/>
          <p14:tracePt t="10740" x="9709150" y="4335463"/>
          <p14:tracePt t="10741" x="9705975" y="4348163"/>
          <p14:tracePt t="10742" x="9705975" y="4356100"/>
          <p14:tracePt t="10743" x="9705975" y="4367213"/>
          <p14:tracePt t="10744" x="9705975" y="4383088"/>
          <p14:tracePt t="10745" x="9705975" y="4392613"/>
          <p14:tracePt t="10746" x="9705975" y="4403725"/>
          <p14:tracePt t="10747" x="9701213" y="4411663"/>
          <p14:tracePt t="10748" x="9701213" y="4427538"/>
          <p14:tracePt t="10750" x="9701213" y="4451350"/>
          <p14:tracePt t="10751" x="9701213" y="4467225"/>
          <p14:tracePt t="10752" x="9698038" y="4475163"/>
          <p14:tracePt t="10753" x="9698038" y="4487863"/>
          <p14:tracePt t="10754" x="9698038" y="4503738"/>
          <p14:tracePt t="10755" x="9698038" y="4516438"/>
          <p14:tracePt t="10756" x="9698038" y="4532313"/>
          <p14:tracePt t="10757" x="9698038" y="4540250"/>
          <p14:tracePt t="10758" x="9693275" y="4551363"/>
          <p14:tracePt t="10759" x="9693275" y="4567238"/>
          <p14:tracePt t="10760" x="9693275" y="4579938"/>
          <p14:tracePt t="10761" x="9690100" y="4595813"/>
          <p14:tracePt t="10762" x="9690100" y="4603750"/>
          <p14:tracePt t="10763" x="9690100" y="4616450"/>
          <p14:tracePt t="10765" x="9690100" y="4643438"/>
          <p14:tracePt t="10766" x="9685338" y="4656138"/>
          <p14:tracePt t="10767" x="9685338" y="4672013"/>
          <p14:tracePt t="10768" x="9685338" y="4679950"/>
          <p14:tracePt t="10769" x="9685338" y="4700588"/>
          <p14:tracePt t="10770" x="9685338" y="4711700"/>
          <p14:tracePt t="10771" x="9682163" y="4727575"/>
          <p14:tracePt t="10772" x="9682163" y="4735513"/>
          <p14:tracePt t="10773" x="9682163" y="4748213"/>
          <p14:tracePt t="10774" x="9682163" y="4760913"/>
          <p14:tracePt t="10776" x="9682163" y="4784725"/>
          <p14:tracePt t="10777" x="9674225" y="4795838"/>
          <p14:tracePt t="10778" x="9674225" y="4808538"/>
          <p14:tracePt t="10779" x="9674225" y="4824413"/>
          <p14:tracePt t="10781" x="9674225" y="4840288"/>
          <p14:tracePt t="10782" x="9669463" y="4856163"/>
          <p14:tracePt t="10783" x="9669463" y="4864100"/>
          <p14:tracePt t="10784" x="9669463" y="4876800"/>
          <p14:tracePt t="10785" x="9669463" y="4884738"/>
          <p14:tracePt t="10786" x="9669463" y="4892675"/>
          <p14:tracePt t="10787" x="9666288" y="4903788"/>
          <p14:tracePt t="10788" x="9666288" y="4911725"/>
          <p14:tracePt t="10789" x="9666288" y="4919663"/>
          <p14:tracePt t="10790" x="9666288" y="4927600"/>
          <p14:tracePt t="10791" x="9661525" y="4935538"/>
          <p14:tracePt t="10792" x="9661525" y="4940300"/>
          <p14:tracePt t="10793" x="9661525" y="4948238"/>
          <p14:tracePt t="10794" x="9661525" y="4953000"/>
          <p14:tracePt t="10795" x="9661525" y="4960938"/>
          <p14:tracePt t="10796" x="9656763" y="4964113"/>
          <p14:tracePt t="10799" x="9656763" y="4968875"/>
          <p14:tracePt t="10800" x="9656763" y="4972050"/>
          <p14:tracePt t="10800" x="9653588" y="4976813"/>
          <p14:tracePt t="10801" x="9653588" y="4979988"/>
          <p14:tracePt t="10802" x="9653588" y="4984750"/>
          <p14:tracePt t="10803" x="9653588" y="4987925"/>
          <p14:tracePt t="10805" x="9653588" y="4992688"/>
          <p14:tracePt t="10806" x="9653588" y="4995863"/>
          <p14:tracePt t="10809" x="9648825" y="5000625"/>
          <p14:tracePt t="10817" x="9648825" y="5003800"/>
          <p14:tracePt t="10857" x="9648825" y="5000625"/>
          <p14:tracePt t="10859" x="9653588" y="5000625"/>
          <p14:tracePt t="10861" x="9653588" y="4995863"/>
          <p14:tracePt t="10862" x="9656763" y="4995863"/>
          <p14:tracePt t="10863" x="9656763" y="4992688"/>
          <p14:tracePt t="10864" x="9661525" y="4992688"/>
          <p14:tracePt t="10865" x="9661525" y="4987925"/>
          <p14:tracePt t="10866" x="9666288" y="4984750"/>
          <p14:tracePt t="10867" x="9669463" y="4984750"/>
          <p14:tracePt t="10868" x="9674225" y="4979988"/>
          <p14:tracePt t="10869" x="9677400" y="4976813"/>
          <p14:tracePt t="10870" x="9677400" y="4972050"/>
          <p14:tracePt t="10871" x="9682163" y="4968875"/>
          <p14:tracePt t="10872" x="9685338" y="4968875"/>
          <p14:tracePt t="10873" x="9690100" y="4964113"/>
          <p14:tracePt t="10874" x="9693275" y="4960938"/>
          <p14:tracePt t="10875" x="9698038" y="4956175"/>
          <p14:tracePt t="10876" x="9701213" y="4953000"/>
          <p14:tracePt t="10877" x="9709150" y="4945063"/>
          <p14:tracePt t="10878" x="9713913" y="4940300"/>
          <p14:tracePt t="10879" x="9717088" y="4935538"/>
          <p14:tracePt t="10880" x="9721850" y="4932363"/>
          <p14:tracePt t="10881" x="9725025" y="4927600"/>
          <p14:tracePt t="10882" x="9732963" y="4919663"/>
          <p14:tracePt t="10883" x="9737725" y="4916488"/>
          <p14:tracePt t="10884" x="9745663" y="4908550"/>
          <p14:tracePt t="10885" x="9748838" y="4903788"/>
          <p14:tracePt t="10886" x="9758363" y="4895850"/>
          <p14:tracePt t="10887" x="9758363" y="4892675"/>
          <p14:tracePt t="10888" x="9769475" y="4884738"/>
          <p14:tracePt t="10889" x="9774238" y="4876800"/>
          <p14:tracePt t="10890" x="9777413" y="4872038"/>
          <p14:tracePt t="10891" x="9785350" y="4860925"/>
          <p14:tracePt t="10892" x="9793288" y="4856163"/>
          <p14:tracePt t="10893" x="9798050" y="4848225"/>
          <p14:tracePt t="10894" x="9805988" y="4840288"/>
          <p14:tracePt t="10896" x="9825038" y="4819650"/>
          <p14:tracePt t="10897" x="9829800" y="4811713"/>
          <p14:tracePt t="10898" x="9837738" y="4795838"/>
          <p14:tracePt t="10899" x="9850438" y="4787900"/>
          <p14:tracePt t="10900" x="9853613" y="4779963"/>
          <p14:tracePt t="10901" x="9866313" y="4764088"/>
          <p14:tracePt t="10902" x="9874250" y="4756150"/>
          <p14:tracePt t="10903" x="9882188" y="4748213"/>
          <p14:tracePt t="10904" x="9890125" y="4732338"/>
          <p14:tracePt t="10905" x="9893300" y="4724400"/>
          <p14:tracePt t="10906" x="9909175" y="4708525"/>
          <p14:tracePt t="10907" x="9913938" y="4695825"/>
          <p14:tracePt t="10908" x="9921875" y="4684713"/>
          <p14:tracePt t="10909" x="9932988" y="4676775"/>
          <p14:tracePt t="10910" x="9942513" y="4656138"/>
          <p14:tracePt t="10911" x="9945688" y="4648200"/>
          <p14:tracePt t="10913" x="9966325" y="4624388"/>
          <p14:tracePt t="10914" x="9974263" y="4608513"/>
          <p14:tracePt t="10915" x="9977438" y="4600575"/>
          <p14:tracePt t="10916" x="9993313" y="4579938"/>
          <p14:tracePt t="10927" x="10085388" y="4432300"/>
          <p14:tracePt t="10930" x="10101263" y="4403725"/>
          <p14:tracePt t="10932" x="10121900" y="4359275"/>
          <p14:tracePt t="10933" x="10129838" y="4348163"/>
          <p14:tracePt t="10934" x="10137775" y="4332288"/>
          <p14:tracePt t="10935" x="10150475" y="4311650"/>
          <p14:tracePt t="10936" x="10153650" y="4300538"/>
          <p14:tracePt t="10937" x="10158413" y="4283075"/>
          <p14:tracePt t="10938" x="10161588" y="4267200"/>
          <p14:tracePt t="10939" x="10174288" y="4256088"/>
          <p14:tracePt t="10940" x="10177463" y="4235450"/>
          <p14:tracePt t="10941" x="10182225" y="4219575"/>
          <p14:tracePt t="10942" x="10185400" y="4203700"/>
          <p14:tracePt t="10943" x="10198100" y="4187825"/>
          <p14:tracePt t="10945" x="10201275" y="4171950"/>
          <p14:tracePt t="10946" x="10213975" y="4140200"/>
          <p14:tracePt t="10947" x="10213975" y="4119563"/>
          <p14:tracePt t="10948" x="10218738" y="4106863"/>
          <p14:tracePt t="10949" x="10226675" y="4090988"/>
          <p14:tracePt t="10950" x="10229850" y="4067175"/>
          <p14:tracePt t="10951" x="10234613" y="4051300"/>
          <p14:tracePt t="10952" x="10237788" y="4032250"/>
          <p14:tracePt t="10953" x="10237788" y="4019550"/>
          <p14:tracePt t="10954" x="10245725" y="3998913"/>
          <p14:tracePt t="10955" x="10245725" y="3979863"/>
          <p14:tracePt t="10956" x="10250488" y="3967163"/>
          <p14:tracePt t="10957" x="10250488" y="3948113"/>
          <p14:tracePt t="10958" x="10253663" y="3930650"/>
          <p14:tracePt t="10959" x="10253663" y="3919538"/>
          <p14:tracePt t="10960" x="10258425" y="3890963"/>
          <p14:tracePt t="10962" x="10258425" y="3879850"/>
          <p14:tracePt t="10963" x="10258425" y="3851275"/>
          <p14:tracePt t="10964" x="10258425" y="3827463"/>
          <p14:tracePt t="10965" x="10258425" y="3811588"/>
          <p14:tracePt t="10966" x="10258425" y="3798888"/>
          <p14:tracePt t="10967" x="10258425" y="3783013"/>
          <p14:tracePt t="10968" x="10258425" y="3771900"/>
          <p14:tracePt t="10969" x="10258425" y="3759200"/>
          <p14:tracePt t="10970" x="10258425" y="3738563"/>
          <p14:tracePt t="10971" x="10258425" y="3722688"/>
          <p14:tracePt t="10972" x="10258425" y="3711575"/>
          <p14:tracePt t="10973" x="10258425" y="3695700"/>
          <p14:tracePt t="10974" x="10258425" y="3679825"/>
          <p14:tracePt t="10975" x="10258425" y="3663950"/>
          <p14:tracePt t="10976" x="10253663" y="3651250"/>
          <p14:tracePt t="10977" x="10253663" y="3635375"/>
          <p14:tracePt t="10979" x="10242550" y="3603625"/>
          <p14:tracePt t="10980" x="10237788" y="3587750"/>
          <p14:tracePt t="10981" x="10237788" y="3579813"/>
          <p14:tracePt t="10982" x="10234613" y="3567113"/>
          <p14:tracePt t="10984" x="10218738" y="3530600"/>
          <p14:tracePt t="10985" x="10213975" y="3519488"/>
          <p14:tracePt t="10986" x="10210800" y="3506788"/>
          <p14:tracePt t="10987" x="10206038" y="3495675"/>
          <p14:tracePt t="10988" x="10201275" y="3479800"/>
          <p14:tracePt t="10989" x="10190163" y="3467100"/>
          <p14:tracePt t="10990" x="10185400" y="3451225"/>
          <p14:tracePt t="10991" x="10182225" y="3443288"/>
          <p14:tracePt t="10992" x="10177463" y="3435350"/>
          <p14:tracePt t="10993" x="10174288" y="3419475"/>
          <p14:tracePt t="10995" x="10158413" y="3398838"/>
          <p14:tracePt t="10996" x="10153650" y="3387725"/>
          <p14:tracePt t="10997" x="10150475" y="3378200"/>
          <p14:tracePt t="10998" x="10142538" y="3370263"/>
          <p14:tracePt t="10999" x="10137775" y="3362325"/>
          <p14:tracePt t="11000" x="10134600" y="3354388"/>
          <p14:tracePt t="11001" x="10129838" y="3351213"/>
          <p14:tracePt t="11002" x="10126663" y="3343275"/>
          <p14:tracePt t="11003" x="10121900" y="3338513"/>
          <p14:tracePt t="11004" x="10113963" y="3330575"/>
          <p14:tracePt t="11005" x="10109200" y="3322638"/>
          <p14:tracePt t="11006" x="10106025" y="3319463"/>
          <p14:tracePt t="11007" x="10101263" y="3314700"/>
          <p14:tracePt t="11008" x="10098088" y="3311525"/>
          <p14:tracePt t="11009" x="10093325" y="3306763"/>
          <p14:tracePt t="11010" x="10090150" y="3303588"/>
          <p14:tracePt t="11012" x="10085388" y="3298825"/>
          <p14:tracePt t="11013" x="10082213" y="3295650"/>
          <p14:tracePt t="11014" x="10077450" y="3290888"/>
          <p14:tracePt t="11016" x="10074275" y="3286125"/>
          <p14:tracePt t="11017" x="10069513" y="3282950"/>
          <p14:tracePt t="11018" x="10066338" y="3282950"/>
          <p14:tracePt t="11019" x="10061575" y="3282950"/>
          <p14:tracePt t="11020" x="10058400" y="3282950"/>
          <p14:tracePt t="11021" x="10053638" y="3278188"/>
          <p14:tracePt t="11022" x="10050463" y="3278188"/>
          <p14:tracePt t="11023" x="10045700" y="3275013"/>
          <p14:tracePt t="11025" x="10042525" y="3275013"/>
          <p14:tracePt t="11026" x="10037763" y="3275013"/>
          <p14:tracePt t="11027" x="10037763" y="3270250"/>
          <p14:tracePt t="11029" x="10029825" y="3270250"/>
          <p14:tracePt t="11031" x="10017125" y="3270250"/>
          <p14:tracePt t="11032" x="10013950" y="3270250"/>
          <p14:tracePt t="11033" x="10009188" y="3267075"/>
          <p14:tracePt t="11034" x="10006013" y="3267075"/>
          <p14:tracePt t="11035" x="10001250" y="3267075"/>
          <p14:tracePt t="11036" x="9998075" y="3267075"/>
          <p14:tracePt t="11037" x="9993313" y="3267075"/>
          <p14:tracePt t="11038" x="9990138" y="3267075"/>
          <p14:tracePt t="11039" x="9985375" y="3267075"/>
          <p14:tracePt t="11040" x="9982200" y="3267075"/>
          <p14:tracePt t="11041" x="9977438" y="3267075"/>
          <p14:tracePt t="11042" x="9969500" y="3267075"/>
          <p14:tracePt t="11043" x="9966325" y="3267075"/>
          <p14:tracePt t="11044" x="9958388" y="3267075"/>
          <p14:tracePt t="11045" x="9953625" y="3267075"/>
          <p14:tracePt t="11047" x="9945688" y="3267075"/>
          <p14:tracePt t="11048" x="9937750" y="3267075"/>
          <p14:tracePt t="11049" x="9932988" y="3267075"/>
          <p14:tracePt t="11050" x="9925050" y="3270250"/>
          <p14:tracePt t="11051" x="9921875" y="3270250"/>
          <p14:tracePt t="11052" x="9917113" y="3270250"/>
          <p14:tracePt t="11053" x="9913938" y="3275013"/>
          <p14:tracePt t="11054" x="9909175" y="3275013"/>
          <p14:tracePt t="11055" x="9901238" y="3278188"/>
          <p14:tracePt t="11056" x="9898063" y="3278188"/>
          <p14:tracePt t="11057" x="9890125" y="3282950"/>
          <p14:tracePt t="11058" x="9882188" y="3282950"/>
          <p14:tracePt t="11059" x="9877425" y="3286125"/>
          <p14:tracePt t="11061" x="9869488" y="3290888"/>
          <p14:tracePt t="11062" x="9858375" y="3298825"/>
          <p14:tracePt t="11063" x="9850438" y="3298825"/>
          <p14:tracePt t="11064" x="9840913" y="3303588"/>
          <p14:tracePt t="11065" x="9837738" y="3306763"/>
          <p14:tracePt t="11066" x="9829800" y="3311525"/>
          <p14:tracePt t="11067" x="9817100" y="3319463"/>
          <p14:tracePt t="11068" x="9809163" y="3322638"/>
          <p14:tracePt t="11069" x="9805988" y="3327400"/>
          <p14:tracePt t="11070" x="9798050" y="3330575"/>
          <p14:tracePt t="11071" x="9790113" y="3335338"/>
          <p14:tracePt t="11072" x="9782175" y="3338513"/>
          <p14:tracePt t="11073" x="9774238" y="3346450"/>
          <p14:tracePt t="11074" x="9766300" y="3351213"/>
          <p14:tracePt t="11076" x="9745663" y="3367088"/>
          <p14:tracePt t="11078" x="9729788" y="3378200"/>
          <p14:tracePt t="11080" x="9717088" y="3387725"/>
          <p14:tracePt t="11080" x="9713913" y="3398838"/>
          <p14:tracePt t="11081" x="9705975" y="3406775"/>
          <p14:tracePt t="11082" x="9690100" y="3414713"/>
          <p14:tracePt t="11083" x="9682163" y="3427413"/>
          <p14:tracePt t="11084" x="9674225" y="3435350"/>
          <p14:tracePt t="11085" x="9666288" y="3443288"/>
          <p14:tracePt t="11086" x="9653588" y="3459163"/>
          <p14:tracePt t="11087" x="9645650" y="3467100"/>
          <p14:tracePt t="11088" x="9637713" y="3475038"/>
          <p14:tracePt t="11089" x="9625013" y="3490913"/>
          <p14:tracePt t="11090" x="9617075" y="3498850"/>
          <p14:tracePt t="11091" x="9613900" y="3506788"/>
          <p14:tracePt t="11092" x="9598025" y="3530600"/>
          <p14:tracePt t="11093" x="9593263" y="3538538"/>
          <p14:tracePt t="11094" x="9582150" y="3551238"/>
          <p14:tracePt t="11096" x="9564688" y="3582988"/>
          <p14:tracePt t="11097" x="9553575" y="3590925"/>
          <p14:tracePt t="11098" x="9548813" y="3606800"/>
          <p14:tracePt t="11099" x="9540875" y="3619500"/>
          <p14:tracePt t="11100" x="9537700" y="3635375"/>
          <p14:tracePt t="11101" x="9525000" y="3654425"/>
          <p14:tracePt t="11102" x="9517063" y="3667125"/>
          <p14:tracePt t="11103" x="9513888" y="3679825"/>
          <p14:tracePt t="11104" x="9501188" y="3690938"/>
          <p14:tracePt t="11105" x="9498013" y="3706813"/>
          <p14:tracePt t="11106" x="9485313" y="3727450"/>
          <p14:tracePt t="11107" x="9480550" y="3738563"/>
          <p14:tracePt t="11108" x="9472613" y="3756025"/>
          <p14:tracePt t="11109" x="9469438" y="3767138"/>
          <p14:tracePt t="11110" x="9461500" y="3783013"/>
          <p14:tracePt t="11111" x="9453563" y="3803650"/>
          <p14:tracePt t="11113" x="9445625" y="3830638"/>
          <p14:tracePt t="11114" x="9437688" y="3848100"/>
          <p14:tracePt t="11115" x="9432925" y="3859213"/>
          <p14:tracePt t="11116" x="9424988" y="3879850"/>
          <p14:tracePt t="11117" x="9421813" y="3895725"/>
          <p14:tracePt t="11118" x="9413875" y="3906838"/>
          <p14:tracePt t="11119" x="9409113" y="3914775"/>
          <p14:tracePt t="11120" x="9409113" y="3930650"/>
          <p14:tracePt t="11121" x="9401175" y="3951288"/>
          <p14:tracePt t="11122" x="9401175" y="3963988"/>
          <p14:tracePt t="11123" x="9398000" y="3975100"/>
          <p14:tracePt t="11124" x="9388475" y="3987800"/>
          <p14:tracePt t="11125" x="9385300" y="4003675"/>
          <p14:tracePt t="11126" x="9380538" y="4019550"/>
          <p14:tracePt t="11127" x="9380538" y="4027488"/>
          <p14:tracePt t="11128" x="9377363" y="4043363"/>
          <p14:tracePt t="11129" x="9372600" y="4059238"/>
          <p14:tracePt t="11130" x="9369425" y="4071938"/>
          <p14:tracePt t="11131" x="9369425" y="4083050"/>
          <p14:tracePt t="11132" x="9361488" y="4095750"/>
          <p14:tracePt t="11133" x="9361488" y="4106863"/>
          <p14:tracePt t="11134" x="9356725" y="4116388"/>
          <p14:tracePt t="11135" x="9356725" y="4132263"/>
          <p14:tracePt t="11136" x="9353550" y="4143375"/>
          <p14:tracePt t="11137" x="9353550" y="4159250"/>
          <p14:tracePt t="11138" x="9348788" y="4167188"/>
          <p14:tracePt t="11139" x="9348788" y="4175125"/>
          <p14:tracePt t="11140" x="9345613" y="4187825"/>
          <p14:tracePt t="11141" x="9345613" y="4195763"/>
          <p14:tracePt t="11142" x="9345613" y="4203700"/>
          <p14:tracePt t="11143" x="9345613" y="4219575"/>
          <p14:tracePt t="11144" x="9340850" y="4224338"/>
          <p14:tracePt t="11146" x="9340850" y="4243388"/>
          <p14:tracePt t="11147" x="9340850" y="4248150"/>
          <p14:tracePt t="11148" x="9340850" y="4256088"/>
          <p14:tracePt t="11149" x="9340850" y="4259263"/>
          <p14:tracePt t="11150" x="9340850" y="4267200"/>
          <p14:tracePt t="11151" x="9340850" y="4275138"/>
          <p14:tracePt t="11152" x="9340850" y="4279900"/>
          <p14:tracePt t="11154" x="9340850" y="4283075"/>
          <p14:tracePt t="11155" x="9340850" y="4287838"/>
          <p14:tracePt t="11156" x="9340850" y="4291013"/>
          <p14:tracePt t="11157" x="9340850" y="4295775"/>
          <p14:tracePt t="11158" x="9340850" y="4300538"/>
          <p14:tracePt t="11160" x="9340850" y="4303713"/>
          <p14:tracePt t="11161" x="9340850" y="4308475"/>
          <p14:tracePt t="11164" x="9340850" y="4311650"/>
          <p14:tracePt t="11167" x="9340850" y="4316413"/>
          <p14:tracePt t="11172" x="9340850" y="4319588"/>
          <p14:tracePt t="11185" x="9345613" y="4319588"/>
          <p14:tracePt t="11187" x="9345613" y="4324350"/>
          <p14:tracePt t="11190" x="9345613" y="4327525"/>
          <p14:tracePt t="11191" x="9348788" y="4327525"/>
          <p14:tracePt t="11194" x="9348788" y="4332288"/>
          <p14:tracePt t="11196" x="9353550" y="4332288"/>
          <p14:tracePt t="11199" x="9353550" y="4335463"/>
          <p14:tracePt t="11204" x="9353550" y="4340225"/>
          <p14:tracePt t="11208" x="9353550" y="4343400"/>
          <p14:tracePt t="11211" x="9356725" y="4348163"/>
          <p14:tracePt t="11213" x="9356725" y="4351338"/>
          <p14:tracePt t="11215" x="9356725" y="4356100"/>
          <p14:tracePt t="11218" x="9356725" y="4359275"/>
          <p14:tracePt t="11221" x="9356725" y="4364038"/>
          <p14:tracePt t="11223" x="9356725" y="4367213"/>
          <p14:tracePt t="11225" x="9361488" y="4371975"/>
          <p14:tracePt t="11226" x="9361488" y="4375150"/>
          <p14:tracePt t="11228" x="9361488" y="4383088"/>
          <p14:tracePt t="11230" x="9361488" y="4387850"/>
          <p14:tracePt t="11231" x="9361488" y="4392613"/>
          <p14:tracePt t="11232" x="9361488" y="4395788"/>
          <p14:tracePt t="11234" x="9364663" y="4400550"/>
          <p14:tracePt t="11236" x="9364663" y="4403725"/>
          <p14:tracePt t="11237" x="9364663" y="4408488"/>
          <p14:tracePt t="11238" x="9364663" y="4411663"/>
          <p14:tracePt t="11239" x="9364663" y="4416425"/>
          <p14:tracePt t="11240" x="9364663" y="4419600"/>
          <p14:tracePt t="11241" x="9369425" y="4427538"/>
          <p14:tracePt t="11242" x="9369425" y="4432300"/>
          <p14:tracePt t="11243" x="9369425" y="4435475"/>
          <p14:tracePt t="11244" x="9369425" y="4440238"/>
          <p14:tracePt t="11245" x="9369425" y="4448175"/>
          <p14:tracePt t="11246" x="9372600" y="4451350"/>
          <p14:tracePt t="11247" x="9372600" y="4456113"/>
          <p14:tracePt t="11248" x="9372600" y="4459288"/>
          <p14:tracePt t="11250" x="9377363" y="4467225"/>
          <p14:tracePt t="11251" x="9377363" y="4475163"/>
          <p14:tracePt t="11252" x="9377363" y="4479925"/>
          <p14:tracePt t="11253" x="9377363" y="4487863"/>
          <p14:tracePt t="11254" x="9380538" y="4492625"/>
          <p14:tracePt t="11255" x="9380538" y="4500563"/>
          <p14:tracePt t="11256" x="9380538" y="4503738"/>
          <p14:tracePt t="11257" x="9380538" y="4511675"/>
          <p14:tracePt t="11258" x="9385300" y="4519613"/>
          <p14:tracePt t="11259" x="9385300" y="4524375"/>
          <p14:tracePt t="11260" x="9385300" y="4532313"/>
          <p14:tracePt t="11261" x="9385300" y="4535488"/>
          <p14:tracePt t="11262" x="9385300" y="4543425"/>
          <p14:tracePt t="11263" x="9385300" y="4551363"/>
          <p14:tracePt t="11264" x="9385300" y="4559300"/>
          <p14:tracePt t="11265" x="9385300" y="4564063"/>
          <p14:tracePt t="11266" x="9388475" y="4572000"/>
          <p14:tracePt t="11267" x="9388475" y="4576763"/>
          <p14:tracePt t="11268" x="9388475" y="4579938"/>
          <p14:tracePt t="11269" x="9388475" y="4592638"/>
          <p14:tracePt t="11270" x="9388475" y="4600575"/>
          <p14:tracePt t="11272" x="9393238" y="4608513"/>
          <p14:tracePt t="11273" x="9393238" y="4619625"/>
          <p14:tracePt t="11275" x="9393238" y="4627563"/>
          <p14:tracePt t="11276" x="9393238" y="4635500"/>
          <p14:tracePt t="11277" x="9398000" y="4640263"/>
          <p14:tracePt t="11278" x="9398000" y="4648200"/>
          <p14:tracePt t="11279" x="9398000" y="4656138"/>
          <p14:tracePt t="11280" x="9398000" y="4664075"/>
          <p14:tracePt t="11282" x="9401175" y="4679950"/>
          <p14:tracePt t="11283" x="9401175" y="4684713"/>
          <p14:tracePt t="11284" x="9401175" y="4692650"/>
          <p14:tracePt t="11285" x="9401175" y="4695825"/>
          <p14:tracePt t="11286" x="9401175" y="4703763"/>
          <p14:tracePt t="11287" x="9401175" y="4711700"/>
          <p14:tracePt t="11288" x="9401175" y="4716463"/>
          <p14:tracePt t="11289" x="9405938" y="4724400"/>
          <p14:tracePt t="11290" x="9405938" y="4727575"/>
          <p14:tracePt t="11291" x="9405938" y="4732338"/>
          <p14:tracePt t="11292" x="9405938" y="4740275"/>
          <p14:tracePt t="11293" x="9405938" y="4748213"/>
          <p14:tracePt t="11294" x="9405938" y="4751388"/>
          <p14:tracePt t="11295" x="9405938" y="4760913"/>
          <p14:tracePt t="11296" x="9409113" y="4764088"/>
          <p14:tracePt t="11297" x="9409113" y="4772025"/>
          <p14:tracePt t="11299" x="9409113" y="4779963"/>
          <p14:tracePt t="11300" x="9409113" y="4784725"/>
          <p14:tracePt t="11301" x="9413875" y="4787900"/>
          <p14:tracePt t="11302" x="9413875" y="4795838"/>
          <p14:tracePt t="11303" x="9413875" y="4800600"/>
          <p14:tracePt t="11304" x="9413875" y="4803775"/>
          <p14:tracePt t="11305" x="9413875" y="4811713"/>
          <p14:tracePt t="11306" x="9417050" y="4816475"/>
          <p14:tracePt t="11307" x="9417050" y="4819650"/>
          <p14:tracePt t="11308" x="9417050" y="4824413"/>
          <p14:tracePt t="11309" x="9417050" y="4827588"/>
          <p14:tracePt t="11310" x="9421813" y="4827588"/>
          <p14:tracePt t="11311" x="9421813" y="4832350"/>
          <p14:tracePt t="11312" x="9421813" y="4840288"/>
          <p14:tracePt t="11313" x="9421813" y="4843463"/>
          <p14:tracePt t="11315" x="9421813" y="4848225"/>
          <p14:tracePt t="11316" x="9421813" y="4852988"/>
          <p14:tracePt t="11317" x="9424988" y="4856163"/>
          <p14:tracePt t="11318" x="9424988" y="4860925"/>
          <p14:tracePt t="11320" x="9424988" y="4864100"/>
          <p14:tracePt t="11321" x="9429750" y="4868863"/>
          <p14:tracePt t="11322" x="9429750" y="4872038"/>
          <p14:tracePt t="11325" x="9429750" y="4876800"/>
          <p14:tracePt t="11326" x="9429750" y="4879975"/>
          <p14:tracePt t="11329" x="9429750" y="4884738"/>
          <p14:tracePt t="11331" x="9432925" y="4884738"/>
          <p14:tracePt t="11332" x="9432925" y="4887913"/>
          <p14:tracePt t="11363" x="9437688" y="4887913"/>
          <p14:tracePt t="11370" x="9437688" y="4884738"/>
          <p14:tracePt t="11372" x="9437688" y="4879975"/>
          <p14:tracePt t="11373" x="9437688" y="4876800"/>
          <p14:tracePt t="11375" x="9440863" y="4876800"/>
          <p14:tracePt t="11377" x="9440863" y="4872038"/>
          <p14:tracePt t="11377" x="9445625" y="4872038"/>
          <p14:tracePt t="11378" x="9445625" y="4868863"/>
          <p14:tracePt t="11379" x="9448800" y="4864100"/>
          <p14:tracePt t="11380" x="9453563" y="4860925"/>
          <p14:tracePt t="11381" x="9453563" y="4856163"/>
          <p14:tracePt t="11382" x="9456738" y="4852988"/>
          <p14:tracePt t="11383" x="9461500" y="4848225"/>
          <p14:tracePt t="11384" x="9464675" y="4843463"/>
          <p14:tracePt t="11385" x="9464675" y="4835525"/>
          <p14:tracePt t="11386" x="9469438" y="4832350"/>
          <p14:tracePt t="11387" x="9472613" y="4824413"/>
          <p14:tracePt t="11388" x="9477375" y="4816475"/>
          <p14:tracePt t="11389" x="9480550" y="4811713"/>
          <p14:tracePt t="11390" x="9490075" y="4800600"/>
          <p14:tracePt t="11391" x="9493250" y="4792663"/>
          <p14:tracePt t="11392" x="9498013" y="4784725"/>
          <p14:tracePt t="11393" x="9501188" y="4776788"/>
          <p14:tracePt t="11394" x="9509125" y="4764088"/>
          <p14:tracePt t="11395" x="9513888" y="4751388"/>
          <p14:tracePt t="11396" x="9517063" y="4743450"/>
          <p14:tracePt t="11397" x="9529763" y="4732338"/>
          <p14:tracePt t="11398" x="9532938" y="4719638"/>
          <p14:tracePt t="11399" x="9540875" y="4703763"/>
          <p14:tracePt t="11400" x="9545638" y="4695825"/>
          <p14:tracePt t="11401" x="9553575" y="4684713"/>
          <p14:tracePt t="11402" x="9561513" y="4672013"/>
          <p14:tracePt t="11403" x="9564688" y="4659313"/>
          <p14:tracePt t="11404" x="9574213" y="4643438"/>
          <p14:tracePt t="11405" x="9585325" y="4632325"/>
          <p14:tracePt t="11406" x="9593263" y="4616450"/>
          <p14:tracePt t="11407" x="9598025" y="4600575"/>
          <p14:tracePt t="11408" x="9609138" y="4592638"/>
          <p14:tracePt t="11409" x="9613900" y="4572000"/>
          <p14:tracePt t="11410" x="9621838" y="4559300"/>
          <p14:tracePt t="11411" x="9625013" y="4543425"/>
          <p14:tracePt t="11413" x="9640888" y="4519613"/>
          <p14:tracePt t="11414" x="9648825" y="4500563"/>
          <p14:tracePt t="11415" x="9656763" y="4487863"/>
          <p14:tracePt t="11416" x="9666288" y="4471988"/>
          <p14:tracePt t="11417" x="9669463" y="4459288"/>
          <p14:tracePt t="11418" x="9682163" y="4443413"/>
          <p14:tracePt t="11419" x="9690100" y="4424363"/>
          <p14:tracePt t="11420" x="9701213" y="4408488"/>
          <p14:tracePt t="11421" x="9705975" y="4400550"/>
          <p14:tracePt t="11422" x="9713913" y="4387850"/>
          <p14:tracePt t="11423" x="9717088" y="4371975"/>
          <p14:tracePt t="11424" x="9729788" y="4351338"/>
          <p14:tracePt t="11425" x="9732963" y="4343400"/>
          <p14:tracePt t="11426" x="9740900" y="4327525"/>
          <p14:tracePt t="11427" x="9753600" y="4316413"/>
          <p14:tracePt t="11428" x="9761538" y="4295775"/>
          <p14:tracePt t="11430" x="9777413" y="4264025"/>
          <p14:tracePt t="11431" x="9782175" y="4251325"/>
          <p14:tracePt t="11432" x="9790113" y="4235450"/>
          <p14:tracePt t="11433" x="9801225" y="4224338"/>
          <p14:tracePt t="11434" x="9809163" y="4203700"/>
          <p14:tracePt t="11435" x="9821863" y="4187825"/>
          <p14:tracePt t="11436" x="9825038" y="4175125"/>
          <p14:tracePt t="11437" x="9832975" y="4159250"/>
          <p14:tracePt t="11438" x="9845675" y="4140200"/>
          <p14:tracePt t="11439" x="9853613" y="4124325"/>
          <p14:tracePt t="11440" x="9866313" y="4111625"/>
          <p14:tracePt t="11441" x="9869488" y="4095750"/>
          <p14:tracePt t="11443" x="9877425" y="4083050"/>
          <p14:tracePt t="11443" x="9890125" y="4059238"/>
          <p14:tracePt t="11444" x="9898063" y="4048125"/>
          <p14:tracePt t="11446" x="9913938" y="4019550"/>
          <p14:tracePt t="11447" x="9921875" y="4003675"/>
          <p14:tracePt t="11448" x="9929813" y="3990975"/>
          <p14:tracePt t="11449" x="9942513" y="3975100"/>
          <p14:tracePt t="11450" x="9945688" y="3959225"/>
          <p14:tracePt t="11451" x="9953625" y="3948113"/>
          <p14:tracePt t="11452" x="9961563" y="3930650"/>
          <p14:tracePt t="11453" x="9969500" y="3919538"/>
          <p14:tracePt t="11454" x="9977438" y="3903663"/>
          <p14:tracePt t="11455" x="9990138" y="3890963"/>
          <p14:tracePt t="11456" x="9993313" y="3879850"/>
          <p14:tracePt t="11457" x="10001250" y="3867150"/>
          <p14:tracePt t="11458" x="10013950" y="3851275"/>
          <p14:tracePt t="11459" x="10017125" y="3838575"/>
          <p14:tracePt t="11460" x="10021888" y="3822700"/>
          <p14:tracePt t="11461" x="10029825" y="3814763"/>
          <p14:tracePt t="11463" x="10045700" y="3787775"/>
          <p14:tracePt t="11464" x="10050463" y="3779838"/>
          <p14:tracePt t="11465" x="10058400" y="3763963"/>
          <p14:tracePt t="11466" x="10061575" y="3756025"/>
          <p14:tracePt t="11467" x="10074275" y="3738563"/>
          <p14:tracePt t="11468" x="10077450" y="3727450"/>
          <p14:tracePt t="11469" x="10082213" y="3719513"/>
          <p14:tracePt t="11470" x="10090150" y="3703638"/>
          <p14:tracePt t="11471" x="10098088" y="3695700"/>
          <p14:tracePt t="11472" x="10101263" y="3679825"/>
          <p14:tracePt t="11473" x="10106025" y="3671888"/>
          <p14:tracePt t="11474" x="10109200" y="3663950"/>
          <p14:tracePt t="11476" x="10118725" y="3638550"/>
          <p14:tracePt t="11477" x="10121900" y="3630613"/>
          <p14:tracePt t="11479" x="10134600" y="3614738"/>
          <p14:tracePt t="11480" x="10137775" y="3606800"/>
          <p14:tracePt t="11481" x="10142538" y="3595688"/>
          <p14:tracePt t="11482" x="10150475" y="3582988"/>
          <p14:tracePt t="11483" x="10150475" y="3579813"/>
          <p14:tracePt t="11484" x="10153650" y="3571875"/>
          <p14:tracePt t="11485" x="10158413" y="3562350"/>
          <p14:tracePt t="11486" x="10161588" y="3559175"/>
          <p14:tracePt t="11487" x="10166350" y="3551238"/>
          <p14:tracePt t="11488" x="10169525" y="3546475"/>
          <p14:tracePt t="11489" x="10174288" y="3538538"/>
          <p14:tracePt t="11490" x="10174288" y="3535363"/>
          <p14:tracePt t="11491" x="10177463" y="3530600"/>
          <p14:tracePt t="11492" x="10182225" y="3522663"/>
          <p14:tracePt t="11493" x="10185400" y="3519488"/>
          <p14:tracePt t="11494" x="10185400" y="3514725"/>
          <p14:tracePt t="11496" x="10193338" y="3506788"/>
          <p14:tracePt t="11497" x="10193338" y="3503613"/>
          <p14:tracePt t="11498" x="10198100" y="3503613"/>
          <p14:tracePt t="11499" x="10198100" y="3498850"/>
          <p14:tracePt t="11500" x="10198100" y="3495675"/>
          <p14:tracePt t="11502" x="10201275" y="3490913"/>
          <p14:tracePt t="11503" x="10201275" y="3487738"/>
          <p14:tracePt t="11504" x="10206038" y="3482975"/>
          <p14:tracePt t="11506" x="10206038" y="3479800"/>
          <p14:tracePt t="11507" x="10210800" y="3475038"/>
          <p14:tracePt t="11509" x="10210800" y="3470275"/>
          <p14:tracePt t="11510" x="10213975" y="3470275"/>
          <p14:tracePt t="11512" x="10213975" y="3467100"/>
          <p14:tracePt t="11513" x="10218738" y="3467100"/>
          <p14:tracePt t="11514" x="10218738" y="3462338"/>
          <p14:tracePt t="11568" x="10218738" y="3467100"/>
          <p14:tracePt t="11570" x="10218738" y="3470275"/>
          <p14:tracePt t="11571" x="10221913" y="3470275"/>
          <p14:tracePt t="11572" x="10221913" y="3475038"/>
          <p14:tracePt t="11574" x="10221913" y="3479800"/>
          <p14:tracePt t="11576" x="10221913" y="3482975"/>
          <p14:tracePt t="11578" x="10226675" y="3487738"/>
          <p14:tracePt t="11580" x="10226675" y="3490913"/>
          <p14:tracePt t="11581" x="10226675" y="3495675"/>
          <p14:tracePt t="11582" x="10229850" y="3498850"/>
          <p14:tracePt t="11585" x="10234613" y="3503613"/>
          <p14:tracePt t="11587" x="10237788" y="3506788"/>
          <p14:tracePt t="11588" x="10237788" y="3511550"/>
          <p14:tracePt t="11589" x="10237788" y="3514725"/>
          <p14:tracePt t="11590" x="10237788" y="3519488"/>
          <p14:tracePt t="11593" x="10245725" y="3527425"/>
          <p14:tracePt t="11594" x="10245725" y="3530600"/>
          <p14:tracePt t="11595" x="10250488" y="3535363"/>
          <p14:tracePt t="11596" x="10250488" y="3538538"/>
          <p14:tracePt t="11597" x="10253663" y="3538538"/>
          <p14:tracePt t="11598" x="10258425" y="3538538"/>
          <p14:tracePt t="11599" x="10258425" y="3543300"/>
          <p14:tracePt t="11600" x="10261600" y="3546475"/>
          <p14:tracePt t="11601" x="10266363" y="3551238"/>
          <p14:tracePt t="11602" x="10266363" y="3554413"/>
          <p14:tracePt t="11603" x="10269538" y="3554413"/>
          <p14:tracePt t="11604" x="10277475" y="3559175"/>
          <p14:tracePt t="11605" x="10277475" y="3562350"/>
          <p14:tracePt t="11606" x="10282238" y="3562350"/>
          <p14:tracePt t="11607" x="10285413" y="3567113"/>
          <p14:tracePt t="11609" x="10290175" y="3571875"/>
          <p14:tracePt t="11610" x="10290175" y="3575050"/>
          <p14:tracePt t="11612" x="10293350" y="3575050"/>
          <p14:tracePt t="11612" x="10298113" y="3579813"/>
          <p14:tracePt t="11613" x="10302875" y="3579813"/>
          <p14:tracePt t="11614" x="10302875" y="3582988"/>
          <p14:tracePt t="11615" x="10306050" y="3582988"/>
          <p14:tracePt t="11616" x="10310813" y="3582988"/>
          <p14:tracePt t="11617" x="10313988" y="3582988"/>
          <p14:tracePt t="11618" x="10318750" y="3587750"/>
          <p14:tracePt t="11619" x="10321925" y="3587750"/>
          <p14:tracePt t="11621" x="10326688" y="3590925"/>
          <p14:tracePt t="11622" x="10329863" y="3590925"/>
          <p14:tracePt t="11624" x="10334625" y="3595688"/>
          <p14:tracePt t="11626" x="10342563" y="3595688"/>
          <p14:tracePt t="11628" x="10345738" y="3598863"/>
          <p14:tracePt t="11628" x="10350500" y="3598863"/>
          <p14:tracePt t="11629" x="10358438" y="3598863"/>
          <p14:tracePt t="11630" x="10361613" y="3598863"/>
          <p14:tracePt t="11631" x="10366375" y="3598863"/>
          <p14:tracePt t="11632" x="10369550" y="3603625"/>
          <p14:tracePt t="11633" x="10374313" y="3603625"/>
          <p14:tracePt t="11634" x="10377488" y="3603625"/>
          <p14:tracePt t="11635" x="10382250" y="3603625"/>
          <p14:tracePt t="11636" x="10390188" y="3606800"/>
          <p14:tracePt t="11637" x="10394950" y="3606800"/>
          <p14:tracePt t="11638" x="10402888" y="3606800"/>
          <p14:tracePt t="11639" x="10406063" y="3606800"/>
          <p14:tracePt t="11640" x="10414000" y="3606800"/>
          <p14:tracePt t="11641" x="10421938" y="3606800"/>
          <p14:tracePt t="11643" x="10426700" y="3606800"/>
          <p14:tracePt t="11645" x="10442575" y="3611563"/>
          <p14:tracePt t="11645" x="10450513" y="3611563"/>
          <p14:tracePt t="11646" x="10458450" y="3611563"/>
          <p14:tracePt t="11647" x="10461625" y="3611563"/>
          <p14:tracePt t="11648" x="10474325" y="3611563"/>
          <p14:tracePt t="11649" x="10482263" y="3611563"/>
          <p14:tracePt t="11650" x="10498138" y="3611563"/>
          <p14:tracePt t="11651" x="10506075" y="3611563"/>
          <p14:tracePt t="11652" x="10514013" y="3611563"/>
          <p14:tracePt t="11653" x="10534650" y="3611563"/>
          <p14:tracePt t="11654" x="10542588" y="3611563"/>
          <p14:tracePt t="11655" x="10553700" y="3611563"/>
          <p14:tracePt t="11657" x="10561638" y="3614738"/>
          <p14:tracePt t="11657" x="10579100" y="3614738"/>
          <p14:tracePt t="11658" x="10594975" y="3614738"/>
          <p14:tracePt t="11659" x="10602913" y="3614738"/>
          <p14:tracePt t="11660" x="10618788" y="3614738"/>
          <p14:tracePt t="11661" x="10629900" y="3614738"/>
          <p14:tracePt t="11662" x="10645775" y="3614738"/>
          <p14:tracePt t="11663" x="10666413" y="3614738"/>
          <p14:tracePt t="11664" x="10682288" y="3614738"/>
          <p14:tracePt t="11665" x="10698163" y="3614738"/>
          <p14:tracePt t="11666" x="10710863" y="3614738"/>
          <p14:tracePt t="11667" x="10726738" y="3614738"/>
          <p14:tracePt t="11668" x="10750550" y="3614738"/>
          <p14:tracePt t="11669" x="10763250" y="3614738"/>
          <p14:tracePt t="11670" x="10779125" y="3614738"/>
          <p14:tracePt t="11671" x="10798175" y="3614738"/>
          <p14:tracePt t="11672" x="10810875" y="3614738"/>
          <p14:tracePt t="11673" x="10834688" y="3614738"/>
          <p14:tracePt t="11674" x="10855325" y="3614738"/>
          <p14:tracePt t="11675" x="10874375" y="3614738"/>
          <p14:tracePt t="11676" x="10887075" y="3614738"/>
          <p14:tracePt t="11677" x="10906125" y="3614738"/>
          <p14:tracePt t="11678" x="10939463" y="3614738"/>
          <p14:tracePt t="11679" x="10958513" y="3614738"/>
          <p14:tracePt t="11680" x="10979150" y="3614738"/>
          <p14:tracePt t="11681" x="10998200" y="3614738"/>
          <p14:tracePt t="11682" x="11031538" y="3614738"/>
          <p14:tracePt t="11683" x="11047413" y="3614738"/>
          <p14:tracePt t="11684" x="11074400" y="3614738"/>
          <p14:tracePt t="11685" x="11095038" y="3614738"/>
          <p14:tracePt t="11686" x="11115675" y="3614738"/>
          <p14:tracePt t="11687" x="11139488" y="3614738"/>
          <p14:tracePt t="11688" x="11174413" y="3606800"/>
          <p14:tracePt t="11689" x="11202988" y="3606800"/>
          <p14:tracePt t="11690" x="11226800" y="3606800"/>
          <p14:tracePt t="11691" x="11255375" y="3606800"/>
          <p14:tracePt t="11693" x="11291888" y="3603625"/>
          <p14:tracePt t="11693" x="11315700" y="3603625"/>
          <p14:tracePt t="11694" x="11350625" y="3603625"/>
          <p14:tracePt t="11695" x="11379200" y="3598863"/>
          <p14:tracePt t="11696" x="11407775" y="3598863"/>
          <p14:tracePt t="11697" x="11450638" y="3590925"/>
          <p14:tracePt t="11698" x="11476038" y="3590925"/>
          <p14:tracePt t="11699" x="11503025" y="3587750"/>
          <p14:tracePt t="11700" x="11539538" y="3587750"/>
          <p14:tracePt t="11701" x="11563350" y="3587750"/>
          <p14:tracePt t="11702" x="11607800" y="3579813"/>
          <p14:tracePt t="11703" x="11642725" y="3575050"/>
          <p14:tracePt t="11704" x="11671300" y="3575050"/>
          <p14:tracePt t="11705" x="11707813" y="3567113"/>
          <p14:tracePt t="11706" x="11734800" y="3567113"/>
          <p14:tracePt t="11707" x="11779250" y="3559175"/>
          <p14:tracePt t="11708" x="11815763" y="3554413"/>
          <p14:tracePt t="11709" x="11839575" y="3554413"/>
          <p14:tracePt t="11710" x="11876088" y="3546475"/>
          <p14:tracePt t="11711" x="11903075" y="3546475"/>
          <p14:tracePt t="11712" x="11947525" y="3543300"/>
          <p14:tracePt t="11713" x="11976100" y="3538538"/>
          <p14:tracePt t="11714" x="11999913" y="3538538"/>
          <p14:tracePt t="11715" x="12028488" y="3530600"/>
          <p14:tracePt t="11716" x="12055475" y="3530600"/>
          <p14:tracePt t="11717" x="12099925" y="3527425"/>
          <p14:tracePt t="11718" x="12123738" y="3527425"/>
          <p14:tracePt t="11719" x="12144375" y="3519488"/>
          <p14:tracePt t="11720" x="12171363" y="3519488"/>
          <p14:tracePt t="14941" x="12160250" y="3611563"/>
          <p14:tracePt t="14943" x="12120563" y="3614738"/>
          <p14:tracePt t="14945" x="12079288" y="3622675"/>
          <p14:tracePt t="14946" x="12052300" y="3630613"/>
          <p14:tracePt t="14947" x="12031663" y="3635375"/>
          <p14:tracePt t="14949" x="12015788" y="3635375"/>
          <p14:tracePt t="14949" x="11995150" y="3638550"/>
          <p14:tracePt t="14950" x="11968163" y="3646488"/>
          <p14:tracePt t="14951" x="11947525" y="3646488"/>
          <p14:tracePt t="14952" x="11928475" y="3651250"/>
          <p14:tracePt t="14953" x="11907838" y="3654425"/>
          <p14:tracePt t="14954" x="11887200" y="3654425"/>
          <p14:tracePt t="14955" x="11855450" y="3659188"/>
          <p14:tracePt t="14956" x="11836400" y="3667125"/>
          <p14:tracePt t="14957" x="11823700" y="3667125"/>
          <p14:tracePt t="14958" x="11803063" y="3671888"/>
          <p14:tracePt t="14960" x="11784013" y="3671888"/>
          <p14:tracePt t="14961" x="11760200" y="3675063"/>
          <p14:tracePt t="14961" x="11744325" y="3675063"/>
          <p14:tracePt t="14962" x="11723688" y="3679825"/>
          <p14:tracePt t="14963" x="11710988" y="3679825"/>
          <p14:tracePt t="14964" x="11695113" y="3679825"/>
          <p14:tracePt t="14965" x="11676063" y="3687763"/>
          <p14:tracePt t="14966" x="11663363" y="3690938"/>
          <p14:tracePt t="14967" x="11652250" y="3690938"/>
          <p14:tracePt t="14968" x="11634788" y="3695700"/>
          <p14:tracePt t="14969" x="11623675" y="3695700"/>
          <p14:tracePt t="14970" x="11603038" y="3695700"/>
          <p14:tracePt t="14971" x="11595100" y="3698875"/>
          <p14:tracePt t="14972" x="11579225" y="3698875"/>
          <p14:tracePt t="14973" x="11568113" y="3698875"/>
          <p14:tracePt t="14974" x="11558588" y="3698875"/>
          <p14:tracePt t="14975" x="11539538" y="3703638"/>
          <p14:tracePt t="14976" x="11531600" y="3703638"/>
          <p14:tracePt t="14977" x="11515725" y="3703638"/>
          <p14:tracePt t="14979" x="11495088" y="3706813"/>
          <p14:tracePt t="14980" x="11479213" y="3706813"/>
          <p14:tracePt t="14982" x="11471275" y="3711575"/>
          <p14:tracePt t="14983" x="11455400" y="3711575"/>
          <p14:tracePt t="14984" x="11442700" y="3711575"/>
          <p14:tracePt t="14985" x="11434763" y="3711575"/>
          <p14:tracePt t="14986" x="11418888" y="3719513"/>
          <p14:tracePt t="14987" x="11410950" y="3719513"/>
          <p14:tracePt t="14988" x="11403013" y="3719513"/>
          <p14:tracePt t="14989" x="11395075" y="3719513"/>
          <p14:tracePt t="14990" x="11383963" y="3719513"/>
          <p14:tracePt t="14991" x="11371263" y="3719513"/>
          <p14:tracePt t="14992" x="11363325" y="3719513"/>
          <p14:tracePt t="14993" x="11355388" y="3719513"/>
          <p14:tracePt t="14994" x="11347450" y="3722688"/>
          <p14:tracePt t="14995" x="11339513" y="3722688"/>
          <p14:tracePt t="14996" x="11331575" y="3722688"/>
          <p14:tracePt t="14997" x="11323638" y="3722688"/>
          <p14:tracePt t="14998" x="11318875" y="3722688"/>
          <p14:tracePt t="14999" x="11310938" y="3722688"/>
          <p14:tracePt t="15000" x="11303000" y="3722688"/>
          <p14:tracePt t="15001" x="11295063" y="3722688"/>
          <p14:tracePt t="15002" x="11291888" y="3722688"/>
          <p14:tracePt t="15003" x="11282363" y="3722688"/>
          <p14:tracePt t="15004" x="11274425" y="3722688"/>
          <p14:tracePt t="15005" x="11266488" y="3722688"/>
          <p14:tracePt t="15006" x="11263313" y="3722688"/>
          <p14:tracePt t="15007" x="11255375" y="3722688"/>
          <p14:tracePt t="15008" x="11250613" y="3722688"/>
          <p14:tracePt t="15010" x="11242675" y="3727450"/>
          <p14:tracePt t="15011" x="11234738" y="3727450"/>
          <p14:tracePt t="15012" x="11231563" y="3727450"/>
          <p14:tracePt t="15013" x="11226800" y="3727450"/>
          <p14:tracePt t="15014" x="11218863" y="3727450"/>
          <p14:tracePt t="15015" x="11215688" y="3727450"/>
          <p14:tracePt t="15016" x="11210925" y="3727450"/>
          <p14:tracePt t="15017" x="11207750" y="3727450"/>
          <p14:tracePt t="15018" x="11202988" y="3727450"/>
          <p14:tracePt t="15019" x="11195050" y="3727450"/>
          <p14:tracePt t="15021" x="11190288" y="3727450"/>
          <p14:tracePt t="15022" x="11187113" y="3727450"/>
          <p14:tracePt t="15024" x="11182350" y="3727450"/>
          <p14:tracePt t="15025" x="11179175" y="3727450"/>
          <p14:tracePt t="15027" x="11174413" y="3727450"/>
          <p14:tracePt t="15028" x="11171238" y="3727450"/>
          <p14:tracePt t="15030" x="11166475" y="3727450"/>
          <p14:tracePt t="15032" x="11163300" y="3727450"/>
          <p14:tracePt t="15036" x="11158538" y="3727450"/>
          <p14:tracePt t="15051" x="11155363" y="3727450"/>
          <p14:tracePt t="15058" x="11150600" y="3727450"/>
          <p14:tracePt t="15063" x="11147425" y="3727450"/>
          <p14:tracePt t="15064" x="11142663" y="3722688"/>
          <p14:tracePt t="15065" x="11142663" y="3719513"/>
          <p14:tracePt t="15068" x="11142663" y="3714750"/>
          <p14:tracePt t="15069" x="11139488" y="3714750"/>
          <p14:tracePt t="15070" x="11139488" y="3711575"/>
          <p14:tracePt t="15071" x="11134725" y="3711575"/>
          <p14:tracePt t="15072" x="11131550" y="3711575"/>
          <p14:tracePt t="15073" x="11131550" y="3706813"/>
          <p14:tracePt t="15074" x="11126788" y="3703638"/>
          <p14:tracePt t="15075" x="11123613" y="3703638"/>
          <p14:tracePt t="15076" x="11123613" y="3698875"/>
          <p14:tracePt t="15078" x="11115675" y="3698875"/>
          <p14:tracePt t="15079" x="11110913" y="3695700"/>
          <p14:tracePt t="15080" x="11106150" y="3695700"/>
          <p14:tracePt t="15081" x="11106150" y="3690938"/>
          <p14:tracePt t="15082" x="11098213" y="3687763"/>
          <p14:tracePt t="15083" x="11095038" y="3687763"/>
          <p14:tracePt t="15084" x="11095038" y="3683000"/>
          <p14:tracePt t="15085" x="11090275" y="3679825"/>
          <p14:tracePt t="15086" x="11087100" y="3675063"/>
          <p14:tracePt t="15088" x="11079163" y="3671888"/>
          <p14:tracePt t="15089" x="11074400" y="3667125"/>
          <p14:tracePt t="15090" x="11071225" y="3663950"/>
          <p14:tracePt t="15091" x="11063288" y="3659188"/>
          <p14:tracePt t="15092" x="11058525" y="3654425"/>
          <p14:tracePt t="15094" x="11050588" y="3651250"/>
          <p14:tracePt t="15096" x="11039475" y="3646488"/>
          <p14:tracePt t="15097" x="11031538" y="3643313"/>
          <p14:tracePt t="15099" x="11026775" y="3638550"/>
          <p14:tracePt t="15100" x="11018838" y="3638550"/>
          <p14:tracePt t="15101" x="11014075" y="3635375"/>
          <p14:tracePt t="15102" x="11006138" y="3630613"/>
          <p14:tracePt t="15103" x="10998200" y="3627438"/>
          <p14:tracePt t="15104" x="10995025" y="3622675"/>
          <p14:tracePt t="15105" x="10990263" y="3622675"/>
          <p14:tracePt t="15106" x="10979150" y="3619500"/>
          <p14:tracePt t="15107" x="10974388" y="3614738"/>
          <p14:tracePt t="15108" x="10966450" y="3611563"/>
          <p14:tracePt t="15110" x="10955338" y="3603625"/>
          <p14:tracePt t="15112" x="10939463" y="3595688"/>
          <p14:tracePt t="15114" x="10931525" y="3595688"/>
          <p14:tracePt t="15114" x="10926763" y="3590925"/>
          <p14:tracePt t="15115" x="10918825" y="3587750"/>
          <p14:tracePt t="15116" x="10910888" y="3582988"/>
          <p14:tracePt t="15117" x="10898188" y="3579813"/>
          <p14:tracePt t="15118" x="10890250" y="3579813"/>
          <p14:tracePt t="15119" x="10882313" y="3575050"/>
          <p14:tracePt t="15120" x="10874375" y="3567113"/>
          <p14:tracePt t="15121" x="10866438" y="3567113"/>
          <p14:tracePt t="15122" x="10858500" y="3562350"/>
          <p14:tracePt t="15123" x="10850563" y="3559175"/>
          <p14:tracePt t="15124" x="10839450" y="3554413"/>
          <p14:tracePt t="15125" x="10829925" y="3551238"/>
          <p14:tracePt t="15126" x="10818813" y="3546475"/>
          <p14:tracePt t="15127" x="10810875" y="3546475"/>
          <p14:tracePt t="15129" x="10798175" y="3543300"/>
          <p14:tracePt t="15130" x="10779125" y="3535363"/>
          <p14:tracePt t="15131" x="10763250" y="3527425"/>
          <p14:tracePt t="15132" x="10755313" y="3527425"/>
          <p14:tracePt t="15133" x="10745788" y="3522663"/>
          <p14:tracePt t="15134" x="10737850" y="3519488"/>
          <p14:tracePt t="15135" x="10721975" y="3514725"/>
          <p14:tracePt t="15136" x="10710863" y="3511550"/>
          <p14:tracePt t="15137" x="10702925" y="3506788"/>
          <p14:tracePt t="15138" x="10687050" y="3506788"/>
          <p14:tracePt t="15139" x="10679113" y="3503613"/>
          <p14:tracePt t="15140" x="10663238" y="3495675"/>
          <p14:tracePt t="15141" x="10650538" y="3490913"/>
          <p14:tracePt t="15142" x="10637838" y="3490913"/>
          <p14:tracePt t="15143" x="10626725" y="3487738"/>
          <p14:tracePt t="15144" x="10614025" y="3487738"/>
          <p14:tracePt t="15145" x="10606088" y="3482975"/>
          <p14:tracePt t="15147" x="10571163" y="3479800"/>
          <p14:tracePt t="15148" x="10561638" y="3475038"/>
          <p14:tracePt t="15149" x="10550525" y="3475038"/>
          <p14:tracePt t="15150" x="10529888" y="3470275"/>
          <p14:tracePt t="15151" x="10518775" y="3470275"/>
          <p14:tracePt t="15152" x="10502900" y="3470275"/>
          <p14:tracePt t="15153" x="10490200" y="3470275"/>
          <p14:tracePt t="15154" x="10482263" y="3462338"/>
          <p14:tracePt t="15155" x="10461625" y="3462338"/>
          <p14:tracePt t="15156" x="10445750" y="3462338"/>
          <p14:tracePt t="15157" x="10434638" y="3459163"/>
          <p14:tracePt t="15158" x="10418763" y="3459163"/>
          <p14:tracePt t="15160" x="10406063" y="3459163"/>
          <p14:tracePt t="15160" x="10387013" y="3454400"/>
          <p14:tracePt t="15161" x="10374313" y="3454400"/>
          <p14:tracePt t="15162" x="10358438" y="3454400"/>
          <p14:tracePt t="15163" x="10345738" y="3454400"/>
          <p14:tracePt t="15164" x="10329863" y="3451225"/>
          <p14:tracePt t="15165" x="10318750" y="3451225"/>
          <p14:tracePt t="15166" x="10298113" y="3451225"/>
          <p14:tracePt t="15167" x="10285413" y="3451225"/>
          <p14:tracePt t="15168" x="10269538" y="3451225"/>
          <p14:tracePt t="15169" x="10258425" y="3451225"/>
          <p14:tracePt t="15170" x="10229850" y="3451225"/>
          <p14:tracePt t="15171" x="10218738" y="3451225"/>
          <p14:tracePt t="15172" x="10206038" y="3451225"/>
          <p14:tracePt t="15173" x="10190163" y="3451225"/>
          <p14:tracePt t="15174" x="10177463" y="3451225"/>
          <p14:tracePt t="15175" x="10150475" y="3451225"/>
          <p14:tracePt t="15176" x="10137775" y="3451225"/>
          <p14:tracePt t="15177" x="10126663" y="3451225"/>
          <p14:tracePt t="15178" x="10109200" y="3451225"/>
          <p14:tracePt t="15179" x="10090150" y="3451225"/>
          <p14:tracePt t="15180" x="10074275" y="3451225"/>
          <p14:tracePt t="15181" x="10058400" y="3451225"/>
          <p14:tracePt t="15182" x="10045700" y="3451225"/>
          <p14:tracePt t="15183" x="10026650" y="3451225"/>
          <p14:tracePt t="15184" x="10013950" y="3451225"/>
          <p14:tracePt t="15185" x="9993313" y="3451225"/>
          <p14:tracePt t="15186" x="9977438" y="3451225"/>
          <p14:tracePt t="15187" x="9958388" y="3451225"/>
          <p14:tracePt t="15188" x="9945688" y="3451225"/>
          <p14:tracePt t="15189" x="9932988" y="3451225"/>
          <p14:tracePt t="15190" x="9906000" y="3451225"/>
          <p14:tracePt t="15191" x="9893300" y="3451225"/>
          <p14:tracePt t="15193" x="9861550" y="3454400"/>
          <p14:tracePt t="15194" x="9840913" y="3454400"/>
          <p14:tracePt t="15195" x="9825038" y="3454400"/>
          <p14:tracePt t="15196" x="9805988" y="3462338"/>
          <p14:tracePt t="15197" x="9793288" y="3462338"/>
          <p14:tracePt t="15198" x="9774238" y="3462338"/>
          <p14:tracePt t="15199" x="9761538" y="3467100"/>
          <p14:tracePt t="15200" x="9740900" y="3467100"/>
          <p14:tracePt t="15201" x="9725025" y="3467100"/>
          <p14:tracePt t="15202" x="9709150" y="3470275"/>
          <p14:tracePt t="15203" x="9693275" y="3470275"/>
          <p14:tracePt t="15204" x="9669463" y="3470275"/>
          <p14:tracePt t="15205" x="9653588" y="3475038"/>
          <p14:tracePt t="15206" x="9640888" y="3475038"/>
          <p14:tracePt t="15207" x="9625013" y="3475038"/>
          <p14:tracePt t="15208" x="9609138" y="3479800"/>
          <p14:tracePt t="15210" x="9590088" y="3479800"/>
          <p14:tracePt t="15211" x="9574213" y="3482975"/>
          <p14:tracePt t="15211" x="9561513" y="3482975"/>
          <p14:tracePt t="15212" x="9545638" y="3490913"/>
          <p14:tracePt t="15213" x="9532938" y="3490913"/>
          <p14:tracePt t="15214" x="9513888" y="3495675"/>
          <p14:tracePt t="15215" x="9501188" y="3495675"/>
          <p14:tracePt t="15216" x="9485313" y="3495675"/>
          <p14:tracePt t="15217" x="9472613" y="3498850"/>
          <p14:tracePt t="15218" x="9456738" y="3498850"/>
          <p14:tracePt t="15219" x="9437688" y="3503613"/>
          <p14:tracePt t="15220" x="9421813" y="3503613"/>
          <p14:tracePt t="15221" x="9405938" y="3503613"/>
          <p14:tracePt t="15222" x="9393238" y="3506788"/>
          <p14:tracePt t="15223" x="9377363" y="3506788"/>
          <p14:tracePt t="15224" x="9356725" y="3514725"/>
          <p14:tracePt t="15225" x="9348788" y="3514725"/>
          <p14:tracePt t="15226" x="9337675" y="3519488"/>
          <p14:tracePt t="15227" x="9321800" y="3519488"/>
          <p14:tracePt t="15228" x="9309100" y="3519488"/>
          <p14:tracePt t="15229" x="9288463" y="3522663"/>
          <p14:tracePt t="15230" x="9277350" y="3522663"/>
          <p14:tracePt t="15231" x="9261475" y="3527425"/>
          <p14:tracePt t="15232" x="9248775" y="3527425"/>
          <p14:tracePt t="15233" x="9229725" y="3530600"/>
          <p14:tracePt t="15234" x="9221788" y="3530600"/>
          <p14:tracePt t="15235" x="9204325" y="3538538"/>
          <p14:tracePt t="15236" x="9193213" y="3538538"/>
          <p14:tracePt t="15237" x="9177338" y="3543300"/>
          <p14:tracePt t="15238" x="9164638" y="3543300"/>
          <p14:tracePt t="15239" x="9148763" y="3546475"/>
          <p14:tracePt t="15240" x="9137650" y="3546475"/>
          <p14:tracePt t="15241" x="9120188" y="3546475"/>
          <p14:tracePt t="15243" x="9101138" y="3551238"/>
          <p14:tracePt t="15244" x="9085263" y="3554413"/>
          <p14:tracePt t="15245" x="9072563" y="3559175"/>
          <p14:tracePt t="15246" x="9056688" y="3559175"/>
          <p14:tracePt t="15247" x="9048750" y="3567113"/>
          <p14:tracePt t="15248" x="9037638" y="3571875"/>
          <p14:tracePt t="15249" x="9020175" y="3571875"/>
          <p14:tracePt t="15250" x="9012238" y="3575050"/>
          <p14:tracePt t="15251" x="9004300" y="3575050"/>
          <p14:tracePt t="15252" x="8996363" y="3579813"/>
          <p14:tracePt t="15253" x="8980488" y="3582988"/>
          <p14:tracePt t="15254" x="8969375" y="3582988"/>
          <p14:tracePt t="15255" x="8961438" y="3587750"/>
          <p14:tracePt t="15256" x="8953500" y="3590925"/>
          <p14:tracePt t="15257" x="8945563" y="3590925"/>
          <p14:tracePt t="15258" x="8932863" y="3595688"/>
          <p14:tracePt t="15260" x="8924925" y="3598863"/>
          <p14:tracePt t="15260" x="8916988" y="3606800"/>
          <p14:tracePt t="15262" x="8909050" y="3606800"/>
          <p14:tracePt t="15262" x="8901113" y="3611563"/>
          <p14:tracePt t="15263" x="8893175" y="3614738"/>
          <p14:tracePt t="15264" x="8880475" y="3619500"/>
          <p14:tracePt t="15265" x="8877300" y="3619500"/>
          <p14:tracePt t="15266" x="8869363" y="3622675"/>
          <p14:tracePt t="15267" x="8869363" y="3627438"/>
          <p14:tracePt t="15268" x="8853488" y="3630613"/>
          <p14:tracePt t="15269" x="8848725" y="3635375"/>
          <p14:tracePt t="15271" x="8840788" y="3638550"/>
          <p14:tracePt t="15272" x="8836025" y="3643313"/>
          <p14:tracePt t="15273" x="8828088" y="3646488"/>
          <p14:tracePt t="15274" x="8824913" y="3646488"/>
          <p14:tracePt t="15275" x="8816975" y="3651250"/>
          <p14:tracePt t="15276" x="8812213" y="3651250"/>
          <p14:tracePt t="15277" x="8809038" y="3651250"/>
          <p14:tracePt t="15279" x="8796338" y="3659188"/>
          <p14:tracePt t="15280" x="8793163" y="3663950"/>
          <p14:tracePt t="15282" x="8780463" y="3675063"/>
          <p14:tracePt t="15283" x="8777288" y="3679825"/>
          <p14:tracePt t="15284" x="8772525" y="3683000"/>
          <p14:tracePt t="15285" x="8769350" y="3687763"/>
          <p14:tracePt t="15286" x="8769350" y="3690938"/>
          <p14:tracePt t="15287" x="8764588" y="3695700"/>
          <p14:tracePt t="15288" x="8756650" y="3698875"/>
          <p14:tracePt t="15289" x="8756650" y="3703638"/>
          <p14:tracePt t="15290" x="8751888" y="3711575"/>
          <p14:tracePt t="15291" x="8740775" y="3714750"/>
          <p14:tracePt t="15292" x="8740775" y="3719513"/>
          <p14:tracePt t="15293" x="8736013" y="3727450"/>
          <p14:tracePt t="15294" x="8732838" y="3730625"/>
          <p14:tracePt t="15295" x="8728075" y="3735388"/>
          <p14:tracePt t="15297" x="8720138" y="3751263"/>
          <p14:tracePt t="15298" x="8716963" y="3756025"/>
          <p14:tracePt t="15299" x="8712200" y="3759200"/>
          <p14:tracePt t="15300" x="8704263" y="3767138"/>
          <p14:tracePt t="15301" x="8701088" y="3771900"/>
          <p14:tracePt t="15302" x="8696325" y="3783013"/>
          <p14:tracePt t="15303" x="8693150" y="3787775"/>
          <p14:tracePt t="15304" x="8688388" y="3795713"/>
          <p14:tracePt t="15305" x="8685213" y="3795713"/>
          <p14:tracePt t="15306" x="8680450" y="3803650"/>
          <p14:tracePt t="15307" x="8672513" y="3814763"/>
          <p14:tracePt t="15308" x="8667750" y="3822700"/>
          <p14:tracePt t="15310" x="8664575" y="3827463"/>
          <p14:tracePt t="15310" x="8659813" y="3835400"/>
          <p14:tracePt t="15312" x="8656638" y="3843338"/>
          <p14:tracePt t="15314" x="8640763" y="3863975"/>
          <p14:tracePt t="15314" x="8636000" y="3871913"/>
          <p14:tracePt t="15315" x="8632825" y="3879850"/>
          <p14:tracePt t="15316" x="8628063" y="3887788"/>
          <p14:tracePt t="15317" x="8624888" y="3895725"/>
          <p14:tracePt t="15318" x="8620125" y="3898900"/>
          <p14:tracePt t="15319" x="8616950" y="3906838"/>
          <p14:tracePt t="15320" x="8612188" y="3914775"/>
          <p14:tracePt t="15321" x="8609013" y="3927475"/>
          <p14:tracePt t="15322" x="8604250" y="3935413"/>
          <p14:tracePt t="15323" x="8601075" y="3943350"/>
          <p14:tracePt t="15324" x="8593138" y="3951288"/>
          <p14:tracePt t="15325" x="8588375" y="3959225"/>
          <p14:tracePt t="15326" x="8585200" y="3975100"/>
          <p14:tracePt t="15327" x="8580438" y="3983038"/>
          <p14:tracePt t="15328" x="8580438" y="3987800"/>
          <p14:tracePt t="15331" x="8567738" y="4011613"/>
          <p14:tracePt t="15332" x="8564563" y="4027488"/>
          <p14:tracePt t="15333" x="8559800" y="4035425"/>
          <p14:tracePt t="15334" x="8559800" y="4043363"/>
          <p14:tracePt t="15335" x="8556625" y="4051300"/>
          <p14:tracePt t="15336" x="8548688" y="4067175"/>
          <p14:tracePt t="15337" x="8548688" y="4075113"/>
          <p14:tracePt t="15338" x="8543925" y="4083050"/>
          <p14:tracePt t="15339" x="8543925" y="4090988"/>
          <p14:tracePt t="15340" x="8540750" y="4106863"/>
          <p14:tracePt t="15341" x="8540750" y="4116388"/>
          <p14:tracePt t="15342" x="8535988" y="4127500"/>
          <p14:tracePt t="15343" x="8535988" y="4135438"/>
          <p14:tracePt t="15344" x="8532813" y="4143375"/>
          <p14:tracePt t="15346" x="8532813" y="4167188"/>
          <p14:tracePt t="15347" x="8528050" y="4175125"/>
          <p14:tracePt t="15348" x="8528050" y="4183063"/>
          <p14:tracePt t="15349" x="8524875" y="4191000"/>
          <p14:tracePt t="15350" x="8524875" y="4198938"/>
          <p14:tracePt t="15351" x="8516938" y="4216400"/>
          <p14:tracePt t="15352" x="8516938" y="4227513"/>
          <p14:tracePt t="15353" x="8516938" y="4235450"/>
          <p14:tracePt t="15354" x="8516938" y="4243388"/>
          <p14:tracePt t="15355" x="8516938" y="4251325"/>
          <p14:tracePt t="15356" x="8512175" y="4267200"/>
          <p14:tracePt t="15357" x="8512175" y="4275138"/>
          <p14:tracePt t="15358" x="8512175" y="4287838"/>
          <p14:tracePt t="15360" x="8512175" y="4295775"/>
          <p14:tracePt t="15360" x="8512175" y="4311650"/>
          <p14:tracePt t="15361" x="8512175" y="4319588"/>
          <p14:tracePt t="15362" x="8512175" y="4327525"/>
          <p14:tracePt t="15363" x="8512175" y="4335463"/>
          <p14:tracePt t="15364" x="8512175" y="4348163"/>
          <p14:tracePt t="15365" x="8512175" y="4356100"/>
          <p14:tracePt t="15366" x="8512175" y="4371975"/>
          <p14:tracePt t="15367" x="8512175" y="4379913"/>
          <p14:tracePt t="15368" x="8512175" y="4387850"/>
          <p14:tracePt t="15369" x="8512175" y="4400550"/>
          <p14:tracePt t="15370" x="8512175" y="4416425"/>
          <p14:tracePt t="15371" x="8512175" y="4424363"/>
          <p14:tracePt t="15372" x="8512175" y="4432300"/>
          <p14:tracePt t="15374" x="8512175" y="4451350"/>
          <p14:tracePt t="15375" x="8516938" y="4464050"/>
          <p14:tracePt t="15376" x="8516938" y="4475163"/>
          <p14:tracePt t="15377" x="8516938" y="4484688"/>
          <p14:tracePt t="15378" x="8524875" y="4492625"/>
          <p14:tracePt t="15379" x="8524875" y="4508500"/>
          <p14:tracePt t="15380" x="8528050" y="4519613"/>
          <p14:tracePt t="15381" x="8532813" y="4527550"/>
          <p14:tracePt t="15382" x="8532813" y="4535488"/>
          <p14:tracePt t="15383" x="8535988" y="4548188"/>
          <p14:tracePt t="15384" x="8540750" y="4556125"/>
          <p14:tracePt t="15385" x="8540750" y="4564063"/>
          <p14:tracePt t="15386" x="8543925" y="4576763"/>
          <p14:tracePt t="15387" x="8548688" y="4587875"/>
          <p14:tracePt t="15388" x="8551863" y="4600575"/>
          <p14:tracePt t="15389" x="8559800" y="4608513"/>
          <p14:tracePt t="15390" x="8564563" y="4616450"/>
          <p14:tracePt t="15391" x="8564563" y="4632325"/>
          <p14:tracePt t="15392" x="8567738" y="4635500"/>
          <p14:tracePt t="15394" x="8572500" y="4643438"/>
          <p14:tracePt t="15394" x="8575675" y="4651375"/>
          <p14:tracePt t="15396" x="8585200" y="4668838"/>
          <p14:tracePt t="15397" x="8585200" y="4676775"/>
          <p14:tracePt t="15398" x="8588375" y="4684713"/>
          <p14:tracePt t="15399" x="8593138" y="4695825"/>
          <p14:tracePt t="15400" x="8596313" y="4703763"/>
          <p14:tracePt t="15401" x="8601075" y="4711700"/>
          <p14:tracePt t="15402" x="8604250" y="4716463"/>
          <p14:tracePt t="15403" x="8604250" y="4724400"/>
          <p14:tracePt t="15404" x="8609013" y="4727575"/>
          <p14:tracePt t="15405" x="8612188" y="4735513"/>
          <p14:tracePt t="15406" x="8616950" y="4740275"/>
          <p14:tracePt t="15407" x="8620125" y="4748213"/>
          <p14:tracePt t="15408" x="8620125" y="4751388"/>
          <p14:tracePt t="15410" x="8624888" y="4756150"/>
          <p14:tracePt t="15410" x="8628063" y="4764088"/>
          <p14:tracePt t="15411" x="8632825" y="4764088"/>
          <p14:tracePt t="15413" x="8632825" y="4768850"/>
          <p14:tracePt t="15413" x="8636000" y="4772025"/>
          <p14:tracePt t="15414" x="8640763" y="4779963"/>
          <p14:tracePt t="15415" x="8640763" y="4784725"/>
          <p14:tracePt t="15416" x="8640763" y="4787900"/>
          <p14:tracePt t="15418" x="8643938" y="4792663"/>
          <p14:tracePt t="15419" x="8648700" y="4795838"/>
          <p14:tracePt t="15420" x="8651875" y="4800600"/>
          <p14:tracePt t="15421" x="8656638" y="4803775"/>
          <p14:tracePt t="15422" x="8656638" y="4808538"/>
          <p14:tracePt t="15424" x="8659813" y="4811713"/>
          <p14:tracePt t="15426" x="8664575" y="4811713"/>
          <p14:tracePt t="15429" x="8667750" y="4816475"/>
          <p14:tracePt t="15430" x="8672513" y="4816475"/>
          <p14:tracePt t="15431" x="8672513" y="4819650"/>
          <p14:tracePt t="15432" x="8677275" y="4819650"/>
          <p14:tracePt t="15434" x="8677275" y="4824413"/>
          <p14:tracePt t="15435" x="8680450" y="4824413"/>
          <p14:tracePt t="15443" x="8685213" y="4824413"/>
          <p14:tracePt t="15464" x="8685213" y="4819650"/>
          <p14:tracePt t="15465" x="8688388" y="4819650"/>
          <p14:tracePt t="15466" x="8688388" y="4816475"/>
          <p14:tracePt t="15468" x="8693150" y="4816475"/>
          <p14:tracePt t="15469" x="8696325" y="4811713"/>
          <p14:tracePt t="15471" x="8701088" y="4808538"/>
          <p14:tracePt t="15472" x="8704263" y="4803775"/>
          <p14:tracePt t="15473" x="8709025" y="4795838"/>
          <p14:tracePt t="15474" x="8709025" y="4792663"/>
          <p14:tracePt t="15475" x="8712200" y="4784725"/>
          <p14:tracePt t="15476" x="8716963" y="4779963"/>
          <p14:tracePt t="15477" x="8720138" y="4772025"/>
          <p14:tracePt t="15478" x="8728075" y="4764088"/>
          <p14:tracePt t="15479" x="8732838" y="4756150"/>
          <p14:tracePt t="15480" x="8736013" y="4743450"/>
          <p14:tracePt t="15481" x="8740775" y="4735513"/>
          <p14:tracePt t="15482" x="8748713" y="4727575"/>
          <p14:tracePt t="15483" x="8756650" y="4719638"/>
          <p14:tracePt t="15485" x="8769350" y="4695825"/>
          <p14:tracePt t="15486" x="8772525" y="4687888"/>
          <p14:tracePt t="15487" x="8785225" y="4672013"/>
          <p14:tracePt t="15488" x="8793163" y="4659313"/>
          <p14:tracePt t="15489" x="8796338" y="4643438"/>
          <p14:tracePt t="15490" x="8809038" y="4627563"/>
          <p14:tracePt t="15491" x="8812213" y="4619625"/>
          <p14:tracePt t="15492" x="8820150" y="4600575"/>
          <p14:tracePt t="15493" x="8832850" y="4587875"/>
          <p14:tracePt t="15494" x="8840788" y="4572000"/>
          <p14:tracePt t="15496" x="8856663" y="4548188"/>
          <p14:tracePt t="15498" x="8877300" y="4511675"/>
          <p14:tracePt t="15499" x="8880475" y="4500563"/>
          <p14:tracePt t="15500" x="8888413" y="4484688"/>
          <p14:tracePt t="15501" x="8896350" y="4471988"/>
          <p14:tracePt t="15502" x="8904288" y="4451350"/>
          <p14:tracePt t="15503" x="8912225" y="4435475"/>
          <p14:tracePt t="15504" x="8920163" y="4424363"/>
          <p14:tracePt t="15505" x="8928100" y="4408488"/>
          <p14:tracePt t="15506" x="8932863" y="4392613"/>
          <p14:tracePt t="15507" x="8945563" y="4371975"/>
          <p14:tracePt t="15508" x="8948738" y="4359275"/>
          <p14:tracePt t="15510" x="8956675" y="4343400"/>
          <p14:tracePt t="15510" x="8961438" y="4335463"/>
          <p14:tracePt t="15511" x="8969375" y="4324350"/>
          <p14:tracePt t="15514" x="8993188" y="4271963"/>
          <p14:tracePt t="15516" x="9004300" y="4243388"/>
          <p14:tracePt t="15517" x="9017000" y="4232275"/>
          <p14:tracePt t="15518" x="9020175" y="4216400"/>
          <p14:tracePt t="15519" x="9028113" y="4203700"/>
          <p14:tracePt t="15520" x="9032875" y="4187825"/>
          <p14:tracePt t="15521" x="9040813" y="4175125"/>
          <p14:tracePt t="15522" x="9048750" y="4151313"/>
          <p14:tracePt t="15523" x="9061450" y="4140200"/>
          <p14:tracePt t="15524" x="9064625" y="4124325"/>
          <p14:tracePt t="15525" x="9069388" y="4111625"/>
          <p14:tracePt t="15526" x="9077325" y="4095750"/>
          <p14:tracePt t="15527" x="9080500" y="4083050"/>
          <p14:tracePt t="15528" x="9093200" y="4067175"/>
          <p14:tracePt t="15530" x="9104313" y="4043363"/>
          <p14:tracePt t="15532" x="9109075" y="4032250"/>
          <p14:tracePt t="15532" x="9120188" y="4011613"/>
          <p14:tracePt t="15533" x="9124950" y="4003675"/>
          <p14:tracePt t="15534" x="9129713" y="3987800"/>
          <p14:tracePt t="15535" x="9140825" y="3971925"/>
          <p14:tracePt t="15536" x="9145588" y="3959225"/>
          <p14:tracePt t="15537" x="9148763" y="3951288"/>
          <p14:tracePt t="15538" x="9156700" y="3935413"/>
          <p14:tracePt t="15539" x="9161463" y="3922713"/>
          <p14:tracePt t="15540" x="9169400" y="3911600"/>
          <p14:tracePt t="15541" x="9172575" y="3898900"/>
          <p14:tracePt t="15542" x="9177338" y="3883025"/>
          <p14:tracePt t="15543" x="9180513" y="3875088"/>
          <p14:tracePt t="15544" x="9185275" y="3863975"/>
          <p14:tracePt t="15545" x="9188450" y="3856038"/>
          <p14:tracePt t="15547" x="9201150" y="3830638"/>
          <p14:tracePt t="15548" x="9201150" y="3822700"/>
          <p14:tracePt t="15549" x="9204325" y="3814763"/>
          <p14:tracePt t="15550" x="9209088" y="3803650"/>
          <p14:tracePt t="15551" x="9213850" y="3790950"/>
          <p14:tracePt t="15552" x="9213850" y="3783013"/>
          <p14:tracePt t="15553" x="9217025" y="3775075"/>
          <p14:tracePt t="15554" x="9221788" y="3763963"/>
          <p14:tracePt t="15555" x="9221788" y="3756025"/>
          <p14:tracePt t="15556" x="9224963" y="3746500"/>
          <p14:tracePt t="15557" x="9229725" y="3743325"/>
          <p14:tracePt t="15558" x="9229725" y="3735388"/>
          <p14:tracePt t="15560" x="9229725" y="3727450"/>
          <p14:tracePt t="15560" x="9232900" y="3722688"/>
          <p14:tracePt t="15561" x="9232900" y="3714750"/>
          <p14:tracePt t="15564" x="9237663" y="3703638"/>
          <p14:tracePt t="15565" x="9237663" y="3698875"/>
          <p14:tracePt t="15566" x="9237663" y="3690938"/>
          <p14:tracePt t="15567" x="9237663" y="3687763"/>
          <p14:tracePt t="15568" x="9237663" y="3683000"/>
          <p14:tracePt t="15569" x="9237663" y="3679825"/>
          <p14:tracePt t="15570" x="9237663" y="3675063"/>
          <p14:tracePt t="15571" x="9237663" y="3671888"/>
          <p14:tracePt t="15572" x="9237663" y="3667125"/>
          <p14:tracePt t="15573" x="9237663" y="3663950"/>
          <p14:tracePt t="15576" x="9237663" y="3659188"/>
          <p14:tracePt t="15578" x="9237663" y="3654425"/>
          <p14:tracePt t="15580" x="9237663" y="3651250"/>
          <p14:tracePt t="15583" x="9237663" y="3646488"/>
          <p14:tracePt t="15621" x="9237663" y="3651250"/>
          <p14:tracePt t="15624" x="9237663" y="3654425"/>
          <p14:tracePt t="15627" x="9237663" y="3659188"/>
          <p14:tracePt t="15630" x="9237663" y="3663950"/>
          <p14:tracePt t="15631" x="9237663" y="3667125"/>
          <p14:tracePt t="15632" x="9237663" y="3671888"/>
          <p14:tracePt t="15633" x="9237663" y="3675063"/>
          <p14:tracePt t="15634" x="9237663" y="3679825"/>
          <p14:tracePt t="15635" x="9237663" y="3683000"/>
          <p14:tracePt t="15636" x="9232900" y="3690938"/>
          <p14:tracePt t="15637" x="9232900" y="3695700"/>
          <p14:tracePt t="15638" x="9232900" y="3698875"/>
          <p14:tracePt t="15639" x="9232900" y="3706813"/>
          <p14:tracePt t="15640" x="9229725" y="3714750"/>
          <p14:tracePt t="15641" x="9229725" y="3722688"/>
          <p14:tracePt t="15642" x="9229725" y="3727450"/>
          <p14:tracePt t="15643" x="9224963" y="3735388"/>
          <p14:tracePt t="15644" x="9224963" y="3743325"/>
          <p14:tracePt t="15645" x="9224963" y="3751263"/>
          <p14:tracePt t="15646" x="9221788" y="3759200"/>
          <p14:tracePt t="15647" x="9221788" y="3767138"/>
          <p14:tracePt t="15648" x="9221788" y="3775075"/>
          <p14:tracePt t="15649" x="9217025" y="3783013"/>
          <p14:tracePt t="15650" x="9217025" y="3790950"/>
          <p14:tracePt t="15651" x="9213850" y="3803650"/>
          <p14:tracePt t="15652" x="9213850" y="3811588"/>
          <p14:tracePt t="15653" x="9213850" y="3819525"/>
          <p14:tracePt t="15654" x="9213850" y="3830638"/>
          <p14:tracePt t="15655" x="9209088" y="3838575"/>
          <p14:tracePt t="15656" x="9209088" y="3856038"/>
          <p14:tracePt t="15657" x="9209088" y="3863975"/>
          <p14:tracePt t="15658" x="9204325" y="3871913"/>
          <p14:tracePt t="15660" x="9204325" y="3898900"/>
          <p14:tracePt t="15661" x="9196388" y="3906838"/>
          <p14:tracePt t="15662" x="9196388" y="3914775"/>
          <p14:tracePt t="15663" x="9196388" y="3927475"/>
          <p14:tracePt t="15664" x="9193213" y="3943350"/>
          <p14:tracePt t="15665" x="9193213" y="3956050"/>
          <p14:tracePt t="15666" x="9193213" y="3963988"/>
          <p14:tracePt t="15667" x="9193213" y="3979863"/>
          <p14:tracePt t="15668" x="9188450" y="3990975"/>
          <p14:tracePt t="15669" x="9188450" y="4006850"/>
          <p14:tracePt t="15670" x="9188450" y="4014788"/>
          <p14:tracePt t="15671" x="9188450" y="4024313"/>
          <p14:tracePt t="15672" x="9188450" y="4035425"/>
          <p14:tracePt t="15673" x="9188450" y="4051300"/>
          <p14:tracePt t="15674" x="9188450" y="4064000"/>
          <p14:tracePt t="15675" x="9185275" y="4079875"/>
          <p14:tracePt t="15676" x="9185275" y="4087813"/>
          <p14:tracePt t="15678" x="9185275" y="4098925"/>
          <p14:tracePt t="15678" x="9185275" y="4116388"/>
          <p14:tracePt t="15679" x="9185275" y="4127500"/>
          <p14:tracePt t="15680" x="9185275" y="4135438"/>
          <p14:tracePt t="15681" x="9185275" y="4148138"/>
          <p14:tracePt t="15682" x="9185275" y="4156075"/>
          <p14:tracePt t="15683" x="9185275" y="4175125"/>
          <p14:tracePt t="15684" x="9185275" y="4183063"/>
          <p14:tracePt t="15685" x="9185275" y="4198938"/>
          <p14:tracePt t="15687" x="9185275" y="4219575"/>
          <p14:tracePt t="15688" x="9185275" y="4235450"/>
          <p14:tracePt t="15689" x="9185275" y="4243388"/>
          <p14:tracePt t="15690" x="9185275" y="4251325"/>
          <p14:tracePt t="15691" x="9185275" y="4264025"/>
          <p14:tracePt t="15692" x="9188450" y="4271963"/>
          <p14:tracePt t="15693" x="9188450" y="4279900"/>
          <p14:tracePt t="15694" x="9188450" y="4291013"/>
          <p14:tracePt t="15695" x="9193213" y="4300538"/>
          <p14:tracePt t="15696" x="9196388" y="4308475"/>
          <p14:tracePt t="15697" x="9196388" y="4311650"/>
          <p14:tracePt t="15698" x="9201150" y="4324350"/>
          <p14:tracePt t="15699" x="9204325" y="4327525"/>
          <p14:tracePt t="15700" x="9204325" y="4332288"/>
          <p14:tracePt t="15701" x="9209088" y="4340225"/>
          <p14:tracePt t="15703" x="9213850" y="4348163"/>
          <p14:tracePt t="15704" x="9217025" y="4348163"/>
          <p14:tracePt t="15705" x="9217025" y="4351338"/>
          <p14:tracePt t="15706" x="9221788" y="4351338"/>
          <p14:tracePt t="15707" x="9224963" y="4356100"/>
          <p14:tracePt t="15708" x="9229725" y="4359275"/>
          <p14:tracePt t="15710" x="9232900" y="4364038"/>
          <p14:tracePt t="15711" x="9237663" y="4364038"/>
          <p14:tracePt t="15712" x="9240838" y="4364038"/>
          <p14:tracePt t="15713" x="9240838" y="4367213"/>
          <p14:tracePt t="15714" x="9245600" y="4367213"/>
          <p14:tracePt t="15715" x="9248775" y="4367213"/>
          <p14:tracePt t="15716" x="9253538" y="4367213"/>
          <p14:tracePt t="15717" x="9256713" y="4371975"/>
          <p14:tracePt t="15718" x="9261475" y="4371975"/>
          <p14:tracePt t="15719" x="9264650" y="4371975"/>
          <p14:tracePt t="15720" x="9269413" y="4371975"/>
          <p14:tracePt t="15721" x="9272588" y="4371975"/>
          <p14:tracePt t="15722" x="9277350" y="4375150"/>
          <p14:tracePt t="15723" x="9285288" y="4375150"/>
          <p14:tracePt t="15725" x="9293225" y="4375150"/>
          <p14:tracePt t="15726" x="9296400" y="4375150"/>
          <p14:tracePt t="15727" x="9305925" y="4375150"/>
          <p14:tracePt t="15728" x="9313863" y="4375150"/>
          <p14:tracePt t="15729" x="9321800" y="4375150"/>
          <p14:tracePt t="15730" x="9329738" y="4375150"/>
          <p14:tracePt t="15731" x="9337675" y="4375150"/>
          <p14:tracePt t="15732" x="9353550" y="4375150"/>
          <p14:tracePt t="15734" x="9372600" y="4375150"/>
          <p14:tracePt t="15735" x="9388475" y="4367213"/>
          <p14:tracePt t="15736" x="9401175" y="4364038"/>
          <p14:tracePt t="15737" x="9417050" y="4364038"/>
          <p14:tracePt t="15738" x="9429750" y="4359275"/>
          <p14:tracePt t="15739" x="9445625" y="4356100"/>
          <p14:tracePt t="15740" x="9464675" y="4351338"/>
          <p14:tracePt t="15741" x="9477375" y="4348163"/>
          <p14:tracePt t="15742" x="9505950" y="4340225"/>
          <p14:tracePt t="15743" x="9525000" y="4335463"/>
          <p14:tracePt t="15745" x="9545638" y="4332288"/>
          <p14:tracePt t="15745" x="9564688" y="4327525"/>
          <p14:tracePt t="15746" x="9601200" y="4311650"/>
          <p14:tracePt t="15747" x="9621838" y="4308475"/>
          <p14:tracePt t="15748" x="9648825" y="4295775"/>
          <p14:tracePt t="15749" x="9669463" y="4291013"/>
          <p14:tracePt t="15750" x="9698038" y="4279900"/>
          <p14:tracePt t="15751" x="9745663" y="4267200"/>
          <p14:tracePt t="15752" x="9774238" y="4256088"/>
          <p14:tracePt t="15753" x="9801225" y="4251325"/>
          <p14:tracePt t="15754" x="9829800" y="4240213"/>
          <p14:tracePt t="15755" x="9858375" y="4232275"/>
          <p14:tracePt t="15756" x="9901238" y="4216400"/>
          <p14:tracePt t="15757" x="9937750" y="4208463"/>
          <p14:tracePt t="15758" x="9977438" y="4195763"/>
          <p14:tracePt t="15760" x="10006013" y="4183063"/>
          <p14:tracePt t="15760" x="10042525" y="4179888"/>
          <p14:tracePt t="15761" x="10093325" y="4159250"/>
          <p14:tracePt t="15762" x="10129838" y="4143375"/>
          <p14:tracePt t="15763" x="10158413" y="4140200"/>
          <p14:tracePt t="15764" x="10206038" y="4127500"/>
          <p14:tracePt t="15765" x="10242550" y="4116388"/>
          <p14:tracePt t="15766" x="10293350" y="4098925"/>
          <p14:tracePt t="15767" x="10329863" y="4087813"/>
          <p14:tracePt t="15768" x="10374313" y="4075113"/>
          <p14:tracePt t="15769" x="10414000" y="4064000"/>
          <p14:tracePt t="15770" x="10458450" y="4051300"/>
          <p14:tracePt t="15771" x="10518775" y="4032250"/>
          <p14:tracePt t="15772" x="10566400" y="4019550"/>
          <p14:tracePt t="15773" x="10610850" y="4003675"/>
          <p14:tracePt t="15774" x="10653713" y="3998913"/>
          <p14:tracePt t="15775" x="10698163" y="3987800"/>
          <p14:tracePt t="15776" x="10771188" y="3963988"/>
          <p14:tracePt t="15777" x="10814050" y="3951288"/>
          <p14:tracePt t="15778" x="10858500" y="3940175"/>
          <p14:tracePt t="15781" x="10974388" y="3903663"/>
          <p14:tracePt t="15782" x="11071225" y="3879850"/>
          <p14:tracePt t="15783" x="11126788" y="3867150"/>
          <p14:tracePt t="15784" x="11179175" y="3851275"/>
          <p14:tracePt t="15785" x="11231563" y="3838575"/>
          <p14:tracePt t="15786" x="11303000" y="3819525"/>
          <p14:tracePt t="15787" x="11355388" y="3803650"/>
          <p14:tracePt t="15788" x="11399838" y="3790950"/>
          <p14:tracePt t="15789" x="11450638" y="3779838"/>
          <p14:tracePt t="15790" x="11523663" y="3759200"/>
          <p14:tracePt t="15791" x="11576050" y="3743325"/>
          <p14:tracePt t="15792" x="11626850" y="3730625"/>
          <p14:tracePt t="15793" x="11684000" y="3719513"/>
          <p14:tracePt t="15794" x="11734800" y="3703638"/>
          <p14:tracePt t="15795" x="11803063" y="3690938"/>
          <p14:tracePt t="15797" x="11911013" y="3663950"/>
          <p14:tracePt t="15798" x="11955463" y="3651250"/>
          <p14:tracePt t="15799" x="12007850" y="3638550"/>
          <p14:tracePt t="15800" x="12079288" y="3614738"/>
          <p14:tracePt t="15801" x="12123738" y="3603625"/>
          <p14:tracePt t="15802" x="12176125" y="3590925"/>
        </p14:tracePtLst>
      </p14:laserTraceLst>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E87DDF46-B07A-4183-A6C4-5CFC46E95960}"/>
              </a:ext>
            </a:extLst>
          </p:cNvPr>
          <p:cNvSpPr>
            <a:spLocks noGrp="1"/>
          </p:cNvSpPr>
          <p:nvPr>
            <p:ph type="sldNum" sz="quarter" idx="12"/>
          </p:nvPr>
        </p:nvSpPr>
        <p:spPr/>
        <p:txBody>
          <a:bodyPr/>
          <a:lstStyle/>
          <a:p>
            <a:fld id="{87170177-53BE-4EA4-8CC9-5D64EAB74717}" type="slidenum">
              <a:rPr lang="cs-CZ" sz="900" smtClean="0"/>
              <a:t>19</a:t>
            </a:fld>
            <a:endParaRPr lang="cs-CZ" sz="900" dirty="0"/>
          </a:p>
        </p:txBody>
      </p:sp>
      <p:sp>
        <p:nvSpPr>
          <p:cNvPr id="4" name="Rectangle 94">
            <a:extLst>
              <a:ext uri="{FF2B5EF4-FFF2-40B4-BE49-F238E27FC236}">
                <a16:creationId xmlns:a16="http://schemas.microsoft.com/office/drawing/2014/main" id="{32C0964D-8390-4CE7-85AE-760E74072C20}"/>
              </a:ext>
            </a:extLst>
          </p:cNvPr>
          <p:cNvSpPr/>
          <p:nvPr/>
        </p:nvSpPr>
        <p:spPr>
          <a:xfrm>
            <a:off x="0" y="-17702"/>
            <a:ext cx="12192001" cy="10800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82">
            <a:extLst>
              <a:ext uri="{FF2B5EF4-FFF2-40B4-BE49-F238E27FC236}">
                <a16:creationId xmlns:a16="http://schemas.microsoft.com/office/drawing/2014/main" id="{D0E75087-D62C-461B-B63C-582B2042EDFC}"/>
              </a:ext>
            </a:extLst>
          </p:cNvPr>
          <p:cNvSpPr txBox="1"/>
          <p:nvPr/>
        </p:nvSpPr>
        <p:spPr>
          <a:xfrm>
            <a:off x="304263" y="200887"/>
            <a:ext cx="11583472" cy="584775"/>
          </a:xfrm>
          <a:prstGeom prst="rect">
            <a:avLst/>
          </a:prstGeom>
          <a:noFill/>
        </p:spPr>
        <p:txBody>
          <a:bodyPr wrap="square" rtlCol="0">
            <a:spAutoFit/>
          </a:bodyPr>
          <a:lstStyle/>
          <a:p>
            <a:r>
              <a:rPr lang="en-GB" sz="3200" b="1" dirty="0">
                <a:solidFill>
                  <a:schemeClr val="bg2"/>
                </a:solidFill>
                <a:latin typeface="+mj-lt"/>
              </a:rPr>
              <a:t>Ageing &amp; Test Evaluation</a:t>
            </a:r>
            <a:endParaRPr lang="en-US" sz="3200" dirty="0">
              <a:solidFill>
                <a:schemeClr val="tx2"/>
              </a:solidFill>
            </a:endParaRPr>
          </a:p>
        </p:txBody>
      </p:sp>
      <p:sp>
        <p:nvSpPr>
          <p:cNvPr id="43" name="TextovéPole 42">
            <a:extLst>
              <a:ext uri="{FF2B5EF4-FFF2-40B4-BE49-F238E27FC236}">
                <a16:creationId xmlns:a16="http://schemas.microsoft.com/office/drawing/2014/main" id="{57E1B2C5-F973-4900-AB4C-EE20BCDE5540}"/>
              </a:ext>
            </a:extLst>
          </p:cNvPr>
          <p:cNvSpPr txBox="1"/>
          <p:nvPr/>
        </p:nvSpPr>
        <p:spPr>
          <a:xfrm>
            <a:off x="8807481" y="566221"/>
            <a:ext cx="3111621" cy="369332"/>
          </a:xfrm>
          <a:prstGeom prst="rect">
            <a:avLst/>
          </a:prstGeom>
          <a:noFill/>
        </p:spPr>
        <p:txBody>
          <a:bodyPr wrap="none" rtlCol="0">
            <a:spAutoFit/>
          </a:bodyPr>
          <a:lstStyle/>
          <a:p>
            <a:r>
              <a:rPr lang="en-GB" b="1" dirty="0">
                <a:solidFill>
                  <a:schemeClr val="bg1">
                    <a:lumMod val="85000"/>
                  </a:schemeClr>
                </a:solidFill>
              </a:rPr>
              <a:t>Test Results – MLCC Capacitors</a:t>
            </a:r>
            <a:endParaRPr lang="cs-CZ" b="1" dirty="0">
              <a:solidFill>
                <a:schemeClr val="bg1">
                  <a:lumMod val="85000"/>
                </a:schemeClr>
              </a:solidFill>
            </a:endParaRPr>
          </a:p>
        </p:txBody>
      </p:sp>
      <p:sp>
        <p:nvSpPr>
          <p:cNvPr id="10" name="TextovéPole 9">
            <a:extLst>
              <a:ext uri="{FF2B5EF4-FFF2-40B4-BE49-F238E27FC236}">
                <a16:creationId xmlns:a16="http://schemas.microsoft.com/office/drawing/2014/main" id="{D180173E-C559-4F26-ABE9-A5F6EB80A7A2}"/>
              </a:ext>
            </a:extLst>
          </p:cNvPr>
          <p:cNvSpPr txBox="1"/>
          <p:nvPr/>
        </p:nvSpPr>
        <p:spPr>
          <a:xfrm>
            <a:off x="1984673" y="1180205"/>
            <a:ext cx="2624629" cy="646331"/>
          </a:xfrm>
          <a:prstGeom prst="rect">
            <a:avLst/>
          </a:prstGeom>
          <a:noFill/>
        </p:spPr>
        <p:txBody>
          <a:bodyPr wrap="none" rtlCol="0">
            <a:spAutoFit/>
          </a:bodyPr>
          <a:lstStyle/>
          <a:p>
            <a:r>
              <a:rPr lang="cs-CZ" b="1" dirty="0"/>
              <a:t>MLCC </a:t>
            </a:r>
            <a:r>
              <a:rPr lang="cs-CZ" b="1" dirty="0" err="1"/>
              <a:t>capacitor</a:t>
            </a:r>
            <a:r>
              <a:rPr lang="cs-CZ" b="1" dirty="0"/>
              <a:t>:</a:t>
            </a:r>
          </a:p>
          <a:p>
            <a:r>
              <a:rPr lang="cs-CZ" dirty="0"/>
              <a:t>10uF 25V, X7R, 1210 case:</a:t>
            </a:r>
          </a:p>
        </p:txBody>
      </p:sp>
      <p:sp>
        <p:nvSpPr>
          <p:cNvPr id="13" name="TextovéPole 12">
            <a:extLst>
              <a:ext uri="{FF2B5EF4-FFF2-40B4-BE49-F238E27FC236}">
                <a16:creationId xmlns:a16="http://schemas.microsoft.com/office/drawing/2014/main" id="{88898710-EFEA-46F3-80E7-3D83829D4807}"/>
              </a:ext>
            </a:extLst>
          </p:cNvPr>
          <p:cNvSpPr txBox="1"/>
          <p:nvPr/>
        </p:nvSpPr>
        <p:spPr>
          <a:xfrm>
            <a:off x="8255357" y="1457204"/>
            <a:ext cx="3098443" cy="369332"/>
          </a:xfrm>
          <a:prstGeom prst="rect">
            <a:avLst/>
          </a:prstGeom>
          <a:noFill/>
        </p:spPr>
        <p:txBody>
          <a:bodyPr wrap="square">
            <a:spAutoFit/>
          </a:bodyPr>
          <a:lstStyle/>
          <a:p>
            <a:r>
              <a:rPr lang="cs-CZ" dirty="0"/>
              <a:t>470nF 25V X7R 1210</a:t>
            </a:r>
          </a:p>
        </p:txBody>
      </p:sp>
      <p:pic>
        <p:nvPicPr>
          <p:cNvPr id="2" name="Obrázek 1">
            <a:extLst>
              <a:ext uri="{FF2B5EF4-FFF2-40B4-BE49-F238E27FC236}">
                <a16:creationId xmlns:a16="http://schemas.microsoft.com/office/drawing/2014/main" id="{55E61BDF-7016-4945-8529-5E4974842495}"/>
              </a:ext>
            </a:extLst>
          </p:cNvPr>
          <p:cNvPicPr>
            <a:picLocks noChangeAspect="1"/>
          </p:cNvPicPr>
          <p:nvPr/>
        </p:nvPicPr>
        <p:blipFill>
          <a:blip r:embed="rId4"/>
          <a:stretch>
            <a:fillRect/>
          </a:stretch>
        </p:blipFill>
        <p:spPr>
          <a:xfrm>
            <a:off x="338660" y="1988283"/>
            <a:ext cx="6088380" cy="2804160"/>
          </a:xfrm>
          <a:prstGeom prst="rect">
            <a:avLst/>
          </a:prstGeom>
        </p:spPr>
      </p:pic>
      <p:pic>
        <p:nvPicPr>
          <p:cNvPr id="6" name="Obrázek 5">
            <a:extLst>
              <a:ext uri="{FF2B5EF4-FFF2-40B4-BE49-F238E27FC236}">
                <a16:creationId xmlns:a16="http://schemas.microsoft.com/office/drawing/2014/main" id="{AAD12481-6BE7-472F-BDBA-CF7562DF4ABA}"/>
              </a:ext>
            </a:extLst>
          </p:cNvPr>
          <p:cNvPicPr>
            <a:picLocks noChangeAspect="1"/>
          </p:cNvPicPr>
          <p:nvPr/>
        </p:nvPicPr>
        <p:blipFill>
          <a:blip r:embed="rId5"/>
          <a:stretch>
            <a:fillRect/>
          </a:stretch>
        </p:blipFill>
        <p:spPr>
          <a:xfrm>
            <a:off x="6931088" y="1988283"/>
            <a:ext cx="4709160" cy="2796540"/>
          </a:xfrm>
          <a:prstGeom prst="rect">
            <a:avLst/>
          </a:prstGeom>
        </p:spPr>
      </p:pic>
      <p:sp>
        <p:nvSpPr>
          <p:cNvPr id="12" name="Zástupný symbol pro zápatí 2">
            <a:extLst>
              <a:ext uri="{FF2B5EF4-FFF2-40B4-BE49-F238E27FC236}">
                <a16:creationId xmlns:a16="http://schemas.microsoft.com/office/drawing/2014/main" id="{1BC6F848-0FC7-404D-8F7E-6F172F8A9289}"/>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7" name="Zvuk 6">
            <a:hlinkClick r:id="" action="ppaction://media"/>
            <a:extLst>
              <a:ext uri="{FF2B5EF4-FFF2-40B4-BE49-F238E27FC236}">
                <a16:creationId xmlns:a16="http://schemas.microsoft.com/office/drawing/2014/main" id="{F080F2AC-4571-446B-B0AD-5A85B57C40AB}"/>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352499138"/>
      </p:ext>
    </p:extLst>
  </p:cSld>
  <p:clrMapOvr>
    <a:masterClrMapping/>
  </p:clrMapOvr>
  <mc:AlternateContent xmlns:mc="http://schemas.openxmlformats.org/markup-compatibility/2006">
    <mc:Choice xmlns:p14="http://schemas.microsoft.com/office/powerpoint/2010/main" Requires="p14">
      <p:transition spd="slow" p14:dur="2000" advTm="7370"/>
    </mc:Choice>
    <mc:Fallback>
      <p:transition spd="slow" advTm="737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extLst>
    <p:ext uri="{3A86A75C-4F4B-4683-9AE1-C65F6400EC91}">
      <p14:laserTraceLst xmlns:p14="http://schemas.microsoft.com/office/powerpoint/2010/main">
        <p14:tracePtLst>
          <p14:tracePt t="672" x="12128500" y="3227388"/>
          <p14:tracePt t="673" x="12099925" y="3214688"/>
          <p14:tracePt t="675" x="12063413" y="3211513"/>
          <p14:tracePt t="676" x="11979275" y="3186113"/>
          <p14:tracePt t="677" x="11944350" y="3178175"/>
          <p14:tracePt t="678" x="11907838" y="3167063"/>
          <p14:tracePt t="679" x="11871325" y="3162300"/>
          <p14:tracePt t="680" x="11818938" y="3146425"/>
          <p14:tracePt t="681" x="11771313" y="3135313"/>
          <p14:tracePt t="682" x="11734800" y="3122613"/>
          <p14:tracePt t="683" x="11691938" y="3114675"/>
          <p14:tracePt t="684" x="11655425" y="3101975"/>
          <p14:tracePt t="685" x="11610975" y="3090863"/>
          <p14:tracePt t="686" x="11547475" y="3078163"/>
          <p14:tracePt t="687" x="11503025" y="3070225"/>
          <p14:tracePt t="688" x="11458575" y="3059113"/>
          <p14:tracePt t="689" x="11407775" y="3051175"/>
          <p14:tracePt t="690" x="11363325" y="3046413"/>
          <p14:tracePt t="691" x="11295063" y="3030538"/>
          <p14:tracePt t="692" x="11250613" y="3019425"/>
          <p14:tracePt t="693" x="11207750" y="3014663"/>
          <p14:tracePt t="694" x="11150600" y="2998788"/>
          <p14:tracePt t="695" x="11098213" y="2994025"/>
          <p14:tracePt t="696" x="11031538" y="2978150"/>
          <p14:tracePt t="697" x="10979150" y="2967038"/>
          <p14:tracePt t="698" x="10926763" y="2959100"/>
          <p14:tracePt t="699" x="10871200" y="2946400"/>
          <p14:tracePt t="700" x="10795000" y="2930525"/>
          <p14:tracePt t="701" x="10742613" y="2927350"/>
          <p14:tracePt t="702" x="10690225" y="2917825"/>
          <p14:tracePt t="704" x="10626725" y="2906713"/>
          <p14:tracePt t="706" x="10445750" y="2878138"/>
          <p14:tracePt t="707" x="10387013" y="2870200"/>
          <p14:tracePt t="708" x="10334625" y="2859088"/>
          <p14:tracePt t="709" x="10269538" y="2851150"/>
          <p14:tracePt t="710" x="10193338" y="2838450"/>
          <p14:tracePt t="711" x="10134600" y="2830513"/>
          <p14:tracePt t="712" x="10074275" y="2817813"/>
          <p14:tracePt t="713" x="10021888" y="2809875"/>
          <p14:tracePt t="714" x="9958388" y="2801938"/>
          <p14:tracePt t="715" x="9906000" y="2790825"/>
          <p14:tracePt t="716" x="9821863" y="2782888"/>
          <p14:tracePt t="717" x="9769475" y="2778125"/>
          <p14:tracePt t="718" x="9709150" y="2770188"/>
          <p14:tracePt t="719" x="9656763" y="2770188"/>
          <p14:tracePt t="720" x="9582150" y="2762250"/>
          <p14:tracePt t="722" x="9464675" y="2751138"/>
          <p14:tracePt t="724" x="9417050" y="2751138"/>
          <p14:tracePt t="724" x="9361488" y="2741613"/>
          <p14:tracePt t="725" x="9285288" y="2733675"/>
          <p14:tracePt t="726" x="9232900" y="2733675"/>
          <p14:tracePt t="727" x="9185275" y="2733675"/>
          <p14:tracePt t="728" x="9140825" y="2730500"/>
          <p14:tracePt t="729" x="9088438" y="2730500"/>
          <p14:tracePt t="730" x="9020175" y="2730500"/>
          <p14:tracePt t="731" x="8969375" y="2730500"/>
          <p14:tracePt t="732" x="8924925" y="2730500"/>
          <p14:tracePt t="733" x="8872538" y="2730500"/>
          <p14:tracePt t="734" x="8804275" y="2730500"/>
          <p14:tracePt t="735" x="8764588" y="2730500"/>
          <p14:tracePt t="737" x="8667750" y="2730500"/>
          <p14:tracePt t="738" x="8624888" y="2730500"/>
          <p14:tracePt t="739" x="8580438" y="2738438"/>
          <p14:tracePt t="740" x="8512175" y="2738438"/>
          <p14:tracePt t="741" x="8467725" y="2738438"/>
          <p14:tracePt t="742" x="8424863" y="2746375"/>
          <p14:tracePt t="743" x="8380413" y="2746375"/>
          <p14:tracePt t="744" x="8320088" y="2746375"/>
          <p14:tracePt t="745" x="8275638" y="2751138"/>
          <p14:tracePt t="746" x="8235950" y="2751138"/>
          <p14:tracePt t="747" x="8199438" y="2759075"/>
          <p14:tracePt t="748" x="8156575" y="2762250"/>
          <p14:tracePt t="749" x="8096250" y="2770188"/>
          <p14:tracePt t="750" x="8051800" y="2770188"/>
          <p14:tracePt t="751" x="8007350" y="2778125"/>
          <p14:tracePt t="752" x="7964488" y="2782888"/>
          <p14:tracePt t="753" x="7920038" y="2782888"/>
          <p14:tracePt t="754" x="7859713" y="2790825"/>
          <p14:tracePt t="755" x="7823200" y="2794000"/>
          <p14:tracePt t="756" x="7780338" y="2801938"/>
          <p14:tracePt t="757" x="7735888" y="2806700"/>
          <p14:tracePt t="758" x="7691438" y="2814638"/>
          <p14:tracePt t="759" x="7631113" y="2822575"/>
          <p14:tracePt t="760" x="7596188" y="2825750"/>
          <p14:tracePt t="761" x="7551738" y="2833688"/>
          <p14:tracePt t="762" x="7507288" y="2838450"/>
          <p14:tracePt t="763" x="7462838" y="2846388"/>
          <p14:tracePt t="764" x="7402513" y="2854325"/>
          <p14:tracePt t="765" x="7362825" y="2867025"/>
          <p14:tracePt t="766" x="7319963" y="2870200"/>
          <p14:tracePt t="767" x="7275513" y="2878138"/>
          <p14:tracePt t="768" x="7231063" y="2882900"/>
          <p14:tracePt t="769" x="7170738" y="2890838"/>
          <p14:tracePt t="771" x="7091363" y="2909888"/>
          <p14:tracePt t="772" x="7046913" y="2914650"/>
          <p14:tracePt t="773" x="7002463" y="2922588"/>
          <p14:tracePt t="774" x="6934200" y="2935288"/>
          <p14:tracePt t="775" x="6891338" y="2943225"/>
          <p14:tracePt t="776" x="6846888" y="2946400"/>
          <p14:tracePt t="777" x="6810375" y="2954338"/>
          <p14:tracePt t="778" x="6738938" y="2967038"/>
          <p14:tracePt t="779" x="6702425" y="2974975"/>
          <p14:tracePt t="780" x="6657975" y="2982913"/>
          <p14:tracePt t="781" x="6615113" y="2994025"/>
          <p14:tracePt t="782" x="6578600" y="2998788"/>
          <p14:tracePt t="783" x="6534150" y="3006725"/>
          <p14:tracePt t="784" x="6481763" y="3019425"/>
          <p14:tracePt t="785" x="6446838" y="3027363"/>
          <p14:tracePt t="786" x="6410325" y="3030538"/>
          <p14:tracePt t="789" x="6313488" y="3051175"/>
          <p14:tracePt t="790" x="6238875" y="3067050"/>
          <p14:tracePt t="791" x="6202363" y="3074988"/>
          <p14:tracePt t="792" x="6165850" y="3078163"/>
          <p14:tracePt t="793" x="6121400" y="3094038"/>
          <p14:tracePt t="794" x="6086475" y="3098800"/>
          <p14:tracePt t="795" x="6049963" y="3106738"/>
          <p14:tracePt t="796" x="6021388" y="3111500"/>
          <p14:tracePt t="797" x="5994400" y="3114675"/>
          <p14:tracePt t="798" x="5949950" y="3130550"/>
          <p14:tracePt t="799" x="5921375" y="3135313"/>
          <p14:tracePt t="800" x="5886450" y="3146425"/>
          <p14:tracePt t="801" x="5865813" y="3151188"/>
          <p14:tracePt t="802" x="5837238" y="3159125"/>
          <p14:tracePt t="803" x="5794375" y="3170238"/>
          <p14:tracePt t="805" x="5745163" y="3186113"/>
          <p14:tracePt t="806" x="5718175" y="3190875"/>
          <p14:tracePt t="807" x="5697538" y="3198813"/>
          <p14:tracePt t="808" x="5661025" y="3211513"/>
          <p14:tracePt t="809" x="5641975" y="3214688"/>
          <p14:tracePt t="810" x="5613400" y="3219450"/>
          <p14:tracePt t="811" x="5589588" y="3230563"/>
          <p14:tracePt t="812" x="5553075" y="3235325"/>
          <p14:tracePt t="813" x="5534025" y="3246438"/>
          <p14:tracePt t="814" x="5513388" y="3251200"/>
          <p14:tracePt t="815" x="5484813" y="3259138"/>
          <p14:tracePt t="816" x="5465763" y="3267075"/>
          <p14:tracePt t="817" x="5445125" y="3275013"/>
          <p14:tracePt t="818" x="5416550" y="3278188"/>
          <p14:tracePt t="819" x="5397500" y="3282950"/>
          <p14:tracePt t="820" x="5368925" y="3295650"/>
          <p14:tracePt t="822" x="5349875" y="3298825"/>
          <p14:tracePt t="823" x="5300663" y="3314700"/>
          <p14:tracePt t="824" x="5281613" y="3322638"/>
          <p14:tracePt t="825" x="5253038" y="3327400"/>
          <p14:tracePt t="826" x="5232400" y="3330575"/>
          <p14:tracePt t="827" x="5213350" y="3335338"/>
          <p14:tracePt t="828" x="5184775" y="3346450"/>
          <p14:tracePt t="829" x="5165725" y="3354388"/>
          <p14:tracePt t="830" x="5145088" y="3359150"/>
          <p14:tracePt t="831" x="5124450" y="3362325"/>
          <p14:tracePt t="832" x="5089525" y="3375025"/>
          <p14:tracePt t="833" x="5068888" y="3378200"/>
          <p14:tracePt t="834" x="5048250" y="3387725"/>
          <p14:tracePt t="835" x="5029200" y="3390900"/>
          <p14:tracePt t="836" x="5008563" y="3395663"/>
          <p14:tracePt t="838" x="4960938" y="3406775"/>
          <p14:tracePt t="839" x="4940300" y="3411538"/>
          <p14:tracePt t="840" x="4921250" y="3411538"/>
          <p14:tracePt t="841" x="4900613" y="3414713"/>
          <p14:tracePt t="842" x="4864100" y="3422650"/>
          <p14:tracePt t="843" x="4845050" y="3427413"/>
          <p14:tracePt t="844" x="4829175" y="3427413"/>
          <p14:tracePt t="845" x="4808538" y="3430588"/>
          <p14:tracePt t="846" x="4789488" y="3435350"/>
          <p14:tracePt t="847" x="4760913" y="3435350"/>
          <p14:tracePt t="848" x="4740275" y="3443288"/>
          <p14:tracePt t="849" x="4724400" y="3443288"/>
          <p14:tracePt t="850" x="4705350" y="3446463"/>
          <p14:tracePt t="851" x="4684713" y="3446463"/>
          <p14:tracePt t="852" x="4656138" y="3451225"/>
          <p14:tracePt t="853" x="4637088" y="3451225"/>
          <p14:tracePt t="855" x="4621213" y="3454400"/>
          <p14:tracePt t="855" x="4600575" y="3454400"/>
          <p14:tracePt t="856" x="4568825" y="3454400"/>
          <p14:tracePt t="857" x="4548188" y="3454400"/>
          <p14:tracePt t="858" x="4532313" y="3454400"/>
          <p14:tracePt t="859" x="4516438" y="3454400"/>
          <p14:tracePt t="860" x="4495800" y="3454400"/>
          <p14:tracePt t="861" x="4471988" y="3454400"/>
          <p14:tracePt t="862" x="4452938" y="3454400"/>
          <p14:tracePt t="863" x="4432300" y="3454400"/>
          <p14:tracePt t="864" x="4411663" y="3454400"/>
          <p14:tracePt t="865" x="4400550" y="3454400"/>
          <p14:tracePt t="866" x="4371975" y="3454400"/>
          <p14:tracePt t="868" x="4337050" y="3454400"/>
          <p14:tracePt t="870" x="4319588" y="3454400"/>
          <p14:tracePt t="870" x="4303713" y="3454400"/>
          <p14:tracePt t="871" x="4284663" y="3454400"/>
          <p14:tracePt t="872" x="4264025" y="3454400"/>
          <p14:tracePt t="873" x="4243388" y="3454400"/>
          <p14:tracePt t="874" x="4232275" y="3454400"/>
          <p14:tracePt t="875" x="4216400" y="3454400"/>
          <p14:tracePt t="876" x="4192588" y="3454400"/>
          <p14:tracePt t="877" x="4179888" y="3454400"/>
          <p14:tracePt t="878" x="4164013" y="3454400"/>
          <p14:tracePt t="879" x="4151313" y="3451225"/>
          <p14:tracePt t="880" x="4132263" y="3451225"/>
          <p14:tracePt t="881" x="4111625" y="3451225"/>
          <p14:tracePt t="883" x="4095750" y="3446463"/>
          <p14:tracePt t="883" x="4084638" y="3446463"/>
          <p14:tracePt t="884" x="4071938" y="3446463"/>
          <p14:tracePt t="885" x="4056063" y="3443288"/>
          <p14:tracePt t="886" x="4035425" y="3443288"/>
          <p14:tracePt t="887" x="4027488" y="3443288"/>
          <p14:tracePt t="888" x="4016375" y="3438525"/>
          <p14:tracePt t="889" x="4008438" y="3438525"/>
          <p14:tracePt t="890" x="4000500" y="3438525"/>
          <p14:tracePt t="891" x="3979863" y="3430588"/>
          <p14:tracePt t="892" x="3971925" y="3430588"/>
          <p14:tracePt t="893" x="3963988" y="3430588"/>
          <p14:tracePt t="894" x="3956050" y="3430588"/>
          <p14:tracePt t="895" x="3943350" y="3427413"/>
          <p14:tracePt t="896" x="3932238" y="3427413"/>
          <p14:tracePt t="897" x="3924300" y="3422650"/>
          <p14:tracePt t="898" x="3919538" y="3422650"/>
          <p14:tracePt t="899" x="3911600" y="3419475"/>
          <p14:tracePt t="900" x="3900488" y="3419475"/>
          <p14:tracePt t="901" x="3895725" y="3419475"/>
          <p14:tracePt t="902" x="3887788" y="3414713"/>
          <p14:tracePt t="903" x="3884613" y="3414713"/>
          <p14:tracePt t="904" x="3875088" y="3411538"/>
          <p14:tracePt t="905" x="3871913" y="3411538"/>
          <p14:tracePt t="906" x="3863975" y="3406775"/>
          <p14:tracePt t="907" x="3859213" y="3406775"/>
          <p14:tracePt t="908" x="3856038" y="3406775"/>
          <p14:tracePt t="909" x="3848100" y="3403600"/>
          <p14:tracePt t="910" x="3843338" y="3403600"/>
          <p14:tracePt t="911" x="3840163" y="3398838"/>
          <p14:tracePt t="912" x="3832225" y="3398838"/>
          <p14:tracePt t="913" x="3827463" y="3398838"/>
          <p14:tracePt t="914" x="3824288" y="3395663"/>
          <p14:tracePt t="915" x="3819525" y="3390900"/>
          <p14:tracePt t="918" x="3811588" y="3387725"/>
          <p14:tracePt t="920" x="3803650" y="3387725"/>
          <p14:tracePt t="921" x="3800475" y="3387725"/>
          <p14:tracePt t="922" x="3795713" y="3382963"/>
          <p14:tracePt t="923" x="3790950" y="3382963"/>
          <p14:tracePt t="924" x="3787775" y="3378200"/>
          <p14:tracePt t="925" x="3783013" y="3375025"/>
          <p14:tracePt t="926" x="3779838" y="3375025"/>
          <p14:tracePt t="927" x="3779838" y="3370263"/>
          <p14:tracePt t="928" x="3775075" y="3370263"/>
          <p14:tracePt t="929" x="3771900" y="3367088"/>
          <p14:tracePt t="930" x="3767138" y="3367088"/>
          <p14:tracePt t="931" x="3763963" y="3362325"/>
          <p14:tracePt t="932" x="3759200" y="3359150"/>
          <p14:tracePt t="933" x="3756025" y="3359150"/>
          <p14:tracePt t="934" x="3751263" y="3354388"/>
          <p14:tracePt t="935" x="3751263" y="3351213"/>
          <p14:tracePt t="937" x="3748088" y="3346450"/>
          <p14:tracePt t="937" x="3743325" y="3346450"/>
          <p14:tracePt t="938" x="3740150" y="3346450"/>
          <p14:tracePt t="939" x="3740150" y="3343275"/>
          <p14:tracePt t="940" x="3735388" y="3338513"/>
          <p14:tracePt t="941" x="3735388" y="3335338"/>
          <p14:tracePt t="942" x="3732213" y="3335338"/>
          <p14:tracePt t="943" x="3727450" y="3330575"/>
          <p14:tracePt t="944" x="3724275" y="3327400"/>
          <p14:tracePt t="945" x="3719513" y="3322638"/>
          <p14:tracePt t="947" x="3716338" y="3319463"/>
          <p14:tracePt t="948" x="3711575" y="3314700"/>
          <p14:tracePt t="949" x="3711575" y="3311525"/>
          <p14:tracePt t="950" x="3708400" y="3306763"/>
          <p14:tracePt t="951" x="3703638" y="3306763"/>
          <p14:tracePt t="953" x="3698875" y="3303588"/>
          <p14:tracePt t="954" x="3698875" y="3298825"/>
          <p14:tracePt t="955" x="3695700" y="3295650"/>
          <p14:tracePt t="956" x="3690938" y="3290888"/>
          <p14:tracePt t="957" x="3690938" y="3286125"/>
          <p14:tracePt t="958" x="3687763" y="3286125"/>
          <p14:tracePt t="959" x="3683000" y="3278188"/>
          <p14:tracePt t="960" x="3679825" y="3275013"/>
          <p14:tracePt t="961" x="3675063" y="3275013"/>
          <p14:tracePt t="962" x="3671888" y="3270250"/>
          <p14:tracePt t="963" x="3671888" y="3267075"/>
          <p14:tracePt t="964" x="3663950" y="3259138"/>
          <p14:tracePt t="965" x="3663950" y="3254375"/>
          <p14:tracePt t="966" x="3659188" y="3251200"/>
          <p14:tracePt t="968" x="3651250" y="3246438"/>
          <p14:tracePt t="970" x="3648075" y="3243263"/>
          <p14:tracePt t="971" x="3643313" y="3230563"/>
          <p14:tracePt t="972" x="3643313" y="3227388"/>
          <p14:tracePt t="973" x="3640138" y="3222625"/>
          <p14:tracePt t="974" x="3640138" y="3214688"/>
          <p14:tracePt t="975" x="3635375" y="3211513"/>
          <p14:tracePt t="976" x="3632200" y="3206750"/>
          <p14:tracePt t="977" x="3627438" y="3198813"/>
          <p14:tracePt t="978" x="3624263" y="3194050"/>
          <p14:tracePt t="979" x="3624263" y="3186113"/>
          <p14:tracePt t="980" x="3619500" y="3182938"/>
          <p14:tracePt t="981" x="3619500" y="3178175"/>
          <p14:tracePt t="982" x="3616325" y="3175000"/>
          <p14:tracePt t="983" x="3611563" y="3167063"/>
          <p14:tracePt t="984" x="3611563" y="3162300"/>
          <p14:tracePt t="985" x="3606800" y="3154363"/>
          <p14:tracePt t="986" x="3606800" y="3151188"/>
          <p14:tracePt t="988" x="3603625" y="3143250"/>
          <p14:tracePt t="988" x="3603625" y="3135313"/>
          <p14:tracePt t="989" x="3603625" y="3130550"/>
          <p14:tracePt t="990" x="3603625" y="3122613"/>
          <p14:tracePt t="991" x="3603625" y="3119438"/>
          <p14:tracePt t="992" x="3603625" y="3111500"/>
          <p14:tracePt t="993" x="3598863" y="3101975"/>
          <p14:tracePt t="994" x="3598863" y="3094038"/>
          <p14:tracePt t="995" x="3598863" y="3086100"/>
          <p14:tracePt t="996" x="3598863" y="3082925"/>
          <p14:tracePt t="997" x="3598863" y="3074988"/>
          <p14:tracePt t="998" x="3598863" y="3067050"/>
          <p14:tracePt t="999" x="3598863" y="3059113"/>
          <p14:tracePt t="1000" x="3598863" y="3051175"/>
          <p14:tracePt t="1001" x="3598863" y="3043238"/>
          <p14:tracePt t="1002" x="3598863" y="3038475"/>
          <p14:tracePt t="1004" x="3598863" y="3027363"/>
          <p14:tracePt t="1004" x="3603625" y="3014663"/>
          <p14:tracePt t="1005" x="3603625" y="3006725"/>
          <p14:tracePt t="1006" x="3606800" y="2998788"/>
          <p14:tracePt t="1007" x="3606800" y="2990850"/>
          <p14:tracePt t="1008" x="3611563" y="2982913"/>
          <p14:tracePt t="1009" x="3611563" y="2970213"/>
          <p14:tracePt t="1010" x="3611563" y="2962275"/>
          <p14:tracePt t="1011" x="3616325" y="2951163"/>
          <p14:tracePt t="1012" x="3616325" y="2938463"/>
          <p14:tracePt t="1013" x="3624263" y="2922588"/>
          <p14:tracePt t="1014" x="3624263" y="2914650"/>
          <p14:tracePt t="1015" x="3627438" y="2906713"/>
          <p14:tracePt t="1016" x="3627438" y="2898775"/>
          <p14:tracePt t="1018" x="3632200" y="2870200"/>
          <p14:tracePt t="1019" x="3635375" y="2862263"/>
          <p14:tracePt t="1020" x="3635375" y="2851150"/>
          <p14:tracePt t="1021" x="3640138" y="2838450"/>
          <p14:tracePt t="1022" x="3643313" y="2825750"/>
          <p14:tracePt t="1024" x="3643313" y="2809875"/>
          <p14:tracePt t="1024" x="3648075" y="2801938"/>
          <p14:tracePt t="1025" x="3648075" y="2790825"/>
          <p14:tracePt t="1026" x="3651250" y="2782888"/>
          <p14:tracePt t="1027" x="3651250" y="2767013"/>
          <p14:tracePt t="1028" x="3659188" y="2754313"/>
          <p14:tracePt t="1029" x="3659188" y="2738438"/>
          <p14:tracePt t="1030" x="3663950" y="2730500"/>
          <p14:tracePt t="1031" x="3663950" y="2717800"/>
          <p14:tracePt t="1032" x="3663950" y="2701925"/>
          <p14:tracePt t="1033" x="3663950" y="2690813"/>
          <p14:tracePt t="1034" x="3667125" y="2674938"/>
          <p14:tracePt t="1035" x="3667125" y="2667000"/>
          <p14:tracePt t="1036" x="3671888" y="2654300"/>
          <p14:tracePt t="1037" x="3671888" y="2638425"/>
          <p14:tracePt t="1038" x="3671888" y="2625725"/>
          <p14:tracePt t="1039" x="3675063" y="2617788"/>
          <p14:tracePt t="1040" x="3675063" y="2601913"/>
          <p14:tracePt t="1041" x="3675063" y="2590800"/>
          <p14:tracePt t="1042" x="3679825" y="2570163"/>
          <p14:tracePt t="1043" x="3679825" y="2562225"/>
          <p14:tracePt t="1044" x="3679825" y="2549525"/>
          <p14:tracePt t="1045" x="3679825" y="2533650"/>
          <p14:tracePt t="1046" x="3679825" y="2525713"/>
          <p14:tracePt t="1047" x="3687763" y="2506663"/>
          <p14:tracePt t="1048" x="3687763" y="2498725"/>
          <p14:tracePt t="1049" x="3687763" y="2490788"/>
          <p14:tracePt t="1050" x="3687763" y="2478088"/>
          <p14:tracePt t="1051" x="3687763" y="2470150"/>
          <p14:tracePt t="1053" x="3687763" y="2446338"/>
          <p14:tracePt t="1054" x="3687763" y="2433638"/>
          <p14:tracePt t="1055" x="3687763" y="2425700"/>
          <p14:tracePt t="1056" x="3687763" y="2417763"/>
          <p14:tracePt t="1057" x="3690938" y="2406650"/>
          <p14:tracePt t="1058" x="3690938" y="2398713"/>
          <p14:tracePt t="1060" x="3690938" y="2390775"/>
          <p14:tracePt t="1061" x="3690938" y="2386013"/>
          <p14:tracePt t="1062" x="3690938" y="2378075"/>
          <p14:tracePt t="1063" x="3690938" y="2373313"/>
          <p14:tracePt t="1064" x="3690938" y="2370138"/>
          <p14:tracePt t="1065" x="3690938" y="2365375"/>
          <p14:tracePt t="1066" x="3690938" y="2357438"/>
          <p14:tracePt t="1067" x="3690938" y="2354263"/>
          <p14:tracePt t="1068" x="3690938" y="2349500"/>
          <p14:tracePt t="1070" x="3690938" y="2346325"/>
          <p14:tracePt t="1071" x="3690938" y="2341563"/>
          <p14:tracePt t="1074" x="3690938" y="2338388"/>
          <p14:tracePt t="1077" x="3690938" y="2333625"/>
          <p14:tracePt t="1121" x="3690938" y="2338388"/>
          <p14:tracePt t="1123" x="3687763" y="2338388"/>
          <p14:tracePt t="1126" x="3683000" y="2338388"/>
          <p14:tracePt t="1127" x="3683000" y="2341563"/>
          <p14:tracePt t="1129" x="3679825" y="2341563"/>
          <p14:tracePt t="1130" x="3675063" y="2346325"/>
          <p14:tracePt t="1132" x="3671888" y="2346325"/>
          <p14:tracePt t="1134" x="3667125" y="2354263"/>
          <p14:tracePt t="1135" x="3663950" y="2354263"/>
          <p14:tracePt t="1136" x="3663950" y="2357438"/>
          <p14:tracePt t="1137" x="3659188" y="2362200"/>
          <p14:tracePt t="1138" x="3656013" y="2362200"/>
          <p14:tracePt t="1139" x="3651250" y="2365375"/>
          <p14:tracePt t="1140" x="3648075" y="2370138"/>
          <p14:tracePt t="1141" x="3643313" y="2373313"/>
          <p14:tracePt t="1142" x="3640138" y="2378075"/>
          <p14:tracePt t="1143" x="3632200" y="2382838"/>
          <p14:tracePt t="1144" x="3627438" y="2382838"/>
          <p14:tracePt t="1145" x="3624263" y="2386013"/>
          <p14:tracePt t="1146" x="3616325" y="2390775"/>
          <p14:tracePt t="1147" x="3611563" y="2393950"/>
          <p14:tracePt t="1148" x="3606800" y="2398713"/>
          <p14:tracePt t="1149" x="3598863" y="2406650"/>
          <p14:tracePt t="1150" x="3595688" y="2409825"/>
          <p14:tracePt t="1151" x="3587750" y="2414588"/>
          <p14:tracePt t="1153" x="3575050" y="2425700"/>
          <p14:tracePt t="1154" x="3567113" y="2433638"/>
          <p14:tracePt t="1155" x="3563938" y="2433638"/>
          <p14:tracePt t="1156" x="3556000" y="2438400"/>
          <p14:tracePt t="1157" x="3551238" y="2449513"/>
          <p14:tracePt t="1158" x="3543300" y="2454275"/>
          <p14:tracePt t="1159" x="3535363" y="2457450"/>
          <p14:tracePt t="1160" x="3524250" y="2465388"/>
          <p14:tracePt t="1161" x="3519488" y="2470150"/>
          <p14:tracePt t="1162" x="3511550" y="2474913"/>
          <p14:tracePt t="1163" x="3506788" y="2482850"/>
          <p14:tracePt t="1164" x="3498850" y="2486025"/>
          <p14:tracePt t="1165" x="3490913" y="2490788"/>
          <p14:tracePt t="1166" x="3487738" y="2501900"/>
          <p14:tracePt t="1167" x="3479800" y="2506663"/>
          <p14:tracePt t="1168" x="3475038" y="2509838"/>
          <p14:tracePt t="1169" x="3467100" y="2517775"/>
          <p14:tracePt t="1170" x="3463925" y="2522538"/>
          <p14:tracePt t="1173" x="3448050" y="2530475"/>
          <p14:tracePt t="1174" x="3440113" y="2538413"/>
          <p14:tracePt t="1175" x="3435350" y="2541588"/>
          <p14:tracePt t="1176" x="3427413" y="2546350"/>
          <p14:tracePt t="1177" x="3422650" y="2554288"/>
          <p14:tracePt t="1178" x="3414713" y="2562225"/>
          <p14:tracePt t="1179" x="3411538" y="2570163"/>
          <p14:tracePt t="1180" x="3406775" y="2574925"/>
          <p14:tracePt t="1181" x="3403600" y="2578100"/>
          <p14:tracePt t="1182" x="3398838" y="2586038"/>
          <p14:tracePt t="1183" x="3390900" y="2590800"/>
          <p14:tracePt t="1184" x="3387725" y="2598738"/>
          <p14:tracePt t="1185" x="3382963" y="2601913"/>
          <p14:tracePt t="1186" x="3375025" y="2606675"/>
          <p14:tracePt t="1189" x="3359150" y="2625725"/>
          <p14:tracePt t="1190" x="3355975" y="2630488"/>
          <p14:tracePt t="1191" x="3351213" y="2638425"/>
          <p14:tracePt t="1192" x="3348038" y="2641600"/>
          <p14:tracePt t="1193" x="3338513" y="2649538"/>
          <p14:tracePt t="1194" x="3335338" y="2659063"/>
          <p14:tracePt t="1195" x="3330575" y="2662238"/>
          <p14:tracePt t="1196" x="3327400" y="2670175"/>
          <p14:tracePt t="1197" x="3322638" y="2674938"/>
          <p14:tracePt t="1198" x="3314700" y="2682875"/>
          <p14:tracePt t="1199" x="3311525" y="2690813"/>
          <p14:tracePt t="1200" x="3306763" y="2693988"/>
          <p14:tracePt t="1201" x="3303588" y="2701925"/>
          <p14:tracePt t="1202" x="3298825" y="2709863"/>
          <p14:tracePt t="1203" x="3295650" y="2717800"/>
          <p14:tracePt t="1204" x="3282950" y="2730500"/>
          <p14:tracePt t="1205" x="3279775" y="2733675"/>
          <p14:tracePt t="1206" x="3275013" y="2741613"/>
          <p14:tracePt t="1207" x="3271838" y="2751138"/>
          <p14:tracePt t="1208" x="3263900" y="2759075"/>
          <p14:tracePt t="1209" x="3259138" y="2767013"/>
          <p14:tracePt t="1210" x="3251200" y="2774950"/>
          <p14:tracePt t="1211" x="3246438" y="2786063"/>
          <p14:tracePt t="1212" x="3238500" y="2794000"/>
          <p14:tracePt t="1213" x="3230563" y="2801938"/>
          <p14:tracePt t="1214" x="3227388" y="2809875"/>
          <p14:tracePt t="1215" x="3222625" y="2817813"/>
          <p14:tracePt t="1216" x="3219450" y="2830513"/>
          <p14:tracePt t="1217" x="3214688" y="2838450"/>
          <p14:tracePt t="1219" x="3203575" y="2851150"/>
          <p14:tracePt t="1219" x="3198813" y="2862263"/>
          <p14:tracePt t="1220" x="3195638" y="2870200"/>
          <p14:tracePt t="1223" x="3171825" y="2901950"/>
          <p14:tracePt t="1224" x="3167063" y="2909888"/>
          <p14:tracePt t="1225" x="3163888" y="2917825"/>
          <p14:tracePt t="1226" x="3159125" y="2927350"/>
          <p14:tracePt t="1227" x="3151188" y="2938463"/>
          <p14:tracePt t="1228" x="3146425" y="2951163"/>
          <p14:tracePt t="1229" x="3143250" y="2959100"/>
          <p14:tracePt t="1230" x="3130550" y="2970213"/>
          <p14:tracePt t="1231" x="3127375" y="2978150"/>
          <p14:tracePt t="1232" x="3119438" y="2990850"/>
          <p14:tracePt t="1233" x="3114675" y="3001963"/>
          <p14:tracePt t="1234" x="3111500" y="3009900"/>
          <p14:tracePt t="1235" x="3106738" y="3019425"/>
          <p14:tracePt t="1236" x="3103563" y="3027363"/>
          <p14:tracePt t="1238" x="3087688" y="3051175"/>
          <p14:tracePt t="1239" x="3082925" y="3059113"/>
          <p14:tracePt t="1240" x="3079750" y="3067050"/>
          <p14:tracePt t="1241" x="3074988" y="3078163"/>
          <p14:tracePt t="1242" x="3071813" y="3086100"/>
          <p14:tracePt t="1243" x="3067050" y="3094038"/>
          <p14:tracePt t="1244" x="3059113" y="3101975"/>
          <p14:tracePt t="1245" x="3059113" y="3119438"/>
          <p14:tracePt t="1246" x="3054350" y="3127375"/>
          <p14:tracePt t="1247" x="3051175" y="3135313"/>
          <p14:tracePt t="1248" x="3051175" y="3143250"/>
          <p14:tracePt t="1249" x="3046413" y="3151188"/>
          <p14:tracePt t="1250" x="3046413" y="3159125"/>
          <p14:tracePt t="1251" x="3043238" y="3175000"/>
          <p14:tracePt t="1252" x="3043238" y="3182938"/>
          <p14:tracePt t="1254" x="3038475" y="3203575"/>
          <p14:tracePt t="1256" x="3035300" y="3222625"/>
          <p14:tracePt t="1257" x="3030538" y="3235325"/>
          <p14:tracePt t="1258" x="3030538" y="3243263"/>
          <p14:tracePt t="1259" x="3030538" y="3251200"/>
          <p14:tracePt t="1260" x="3030538" y="3259138"/>
          <p14:tracePt t="1261" x="3030538" y="3275013"/>
          <p14:tracePt t="1262" x="3030538" y="3286125"/>
          <p14:tracePt t="1263" x="3030538" y="3295650"/>
          <p14:tracePt t="1264" x="3030538" y="3303588"/>
          <p14:tracePt t="1265" x="3030538" y="3319463"/>
          <p14:tracePt t="1266" x="3030538" y="3330575"/>
          <p14:tracePt t="1268" x="3030538" y="3338513"/>
          <p14:tracePt t="1268" x="3030538" y="3346450"/>
          <p14:tracePt t="1270" x="3030538" y="3354388"/>
          <p14:tracePt t="1270" x="3035300" y="3370263"/>
          <p14:tracePt t="1271" x="3035300" y="3378200"/>
          <p14:tracePt t="1272" x="3038475" y="3398838"/>
          <p14:tracePt t="1273" x="3043238" y="3406775"/>
          <p14:tracePt t="1274" x="3043238" y="3419475"/>
          <p14:tracePt t="1275" x="3046413" y="3430588"/>
          <p14:tracePt t="1276" x="3054350" y="3446463"/>
          <p14:tracePt t="1277" x="3059113" y="3459163"/>
          <p14:tracePt t="1278" x="3062288" y="3470275"/>
          <p14:tracePt t="1279" x="3067050" y="3487738"/>
          <p14:tracePt t="1280" x="3071813" y="3495675"/>
          <p14:tracePt t="1281" x="3074988" y="3506788"/>
          <p14:tracePt t="1282" x="3079750" y="3522663"/>
          <p14:tracePt t="1283" x="3087688" y="3535363"/>
          <p14:tracePt t="1285" x="3090863" y="3551238"/>
          <p14:tracePt t="1285" x="3095625" y="3559175"/>
          <p14:tracePt t="1287" x="3114675" y="3595688"/>
          <p14:tracePt t="1288" x="3119438" y="3606800"/>
          <p14:tracePt t="1290" x="3127375" y="3619500"/>
          <p14:tracePt t="1290" x="3130550" y="3630613"/>
          <p14:tracePt t="1291" x="3146425" y="3651250"/>
          <p14:tracePt t="1292" x="3151188" y="3663950"/>
          <p14:tracePt t="1293" x="3163888" y="3675063"/>
          <p14:tracePt t="1294" x="3171825" y="3690938"/>
          <p14:tracePt t="1295" x="3175000" y="3703638"/>
          <p14:tracePt t="1296" x="3190875" y="3719513"/>
          <p14:tracePt t="1297" x="3203575" y="3730625"/>
          <p14:tracePt t="1298" x="3211513" y="3743325"/>
          <p14:tracePt t="1299" x="3219450" y="3756025"/>
          <p14:tracePt t="1300" x="3227388" y="3767138"/>
          <p14:tracePt t="1301" x="3243263" y="3787775"/>
          <p14:tracePt t="1302" x="3255963" y="3795713"/>
          <p14:tracePt t="1303" x="3263900" y="3811588"/>
          <p14:tracePt t="1306" x="3282950" y="3827463"/>
          <p14:tracePt t="1306" x="3295650" y="3843338"/>
          <p14:tracePt t="1307" x="3306763" y="3859213"/>
          <p14:tracePt t="1308" x="3314700" y="3867150"/>
          <p14:tracePt t="1309" x="3322638" y="3875088"/>
          <p14:tracePt t="1310" x="3338513" y="3890963"/>
          <p14:tracePt t="1311" x="3355975" y="3898900"/>
          <p14:tracePt t="1312" x="3363913" y="3911600"/>
          <p14:tracePt t="1313" x="3371850" y="3922713"/>
          <p14:tracePt t="1314" x="3387725" y="3930650"/>
          <p14:tracePt t="1315" x="3395663" y="3943350"/>
          <p14:tracePt t="1316" x="3411538" y="3951288"/>
          <p14:tracePt t="1318" x="3435350" y="3971925"/>
          <p14:tracePt t="1319" x="3448050" y="3979863"/>
          <p14:tracePt t="1321" x="3475038" y="3998913"/>
          <p14:tracePt t="1323" x="3495675" y="4011613"/>
          <p14:tracePt t="1324" x="3506788" y="4024313"/>
          <p14:tracePt t="1325" x="3524250" y="4032250"/>
          <p14:tracePt t="1326" x="3540125" y="4043363"/>
          <p14:tracePt t="1327" x="3548063" y="4048125"/>
          <p14:tracePt t="1328" x="3559175" y="4056063"/>
          <p14:tracePt t="1329" x="3575050" y="4059238"/>
          <p14:tracePt t="1330" x="3587750" y="4071938"/>
          <p14:tracePt t="1331" x="3603625" y="4075113"/>
          <p14:tracePt t="1332" x="3611563" y="4079875"/>
          <p14:tracePt t="1333" x="3619500" y="4087813"/>
          <p14:tracePt t="1335" x="3635375" y="4090988"/>
          <p14:tracePt t="1335" x="3648075" y="4095750"/>
          <p14:tracePt t="1337" x="3663950" y="4106863"/>
          <p14:tracePt t="1338" x="3679825" y="4116388"/>
          <p14:tracePt t="1339" x="3695700" y="4119563"/>
          <p14:tracePt t="1340" x="3708400" y="4124325"/>
          <p14:tracePt t="1341" x="3719513" y="4132263"/>
          <p14:tracePt t="1342" x="3732213" y="4135438"/>
          <p14:tracePt t="1343" x="3740150" y="4140200"/>
          <p14:tracePt t="1344" x="3756025" y="4143375"/>
          <p14:tracePt t="1345" x="3767138" y="4148138"/>
          <p14:tracePt t="1346" x="3775075" y="4148138"/>
          <p14:tracePt t="1347" x="3787775" y="4151313"/>
          <p14:tracePt t="1348" x="3800475" y="4156075"/>
          <p14:tracePt t="1349" x="3808413" y="4156075"/>
          <p14:tracePt t="1350" x="3824288" y="4164013"/>
          <p14:tracePt t="1351" x="3832225" y="4167188"/>
          <p14:tracePt t="1352" x="3840163" y="4167188"/>
          <p14:tracePt t="1354" x="3851275" y="4171950"/>
          <p14:tracePt t="1356" x="3887788" y="4179888"/>
          <p14:tracePt t="1357" x="3900488" y="4179888"/>
          <p14:tracePt t="1358" x="3908425" y="4183063"/>
          <p14:tracePt t="1359" x="3919538" y="4183063"/>
          <p14:tracePt t="1360" x="3935413" y="4187825"/>
          <p14:tracePt t="1361" x="3948113" y="4195763"/>
          <p14:tracePt t="1362" x="3963988" y="4195763"/>
          <p14:tracePt t="1363" x="3971925" y="4198938"/>
          <p14:tracePt t="1364" x="3992563" y="4198938"/>
          <p14:tracePt t="1365" x="4003675" y="4203700"/>
          <p14:tracePt t="1366" x="4011613" y="4203700"/>
          <p14:tracePt t="1367" x="4027488" y="4203700"/>
          <p14:tracePt t="1368" x="4040188" y="4208463"/>
          <p14:tracePt t="1369" x="4051300" y="4208463"/>
          <p14:tracePt t="1370" x="4071938" y="4208463"/>
          <p14:tracePt t="1371" x="4092575" y="4208463"/>
          <p14:tracePt t="1372" x="4108450" y="4211638"/>
          <p14:tracePt t="1373" x="4119563" y="4211638"/>
          <p14:tracePt t="1374" x="4140200" y="4211638"/>
          <p14:tracePt t="1375" x="4160838" y="4211638"/>
          <p14:tracePt t="1376" x="4171950" y="4211638"/>
          <p14:tracePt t="1377" x="4192588" y="4211638"/>
          <p14:tracePt t="1378" x="4211638" y="4211638"/>
          <p14:tracePt t="1379" x="4235450" y="4211638"/>
          <p14:tracePt t="1380" x="4248150" y="4211638"/>
          <p14:tracePt t="1381" x="4268788" y="4211638"/>
          <p14:tracePt t="1382" x="4287838" y="4211638"/>
          <p14:tracePt t="1383" x="4308475" y="4211638"/>
          <p14:tracePt t="1384" x="4340225" y="4211638"/>
          <p14:tracePt t="1386" x="4360863" y="4211638"/>
          <p14:tracePt t="1386" x="4376738" y="4211638"/>
          <p14:tracePt t="1387" x="4403725" y="4211638"/>
          <p14:tracePt t="1388" x="4424363" y="4211638"/>
          <p14:tracePt t="1389" x="4456113" y="4211638"/>
          <p14:tracePt t="1390" x="4471988" y="4211638"/>
          <p14:tracePt t="1391" x="4500563" y="4211638"/>
          <p14:tracePt t="1392" x="4529138" y="4211638"/>
          <p14:tracePt t="1393" x="4548188" y="4208463"/>
          <p14:tracePt t="1394" x="4587875" y="4208463"/>
          <p14:tracePt t="1395" x="4616450" y="4198938"/>
          <p14:tracePt t="1396" x="4637088" y="4198938"/>
          <p14:tracePt t="1397" x="4664075" y="4195763"/>
          <p14:tracePt t="1398" x="4700588" y="4187825"/>
          <p14:tracePt t="1399" x="4737100" y="4183063"/>
          <p14:tracePt t="1400" x="4768850" y="4183063"/>
          <p14:tracePt t="1401" x="4797425" y="4179888"/>
          <p14:tracePt t="1402" x="4824413" y="4171950"/>
          <p14:tracePt t="1403" x="4868863" y="4167188"/>
          <p14:tracePt t="1404" x="4905375" y="4159250"/>
          <p14:tracePt t="1405" x="4940300" y="4156075"/>
          <p14:tracePt t="1406" x="4968875" y="4148138"/>
          <p14:tracePt t="1407" x="5005388" y="4143375"/>
          <p14:tracePt t="1408" x="5056188" y="4127500"/>
          <p14:tracePt t="1409" x="5084763" y="4124325"/>
          <p14:tracePt t="1410" x="5121275" y="4119563"/>
          <p14:tracePt t="1411" x="5157788" y="4103688"/>
          <p14:tracePt t="1412" x="5192713" y="4098925"/>
          <p14:tracePt t="1413" x="5232400" y="4087813"/>
          <p14:tracePt t="1414" x="5284788" y="4075113"/>
          <p14:tracePt t="1415" x="5329238" y="4067175"/>
          <p14:tracePt t="1416" x="5365750" y="4056063"/>
          <p14:tracePt t="1417" x="5400675" y="4043363"/>
          <p14:tracePt t="1418" x="5457825" y="4032250"/>
          <p14:tracePt t="1419" x="5492750" y="4014788"/>
          <p14:tracePt t="1420" x="5537200" y="4003675"/>
          <p14:tracePt t="1422" x="5610225" y="3987800"/>
          <p14:tracePt t="1423" x="5653088" y="3971925"/>
          <p14:tracePt t="1424" x="5710238" y="3951288"/>
          <p14:tracePt t="1425" x="5745163" y="3940175"/>
          <p14:tracePt t="1426" x="5789613" y="3927475"/>
          <p14:tracePt t="1427" x="5829300" y="3914775"/>
          <p14:tracePt t="1429" x="5918200" y="3883025"/>
          <p14:tracePt t="1430" x="5953125" y="3871913"/>
          <p14:tracePt t="1431" x="5994400" y="3859213"/>
          <p14:tracePt t="1432" x="6029325" y="3848100"/>
          <p14:tracePt t="1433" x="6081713" y="3827463"/>
          <p14:tracePt t="1434" x="6121400" y="3806825"/>
          <p14:tracePt t="1435" x="6157913" y="3795713"/>
          <p14:tracePt t="1436" x="6194425" y="3783013"/>
          <p14:tracePt t="1439" x="6278563" y="3743325"/>
          <p14:tracePt t="1440" x="6346825" y="3719513"/>
          <p14:tracePt t="1441" x="6381750" y="3703638"/>
          <p14:tracePt t="1442" x="6426200" y="3683000"/>
          <p14:tracePt t="1443" x="6457950" y="3671888"/>
          <p14:tracePt t="1444" x="6486525" y="3659188"/>
          <p14:tracePt t="1445" x="6523038" y="3646488"/>
          <p14:tracePt t="1446" x="6550025" y="3635375"/>
          <p14:tracePt t="1447" x="6581775" y="3614738"/>
          <p14:tracePt t="1448" x="6626225" y="3603625"/>
          <p14:tracePt t="1449" x="6654800" y="3590925"/>
          <p14:tracePt t="1450" x="6686550" y="3579813"/>
          <p14:tracePt t="1451" x="6707188" y="3571875"/>
          <p14:tracePt t="1452" x="6750050" y="3559175"/>
          <p14:tracePt t="1453" x="6770688" y="3546475"/>
          <p14:tracePt t="1456" x="6850063" y="3519488"/>
          <p14:tracePt t="1457" x="6870700" y="3506788"/>
          <p14:tracePt t="1458" x="6907213" y="3495675"/>
          <p14:tracePt t="1459" x="6926263" y="3490913"/>
          <p14:tracePt t="1460" x="6942138" y="3482975"/>
          <p14:tracePt t="1461" x="6962775" y="3475038"/>
          <p14:tracePt t="1462" x="6991350" y="3467100"/>
          <p14:tracePt t="1463" x="7002463" y="3459163"/>
          <p14:tracePt t="1464" x="7018338" y="3451225"/>
          <p14:tracePt t="1465" x="7034213" y="3446463"/>
          <p14:tracePt t="1466" x="7046913" y="3443288"/>
          <p14:tracePt t="1467" x="7067550" y="3435350"/>
          <p14:tracePt t="1468" x="7078663" y="3430588"/>
          <p14:tracePt t="1469" x="7094538" y="3427413"/>
          <p14:tracePt t="1471" x="7118350" y="3414713"/>
          <p14:tracePt t="1472" x="7131050" y="3406775"/>
          <p14:tracePt t="1473" x="7146925" y="3403600"/>
          <p14:tracePt t="1474" x="7154863" y="3398838"/>
          <p14:tracePt t="1475" x="7162800" y="3398838"/>
          <p14:tracePt t="1476" x="7178675" y="3395663"/>
          <p14:tracePt t="1477" x="7186613" y="3390900"/>
          <p14:tracePt t="1478" x="7194550" y="3387725"/>
          <p14:tracePt t="1479" x="7199313" y="3382963"/>
          <p14:tracePt t="1480" x="7207250" y="3382963"/>
          <p14:tracePt t="1481" x="7215188" y="3378200"/>
          <p14:tracePt t="1482" x="7218363" y="3375025"/>
          <p14:tracePt t="1483" x="7227888" y="3375025"/>
          <p14:tracePt t="1484" x="7231063" y="3370263"/>
          <p14:tracePt t="1485" x="7235825" y="3370263"/>
          <p14:tracePt t="1487" x="7239000" y="3362325"/>
          <p14:tracePt t="1488" x="7243763" y="3362325"/>
          <p14:tracePt t="1490" x="7246938" y="3359150"/>
          <p14:tracePt t="1494" x="7251700" y="3354388"/>
          <p14:tracePt t="1496" x="7254875" y="3354388"/>
          <p14:tracePt t="1540" x="7259638" y="3354388"/>
          <p14:tracePt t="1550" x="7262813" y="3354388"/>
          <p14:tracePt t="1553" x="7267575" y="3354388"/>
          <p14:tracePt t="1554" x="7270750" y="3354388"/>
          <p14:tracePt t="1558" x="7278688" y="3354388"/>
          <p14:tracePt t="1560" x="7294563" y="3359150"/>
          <p14:tracePt t="1562" x="7302500" y="3362325"/>
          <p14:tracePt t="1564" x="7310438" y="3362325"/>
          <p14:tracePt t="1565" x="7315200" y="3367088"/>
          <p14:tracePt t="1566" x="7323138" y="3367088"/>
          <p14:tracePt t="1566" x="7331075" y="3367088"/>
          <p14:tracePt t="1568" x="7343775" y="3370263"/>
          <p14:tracePt t="1570" x="7346950" y="3375025"/>
          <p14:tracePt t="1570" x="7354888" y="3375025"/>
          <p14:tracePt t="1573" x="7370763" y="3378200"/>
          <p14:tracePt t="1573" x="7375525" y="3382963"/>
          <p14:tracePt t="1574" x="7386638" y="3382963"/>
          <p14:tracePt t="1575" x="7391400" y="3387725"/>
          <p14:tracePt t="1576" x="7399338" y="3387725"/>
          <p14:tracePt t="1577" x="7407275" y="3390900"/>
          <p14:tracePt t="1578" x="7415213" y="3390900"/>
          <p14:tracePt t="1579" x="7423150" y="3395663"/>
          <p14:tracePt t="1580" x="7431088" y="3395663"/>
          <p14:tracePt t="1581" x="7439025" y="3398838"/>
          <p14:tracePt t="1582" x="7446963" y="3398838"/>
          <p14:tracePt t="1583" x="7451725" y="3403600"/>
          <p14:tracePt t="1585" x="7475538" y="3406775"/>
          <p14:tracePt t="1586" x="7483475" y="3406775"/>
          <p14:tracePt t="1588" x="7494588" y="3411538"/>
          <p14:tracePt t="1589" x="7504113" y="3411538"/>
          <p14:tracePt t="1590" x="7515225" y="3414713"/>
          <p14:tracePt t="1591" x="7523163" y="3414713"/>
          <p14:tracePt t="1592" x="7531100" y="3414713"/>
          <p14:tracePt t="1593" x="7539038" y="3419475"/>
          <p14:tracePt t="1594" x="7554913" y="3419475"/>
          <p14:tracePt t="1595" x="7562850" y="3419475"/>
          <p14:tracePt t="1596" x="7570788" y="3422650"/>
          <p14:tracePt t="1597" x="7578725" y="3422650"/>
          <p14:tracePt t="1598" x="7588250" y="3422650"/>
          <p14:tracePt t="1599" x="7596188" y="3430588"/>
          <p14:tracePt t="1600" x="7615238" y="3430588"/>
          <p14:tracePt t="1601" x="7623175" y="3430588"/>
          <p14:tracePt t="1603" x="7646988" y="3430588"/>
          <p14:tracePt t="1604" x="7659688" y="3430588"/>
          <p14:tracePt t="1605" x="7670800" y="3430588"/>
          <p14:tracePt t="1606" x="7683500" y="3430588"/>
          <p14:tracePt t="1607" x="7696200" y="3430588"/>
          <p14:tracePt t="1608" x="7707313" y="3435350"/>
          <p14:tracePt t="1609" x="7723188" y="3435350"/>
          <p14:tracePt t="1610" x="7735888" y="3435350"/>
          <p14:tracePt t="1611" x="7751763" y="3435350"/>
          <p14:tracePt t="1612" x="7762875" y="3435350"/>
          <p14:tracePt t="1613" x="7780338" y="3435350"/>
          <p14:tracePt t="1614" x="7796213" y="3435350"/>
          <p14:tracePt t="1615" x="7812088" y="3438525"/>
          <p14:tracePt t="1617" x="7831138" y="3438525"/>
          <p14:tracePt t="1618" x="7864475" y="3438525"/>
          <p14:tracePt t="1619" x="7875588" y="3438525"/>
          <p14:tracePt t="1620" x="7891463" y="3438525"/>
          <p14:tracePt t="1621" x="7904163" y="3438525"/>
          <p14:tracePt t="1622" x="7923213" y="3443288"/>
          <p14:tracePt t="1623" x="7935913" y="3443288"/>
          <p14:tracePt t="1624" x="7964488" y="3443288"/>
          <p14:tracePt t="1625" x="7975600" y="3443288"/>
          <p14:tracePt t="1626" x="7996238" y="3443288"/>
          <p14:tracePt t="1627" x="8007350" y="3443288"/>
          <p14:tracePt t="1628" x="8035925" y="3443288"/>
          <p14:tracePt t="1629" x="8056563" y="3443288"/>
          <p14:tracePt t="1630" x="8067675" y="3443288"/>
          <p14:tracePt t="1631" x="8088313" y="3443288"/>
          <p14:tracePt t="1632" x="8107363" y="3443288"/>
          <p14:tracePt t="1633" x="8132763" y="3443288"/>
          <p14:tracePt t="1634" x="8143875" y="3443288"/>
          <p14:tracePt t="1635" x="8164513" y="3443288"/>
          <p14:tracePt t="1636" x="8183563" y="3443288"/>
          <p14:tracePt t="1637" x="8204200" y="3443288"/>
          <p14:tracePt t="1638" x="8235950" y="3443288"/>
          <p14:tracePt t="1639" x="8256588" y="3443288"/>
          <p14:tracePt t="1640" x="8272463" y="3443288"/>
          <p14:tracePt t="1641" x="8291513" y="3443288"/>
          <p14:tracePt t="1642" x="8320088" y="3443288"/>
          <p14:tracePt t="1643" x="8343900" y="3443288"/>
          <p14:tracePt t="1644" x="8372475" y="3443288"/>
          <p14:tracePt t="1645" x="8391525" y="3443288"/>
          <p14:tracePt t="1646" x="8416925" y="3443288"/>
          <p14:tracePt t="1647" x="8435975" y="3443288"/>
          <p14:tracePt t="1648" x="8467725" y="3443288"/>
          <p14:tracePt t="1649" x="8493125" y="3443288"/>
          <p14:tracePt t="1650" x="8512175" y="3443288"/>
          <p14:tracePt t="1651" x="8540750" y="3443288"/>
          <p14:tracePt t="1652" x="8564563" y="3443288"/>
          <p14:tracePt t="1653" x="8601075" y="3443288"/>
          <p14:tracePt t="1654" x="8624888" y="3443288"/>
          <p14:tracePt t="1655" x="8651875" y="3443288"/>
          <p14:tracePt t="1656" x="8680450" y="3443288"/>
          <p14:tracePt t="1657" x="8704263" y="3443288"/>
          <p14:tracePt t="1658" x="8740775" y="3443288"/>
          <p14:tracePt t="1659" x="8769350" y="3443288"/>
          <p14:tracePt t="1660" x="8793163" y="3443288"/>
          <p14:tracePt t="1661" x="8820150" y="3443288"/>
          <p14:tracePt t="1662" x="8856663" y="3451225"/>
          <p14:tracePt t="1663" x="8888413" y="3451225"/>
          <p14:tracePt t="1664" x="8916988" y="3451225"/>
          <p14:tracePt t="1665" x="8945563" y="3451225"/>
          <p14:tracePt t="1666" x="8969375" y="3451225"/>
          <p14:tracePt t="1667" x="9004300" y="3451225"/>
          <p14:tracePt t="1669" x="9048750" y="3451225"/>
          <p14:tracePt t="1669" x="9072563" y="3451225"/>
          <p14:tracePt t="1670" x="9101138" y="3451225"/>
          <p14:tracePt t="1671" x="9137650" y="3451225"/>
          <p14:tracePt t="1672" x="9177338" y="3451225"/>
          <p14:tracePt t="1673" x="9204325" y="3451225"/>
          <p14:tracePt t="1674" x="9240838" y="3451225"/>
          <p14:tracePt t="1675" x="9272588" y="3451225"/>
          <p14:tracePt t="1676" x="9301163" y="3451225"/>
          <p14:tracePt t="1677" x="9337675" y="3451225"/>
          <p14:tracePt t="1679" x="9405938" y="3451225"/>
          <p14:tracePt t="1680" x="9440863" y="3451225"/>
          <p14:tracePt t="1681" x="9477375" y="3446463"/>
          <p14:tracePt t="1682" x="9525000" y="3446463"/>
          <p14:tracePt t="1683" x="9553575" y="3446463"/>
          <p14:tracePt t="1685" x="9590088" y="3446463"/>
          <p14:tracePt t="1685" x="9625013" y="3443288"/>
          <p14:tracePt t="1686" x="9656763" y="3443288"/>
          <p14:tracePt t="1687" x="9701213" y="3443288"/>
          <p14:tracePt t="1688" x="9737725" y="3443288"/>
          <p14:tracePt t="1689" x="9769475" y="3443288"/>
          <p14:tracePt t="1690" x="9798050" y="3435350"/>
          <p14:tracePt t="1691" x="9832975" y="3435350"/>
          <p14:tracePt t="1692" x="9885363" y="3435350"/>
          <p14:tracePt t="1693" x="9909175" y="3435350"/>
          <p14:tracePt t="1694" x="9945688" y="3435350"/>
          <p14:tracePt t="1695" x="9982200" y="3435350"/>
          <p14:tracePt t="1696" x="10006013" y="3435350"/>
          <p14:tracePt t="1697" x="10050463" y="3435350"/>
          <p14:tracePt t="1698" x="10085388" y="3435350"/>
          <p14:tracePt t="1699" x="10109200" y="3435350"/>
          <p14:tracePt t="1700" x="10145713" y="3430588"/>
          <p14:tracePt t="1701" x="10174288" y="3430588"/>
          <p14:tracePt t="1702" x="10218738" y="3430588"/>
          <p14:tracePt t="1703" x="10242550" y="3430588"/>
          <p14:tracePt t="1704" x="10269538" y="3430588"/>
          <p14:tracePt t="1705" x="10298113" y="3430588"/>
          <p14:tracePt t="1706" x="10326688" y="3422650"/>
          <p14:tracePt t="1707" x="10358438" y="3422650"/>
          <p14:tracePt t="1708" x="10387013" y="3422650"/>
          <p14:tracePt t="1709" x="10406063" y="3422650"/>
          <p14:tracePt t="1710" x="10429875" y="3422650"/>
          <p14:tracePt t="1711" x="10450513" y="3422650"/>
          <p14:tracePt t="1712" x="10482263" y="3422650"/>
          <p14:tracePt t="1713" x="10502900" y="3419475"/>
          <p14:tracePt t="1714" x="10521950" y="3419475"/>
          <p14:tracePt t="1715" x="10537825" y="3419475"/>
          <p14:tracePt t="1716" x="10571163" y="3419475"/>
          <p14:tracePt t="1718" x="10606088" y="3414713"/>
          <p14:tracePt t="1719" x="10626725" y="3414713"/>
          <p14:tracePt t="1720" x="10642600" y="3414713"/>
          <p14:tracePt t="1721" x="10658475" y="3414713"/>
          <p14:tracePt t="1722" x="10682288" y="3411538"/>
          <p14:tracePt t="1723" x="10698163" y="3411538"/>
          <p14:tracePt t="1724" x="10710863" y="3411538"/>
          <p14:tracePt t="1725" x="10729913" y="3411538"/>
          <p14:tracePt t="1726" x="10750550" y="3411538"/>
          <p14:tracePt t="1727" x="10758488" y="3411538"/>
          <p14:tracePt t="1728" x="10771188" y="3411538"/>
          <p14:tracePt t="1729" x="10787063" y="3411538"/>
          <p14:tracePt t="1730" x="10798175" y="3411538"/>
          <p14:tracePt t="1731" x="10806113" y="3411538"/>
          <p14:tracePt t="1732" x="10826750" y="3403600"/>
          <p14:tracePt t="1733" x="10834688" y="3403600"/>
          <p14:tracePt t="1734" x="10842625" y="3403600"/>
          <p14:tracePt t="1736" x="10866438" y="3403600"/>
          <p14:tracePt t="1737" x="10874375" y="3403600"/>
          <p14:tracePt t="1738" x="10882313" y="3403600"/>
          <p14:tracePt t="1739" x="10890250" y="3403600"/>
          <p14:tracePt t="1740" x="10895013" y="3398838"/>
          <p14:tracePt t="1741" x="10902950" y="3398838"/>
          <p14:tracePt t="1742" x="10906125" y="3398838"/>
          <p14:tracePt t="1743" x="10910888" y="3398838"/>
          <p14:tracePt t="1744" x="10914063" y="3398838"/>
          <p14:tracePt t="1746" x="10922000" y="3398838"/>
          <p14:tracePt t="1748" x="10926763" y="3398838"/>
          <p14:tracePt t="1785" x="10922000" y="3398838"/>
          <p14:tracePt t="1787" x="10918825" y="3398838"/>
          <p14:tracePt t="1791" x="10910888" y="3398838"/>
          <p14:tracePt t="1792" x="10906125" y="3398838"/>
          <p14:tracePt t="1794" x="10902950" y="3398838"/>
          <p14:tracePt t="1795" x="10898188" y="3395663"/>
          <p14:tracePt t="1796" x="10890250" y="3395663"/>
          <p14:tracePt t="1797" x="10887075" y="3395663"/>
          <p14:tracePt t="1798" x="10879138" y="3395663"/>
          <p14:tracePt t="1800" x="10874375" y="3395663"/>
          <p14:tracePt t="1801" x="10866438" y="3390900"/>
          <p14:tracePt t="1804" x="10850563" y="3390900"/>
          <p14:tracePt t="1804" x="10839450" y="3390900"/>
          <p14:tracePt t="1805" x="10829925" y="3390900"/>
          <p14:tracePt t="1806" x="10821988" y="3387725"/>
          <p14:tracePt t="1807" x="10814050" y="3387725"/>
          <p14:tracePt t="1808" x="10806113" y="3387725"/>
          <p14:tracePt t="1809" x="10798175" y="3387725"/>
          <p14:tracePt t="1810" x="10787063" y="3387725"/>
          <p14:tracePt t="1811" x="10779125" y="3378200"/>
          <p14:tracePt t="1812" x="10766425" y="3378200"/>
          <p14:tracePt t="1813" x="10758488" y="3378200"/>
          <p14:tracePt t="1814" x="10745788" y="3375025"/>
          <p14:tracePt t="1815" x="10729913" y="3375025"/>
          <p14:tracePt t="1816" x="10721975" y="3370263"/>
          <p14:tracePt t="1818" x="10702925" y="3370263"/>
          <p14:tracePt t="1819" x="10682288" y="3367088"/>
          <p14:tracePt t="1821" x="10658475" y="3362325"/>
          <p14:tracePt t="1822" x="10645775" y="3362325"/>
          <p14:tracePt t="1823" x="10634663" y="3362325"/>
          <p14:tracePt t="1824" x="10614025" y="3362325"/>
          <p14:tracePt t="1825" x="10598150" y="3359150"/>
          <p14:tracePt t="1826" x="10587038" y="3359150"/>
          <p14:tracePt t="1827" x="10571163" y="3359150"/>
          <p14:tracePt t="1828" x="10558463" y="3351213"/>
          <p14:tracePt t="1829" x="10537825" y="3351213"/>
          <p14:tracePt t="1830" x="10518775" y="3351213"/>
          <p14:tracePt t="1831" x="10506075" y="3346450"/>
          <p14:tracePt t="1832" x="10487025" y="3346450"/>
          <p14:tracePt t="1833" x="10474325" y="3346450"/>
          <p14:tracePt t="1835" x="10445750" y="3346450"/>
          <p14:tracePt t="1836" x="10414000" y="3343275"/>
          <p14:tracePt t="1837" x="10394950" y="3343275"/>
          <p14:tracePt t="1838" x="10369550" y="3338513"/>
          <p14:tracePt t="1839" x="10353675" y="3338513"/>
          <p14:tracePt t="1840" x="10334625" y="3338513"/>
          <p14:tracePt t="1841" x="10313988" y="3335338"/>
          <p14:tracePt t="1842" x="10298113" y="3335338"/>
          <p14:tracePt t="1843" x="10277475" y="3335338"/>
          <p14:tracePt t="1844" x="10245725" y="3327400"/>
          <p14:tracePt t="1845" x="10226675" y="3327400"/>
          <p14:tracePt t="1846" x="10198100" y="3327400"/>
          <p14:tracePt t="1847" x="10182225" y="3327400"/>
          <p14:tracePt t="1848" x="10153650" y="3322638"/>
          <p14:tracePt t="1849" x="10134600" y="3322638"/>
          <p14:tracePt t="1850" x="10109200" y="3322638"/>
          <p14:tracePt t="1852" x="10090150" y="3322638"/>
          <p14:tracePt t="1852" x="10069513" y="3319463"/>
          <p14:tracePt t="1854" x="10037763" y="3319463"/>
          <p14:tracePt t="1854" x="10017125" y="3319463"/>
          <p14:tracePt t="1855" x="9998075" y="3319463"/>
          <p14:tracePt t="1856" x="9974263" y="3319463"/>
          <p14:tracePt t="1857" x="9953625" y="3319463"/>
          <p14:tracePt t="1858" x="9921875" y="3319463"/>
          <p14:tracePt t="1859" x="9893300" y="3311525"/>
          <p14:tracePt t="1860" x="9874250" y="3311525"/>
          <p14:tracePt t="1861" x="9850438" y="3311525"/>
          <p14:tracePt t="1862" x="9829800" y="3311525"/>
          <p14:tracePt t="1863" x="9798050" y="3311525"/>
          <p14:tracePt t="1864" x="9769475" y="3311525"/>
          <p14:tracePt t="1865" x="9748838" y="3311525"/>
          <p14:tracePt t="1866" x="9725025" y="3311525"/>
          <p14:tracePt t="1868" x="9666288" y="3311525"/>
          <p14:tracePt t="1869" x="9645650" y="3306763"/>
          <p14:tracePt t="1870" x="9617075" y="3306763"/>
          <p14:tracePt t="1871" x="9590088" y="3306763"/>
          <p14:tracePt t="1872" x="9564688" y="3306763"/>
          <p14:tracePt t="1873" x="9529763" y="3306763"/>
          <p14:tracePt t="1874" x="9505950" y="3306763"/>
          <p14:tracePt t="1875" x="9485313" y="3306763"/>
          <p14:tracePt t="1876" x="9456738" y="3306763"/>
          <p14:tracePt t="1877" x="9424988" y="3306763"/>
          <p14:tracePt t="1878" x="9398000" y="3306763"/>
          <p14:tracePt t="1879" x="9369425" y="3303588"/>
          <p14:tracePt t="1880" x="9345613" y="3303588"/>
          <p14:tracePt t="1881" x="9317038" y="3303588"/>
          <p14:tracePt t="1882" x="9280525" y="3303588"/>
          <p14:tracePt t="1883" x="9256713" y="3303588"/>
          <p14:tracePt t="1884" x="9229725" y="3303588"/>
          <p14:tracePt t="1885" x="9204325" y="3303588"/>
          <p14:tracePt t="1886" x="9177338" y="3303588"/>
          <p14:tracePt t="1887" x="9148763" y="3303588"/>
          <p14:tracePt t="1888" x="9117013" y="3303588"/>
          <p14:tracePt t="1889" x="9088438" y="3303588"/>
          <p14:tracePt t="1890" x="9061450" y="3303588"/>
          <p14:tracePt t="1891" x="9037638" y="3303588"/>
          <p14:tracePt t="1892" x="8993188" y="3303588"/>
          <p14:tracePt t="1893" x="8969375" y="3303588"/>
          <p14:tracePt t="1894" x="8940800" y="3303588"/>
          <p14:tracePt t="1895" x="8912225" y="3303588"/>
          <p14:tracePt t="1896" x="8888413" y="3303588"/>
          <p14:tracePt t="1897" x="8843963" y="3303588"/>
          <p14:tracePt t="1898" x="8816975" y="3303588"/>
          <p14:tracePt t="1899" x="8793163" y="3303588"/>
          <p14:tracePt t="1900" x="8764588" y="3295650"/>
          <p14:tracePt t="1901" x="8736013" y="3295650"/>
          <p14:tracePt t="1903" x="8693150" y="3295650"/>
          <p14:tracePt t="1903" x="8667750" y="3295650"/>
          <p14:tracePt t="1904" x="8640763" y="3295650"/>
          <p14:tracePt t="1905" x="8609013" y="3295650"/>
          <p14:tracePt t="1906" x="8580438" y="3290888"/>
          <p14:tracePt t="1907" x="8535988" y="3290888"/>
          <p14:tracePt t="1908" x="8509000" y="3290888"/>
          <p14:tracePt t="1909" x="8483600" y="3290888"/>
          <p14:tracePt t="1910" x="8456613" y="3282950"/>
          <p14:tracePt t="1911" x="8428038" y="3282950"/>
          <p14:tracePt t="1912" x="8383588" y="3282950"/>
          <p14:tracePt t="1914" x="8356600" y="3278188"/>
          <p14:tracePt t="1914" x="8332788" y="3278188"/>
          <p14:tracePt t="1915" x="8304213" y="3278188"/>
          <p14:tracePt t="1916" x="8259763" y="3275013"/>
          <p14:tracePt t="1917" x="8235950" y="3275013"/>
          <p14:tracePt t="1918" x="8207375" y="3275013"/>
          <p14:tracePt t="1920" x="8180388" y="3267075"/>
          <p14:tracePt t="1920" x="8151813" y="3267075"/>
          <p14:tracePt t="1921" x="8135938" y="3262313"/>
          <p14:tracePt t="1922" x="8088313" y="3254375"/>
          <p14:tracePt t="1923" x="8064500" y="3254375"/>
          <p14:tracePt t="1924" x="8035925" y="3251200"/>
          <p14:tracePt t="1925" x="8007350" y="3251200"/>
          <p14:tracePt t="1926" x="7972425" y="3243263"/>
          <p14:tracePt t="1927" x="7943850" y="3238500"/>
          <p14:tracePt t="1928" x="7920038" y="3238500"/>
          <p14:tracePt t="1929" x="7899400" y="3235325"/>
          <p14:tracePt t="1930" x="7872413" y="3235325"/>
          <p14:tracePt t="1931" x="7843838" y="3227388"/>
          <p14:tracePt t="1932" x="7799388" y="3222625"/>
          <p14:tracePt t="1933" x="7775575" y="3222625"/>
          <p14:tracePt t="1935" x="7747000" y="3214688"/>
          <p14:tracePt t="1935" x="7720013" y="3211513"/>
          <p14:tracePt t="1937" x="7646988" y="3206750"/>
          <p14:tracePt t="1938" x="7620000" y="3198813"/>
          <p14:tracePt t="1939" x="7596188" y="3198813"/>
          <p14:tracePt t="1940" x="7567613" y="3194050"/>
          <p14:tracePt t="1941" x="7523163" y="3186113"/>
          <p14:tracePt t="1942" x="7494588" y="3182938"/>
          <p14:tracePt t="1943" x="7459663" y="3182938"/>
          <p14:tracePt t="1944" x="7431088" y="3178175"/>
          <p14:tracePt t="1945" x="7394575" y="3170238"/>
          <p14:tracePt t="1946" x="7351713" y="3162300"/>
          <p14:tracePt t="1947" x="7323138" y="3159125"/>
          <p14:tracePt t="1948" x="7294563" y="3154363"/>
          <p14:tracePt t="1949" x="7262813" y="3154363"/>
          <p14:tracePt t="1950" x="7235825" y="3146425"/>
          <p14:tracePt t="1951" x="7178675" y="3135313"/>
          <p14:tracePt t="1952" x="7146925" y="3135313"/>
          <p14:tracePt t="1953" x="7118350" y="3130550"/>
          <p14:tracePt t="1954" x="7083425" y="3122613"/>
          <p14:tracePt t="1955" x="7054850" y="3119438"/>
          <p14:tracePt t="1956" x="7002463" y="3101975"/>
          <p14:tracePt t="1957" x="6967538" y="3101975"/>
          <p14:tracePt t="1958" x="6931025" y="3098800"/>
          <p14:tracePt t="1959" x="6894513" y="3090863"/>
          <p14:tracePt t="1960" x="6850063" y="3086100"/>
          <p14:tracePt t="1961" x="6815138" y="3078163"/>
          <p14:tracePt t="1962" x="6778625" y="3074988"/>
          <p14:tracePt t="1963" x="6742113" y="3067050"/>
          <p14:tracePt t="1964" x="6707188" y="3062288"/>
          <p14:tracePt t="1965" x="6670675" y="3054350"/>
          <p14:tracePt t="1966" x="6618288" y="3043238"/>
          <p14:tracePt t="1967" x="6581775" y="3038475"/>
          <p14:tracePt t="1968" x="6546850" y="3038475"/>
          <p14:tracePt t="1969" x="6510338" y="3030538"/>
          <p14:tracePt t="1971" x="6457950" y="3019425"/>
          <p14:tracePt t="1972" x="6386513" y="3006725"/>
          <p14:tracePt t="1973" x="6350000" y="2998788"/>
          <p14:tracePt t="1974" x="6313488" y="2994025"/>
          <p14:tracePt t="1975" x="6278563" y="2986088"/>
          <p14:tracePt t="1976" x="6218238" y="2974975"/>
          <p14:tracePt t="1977" x="6181725" y="2967038"/>
          <p14:tracePt t="1978" x="6146800" y="2962275"/>
          <p14:tracePt t="1979" x="6110288" y="2954338"/>
          <p14:tracePt t="1980" x="6065838" y="2951163"/>
          <p14:tracePt t="1981" x="6029325" y="2943225"/>
          <p14:tracePt t="1982" x="5994400" y="2938463"/>
          <p14:tracePt t="1983" x="5957888" y="2930525"/>
          <p14:tracePt t="1984" x="5921375" y="2927350"/>
          <p14:tracePt t="1985" x="5886450" y="2917825"/>
          <p14:tracePt t="1986" x="5834063" y="2914650"/>
          <p14:tracePt t="1988" x="5797550" y="2906713"/>
          <p14:tracePt t="1989" x="5734050" y="2894013"/>
          <p14:tracePt t="1990" x="5681663" y="2894013"/>
          <p14:tracePt t="1991" x="5653088" y="2890838"/>
          <p14:tracePt t="1992" x="5618163" y="2882900"/>
          <p14:tracePt t="1993" x="5592763" y="2882900"/>
          <p14:tracePt t="1994" x="5557838" y="2878138"/>
          <p14:tracePt t="1995" x="5513388" y="2870200"/>
          <p14:tracePt t="1996" x="5484813" y="2870200"/>
          <p14:tracePt t="1997" x="5457825" y="2867025"/>
          <p14:tracePt t="1998" x="5437188" y="2867025"/>
          <p14:tracePt t="1999" x="5413375" y="2862263"/>
          <p14:tracePt t="2000" x="5368925" y="2862263"/>
          <p14:tracePt t="2001" x="5349875" y="2854325"/>
          <p14:tracePt t="2002" x="5321300" y="2854325"/>
          <p14:tracePt t="2003" x="5292725" y="2851150"/>
          <p14:tracePt t="2005" x="5241925" y="2846388"/>
          <p14:tracePt t="2006" x="5221288" y="2846388"/>
          <p14:tracePt t="2007" x="5197475" y="2846388"/>
          <p14:tracePt t="2008" x="5176838" y="2843213"/>
          <p14:tracePt t="2009" x="5140325" y="2843213"/>
          <p14:tracePt t="2010" x="5121275" y="2833688"/>
          <p14:tracePt t="2011" x="5100638" y="2833688"/>
          <p14:tracePt t="2012" x="5084763" y="2833688"/>
          <p14:tracePt t="2013" x="5065713" y="2833688"/>
          <p14:tracePt t="2014" x="5029200" y="2830513"/>
          <p14:tracePt t="2015" x="5005388" y="2830513"/>
          <p14:tracePt t="2016" x="4984750" y="2830513"/>
          <p14:tracePt t="2017" x="4964113" y="2830513"/>
          <p14:tracePt t="2018" x="4945063" y="2825750"/>
          <p14:tracePt t="2019" x="4921250" y="2825750"/>
          <p14:tracePt t="2022" x="4881563" y="2825750"/>
          <p14:tracePt t="2022" x="4860925" y="2817813"/>
          <p14:tracePt t="2023" x="4845050" y="2817813"/>
          <p14:tracePt t="2024" x="4808538" y="2817813"/>
          <p14:tracePt t="2025" x="4789488" y="2814638"/>
          <p14:tracePt t="2026" x="4772025" y="2814638"/>
          <p14:tracePt t="2027" x="4752975" y="2814638"/>
          <p14:tracePt t="2028" x="4732338" y="2814638"/>
          <p14:tracePt t="2029" x="4700588" y="2809875"/>
          <p14:tracePt t="2030" x="4679950" y="2809875"/>
          <p14:tracePt t="2031" x="4660900" y="2806700"/>
          <p14:tracePt t="2032" x="4640263" y="2806700"/>
          <p14:tracePt t="2033" x="4624388" y="2806700"/>
          <p14:tracePt t="2034" x="4595813" y="2798763"/>
          <p14:tracePt t="2035" x="4576763" y="2798763"/>
          <p14:tracePt t="2036" x="4556125" y="2798763"/>
          <p14:tracePt t="2037" x="4532313" y="2794000"/>
          <p14:tracePt t="2038" x="4495800" y="2794000"/>
          <p14:tracePt t="2039" x="4476750" y="2794000"/>
          <p14:tracePt t="2040" x="4460875" y="2794000"/>
          <p14:tracePt t="2041" x="4432300" y="2790825"/>
          <p14:tracePt t="2042" x="4411663" y="2790825"/>
          <p14:tracePt t="2043" x="4392613" y="2790825"/>
          <p14:tracePt t="2044" x="4360863" y="2782888"/>
          <p14:tracePt t="2045" x="4340225" y="2782888"/>
          <p14:tracePt t="2046" x="4316413" y="2782888"/>
          <p14:tracePt t="2047" x="4295775" y="2778125"/>
          <p14:tracePt t="2048" x="4260850" y="2778125"/>
          <p14:tracePt t="2049" x="4243388" y="2778125"/>
          <p14:tracePt t="2050" x="4224338" y="2774950"/>
          <p14:tracePt t="2051" x="4195763" y="2774950"/>
          <p14:tracePt t="2053" x="4176713" y="2774950"/>
          <p14:tracePt t="2054" x="4156075" y="2770188"/>
          <p14:tracePt t="2055" x="4124325" y="2770188"/>
          <p14:tracePt t="2055" x="4103688" y="2770188"/>
          <p14:tracePt t="2056" x="4084638" y="2762250"/>
          <p14:tracePt t="2057" x="4064000" y="2762250"/>
          <p14:tracePt t="2058" x="4032250" y="2762250"/>
          <p14:tracePt t="2059" x="4011613" y="2762250"/>
          <p14:tracePt t="2060" x="3987800" y="2762250"/>
          <p14:tracePt t="2061" x="3967163" y="2759075"/>
          <p14:tracePt t="2062" x="3948113" y="2759075"/>
          <p14:tracePt t="2063" x="3916363" y="2759075"/>
          <p14:tracePt t="2064" x="3895725" y="2759075"/>
          <p14:tracePt t="2065" x="3879850" y="2759075"/>
          <p14:tracePt t="2066" x="3859213" y="2754313"/>
          <p14:tracePt t="2067" x="3840163" y="2754313"/>
          <p14:tracePt t="2068" x="3808413" y="2754313"/>
          <p14:tracePt t="2070" x="3787775" y="2754313"/>
          <p14:tracePt t="2071" x="3743325" y="2751138"/>
          <p14:tracePt t="2072" x="3724275" y="2751138"/>
          <p14:tracePt t="2073" x="3695700" y="2741613"/>
          <p14:tracePt t="2074" x="3671888" y="2741613"/>
          <p14:tracePt t="2075" x="3651250" y="2741613"/>
          <p14:tracePt t="2076" x="3632200" y="2741613"/>
          <p14:tracePt t="2077" x="3611563" y="2738438"/>
          <p14:tracePt t="2078" x="3575050" y="2738438"/>
          <p14:tracePt t="2079" x="3559175" y="2738438"/>
          <p14:tracePt t="2080" x="3540125" y="2738438"/>
          <p14:tracePt t="2081" x="3511550" y="2733675"/>
          <p14:tracePt t="2082" x="3479800" y="2733675"/>
          <p14:tracePt t="2083" x="3459163" y="2733675"/>
          <p14:tracePt t="2085" x="3440113" y="2733675"/>
          <p14:tracePt t="2087" x="3398838" y="2730500"/>
          <p14:tracePt t="2087" x="3375025" y="2730500"/>
          <p14:tracePt t="2088" x="3348038" y="2730500"/>
          <p14:tracePt t="2089" x="3327400" y="2722563"/>
          <p14:tracePt t="2090" x="3311525" y="2722563"/>
          <p14:tracePt t="2091" x="3290888" y="2722563"/>
          <p14:tracePt t="2092" x="3263900" y="2722563"/>
          <p14:tracePt t="2093" x="3246438" y="2722563"/>
          <p14:tracePt t="2094" x="3227388" y="2722563"/>
          <p14:tracePt t="2095" x="3206750" y="2722563"/>
          <p14:tracePt t="2096" x="3187700" y="2722563"/>
          <p14:tracePt t="2097" x="3167063" y="2722563"/>
          <p14:tracePt t="2098" x="3143250" y="2722563"/>
          <p14:tracePt t="2099" x="3122613" y="2722563"/>
          <p14:tracePt t="2101" x="3111500" y="2722563"/>
          <p14:tracePt t="2102" x="3090863" y="2722563"/>
          <p14:tracePt t="2103" x="3046413" y="2722563"/>
          <p14:tracePt t="2104" x="3035300" y="2722563"/>
          <p14:tracePt t="2105" x="3014663" y="2722563"/>
          <p14:tracePt t="2106" x="2995613" y="2722563"/>
          <p14:tracePt t="2107" x="2974975" y="2722563"/>
          <p14:tracePt t="2108" x="2954338" y="2722563"/>
          <p14:tracePt t="2109" x="2943225" y="2722563"/>
          <p14:tracePt t="2110" x="2922588" y="2722563"/>
          <p14:tracePt t="2111" x="2911475" y="2722563"/>
          <p14:tracePt t="2112" x="2890838" y="2722563"/>
          <p14:tracePt t="2113" x="2870200" y="2725738"/>
          <p14:tracePt t="2114" x="2859088" y="2725738"/>
          <p14:tracePt t="2115" x="2843213" y="2725738"/>
          <p14:tracePt t="2116" x="2830513" y="2725738"/>
          <p14:tracePt t="2117" x="2811463" y="2730500"/>
          <p14:tracePt t="2118" x="2798763" y="2730500"/>
          <p14:tracePt t="2119" x="2778125" y="2730500"/>
          <p14:tracePt t="2120" x="2762250" y="2730500"/>
          <p14:tracePt t="2121" x="2751138" y="2730500"/>
          <p14:tracePt t="2122" x="2730500" y="2730500"/>
          <p14:tracePt t="2123" x="2719388" y="2733675"/>
          <p14:tracePt t="2124" x="2701925" y="2733675"/>
          <p14:tracePt t="2125" x="2690813" y="2733675"/>
          <p14:tracePt t="2126" x="2674938" y="2738438"/>
          <p14:tracePt t="2127" x="2654300" y="2738438"/>
          <p14:tracePt t="2128" x="2643188" y="2738438"/>
          <p14:tracePt t="2129" x="2630488" y="2741613"/>
          <p14:tracePt t="2130" x="2614613" y="2741613"/>
          <p14:tracePt t="2131" x="2593975" y="2741613"/>
          <p14:tracePt t="2133" x="2562225" y="2751138"/>
          <p14:tracePt t="2135" x="2535238" y="2754313"/>
          <p14:tracePt t="2136" x="2514600" y="2759075"/>
          <p14:tracePt t="2137" x="2501900" y="2759075"/>
          <p14:tracePt t="2138" x="2486025" y="2759075"/>
          <p14:tracePt t="2139" x="2474913" y="2762250"/>
          <p14:tracePt t="2140" x="2454275" y="2762250"/>
          <p14:tracePt t="2141" x="2443163" y="2767013"/>
          <p14:tracePt t="2142" x="2422525" y="2767013"/>
          <p14:tracePt t="2143" x="2401888" y="2774950"/>
          <p14:tracePt t="2144" x="2386013" y="2774950"/>
          <p14:tracePt t="2145" x="2378075" y="2778125"/>
          <p14:tracePt t="2146" x="2359025" y="2782888"/>
          <p14:tracePt t="2147" x="2346325" y="2782888"/>
          <p14:tracePt t="2149" x="2330450" y="2786063"/>
          <p14:tracePt t="2149" x="2317750" y="2786063"/>
          <p14:tracePt t="2150" x="2298700" y="2790825"/>
          <p14:tracePt t="2151" x="2278063" y="2798763"/>
          <p14:tracePt t="2153" x="2270125" y="2801938"/>
          <p14:tracePt t="2153" x="2259013" y="2801938"/>
          <p14:tracePt t="2154" x="2241550" y="2806700"/>
          <p14:tracePt t="2155" x="2233613" y="2809875"/>
          <p14:tracePt t="2156" x="2214563" y="2814638"/>
          <p14:tracePt t="2157" x="2198688" y="2814638"/>
          <p14:tracePt t="2158" x="2185988" y="2817813"/>
          <p14:tracePt t="2169" x="2065338" y="2862263"/>
          <p14:tracePt t="2169" x="2057400" y="2867025"/>
          <p14:tracePt t="2171" x="2033588" y="2874963"/>
          <p14:tracePt t="2172" x="2022475" y="2878138"/>
          <p14:tracePt t="2173" x="2014538" y="2882900"/>
          <p14:tracePt t="2174" x="2006600" y="2886075"/>
          <p14:tracePt t="2175" x="1993900" y="2890838"/>
          <p14:tracePt t="2176" x="1981200" y="2898775"/>
          <p14:tracePt t="2177" x="1973263" y="2901950"/>
          <p14:tracePt t="2178" x="1957388" y="2906713"/>
          <p14:tracePt t="2179" x="1949450" y="2909888"/>
          <p14:tracePt t="2180" x="1933575" y="2914650"/>
          <p14:tracePt t="2181" x="1925638" y="2917825"/>
          <p14:tracePt t="2182" x="1917700" y="2922588"/>
          <p14:tracePt t="2183" x="1909763" y="2935288"/>
          <p14:tracePt t="2185" x="1901825" y="2938463"/>
          <p14:tracePt t="2185" x="1885950" y="2943225"/>
          <p14:tracePt t="2186" x="1878013" y="2946400"/>
          <p14:tracePt t="2188" x="1857375" y="2959100"/>
          <p14:tracePt t="2189" x="1849438" y="2962275"/>
          <p14:tracePt t="2190" x="1838325" y="2974975"/>
          <p14:tracePt t="2191" x="1825625" y="2978150"/>
          <p14:tracePt t="2192" x="1817688" y="2982913"/>
          <p14:tracePt t="2193" x="1809750" y="2986088"/>
          <p14:tracePt t="2194" x="1801813" y="2990850"/>
          <p14:tracePt t="2195" x="1793875" y="2994025"/>
          <p14:tracePt t="2196" x="1785938" y="2998788"/>
          <p14:tracePt t="2197" x="1773238" y="3001963"/>
          <p14:tracePt t="2198" x="1765300" y="3014663"/>
          <p14:tracePt t="2199" x="1757363" y="3019425"/>
          <p14:tracePt t="2200" x="1749425" y="3027363"/>
          <p14:tracePt t="2201" x="1746250" y="3030538"/>
          <p14:tracePt t="2202" x="1738313" y="3035300"/>
          <p14:tracePt t="2203" x="1725613" y="3043238"/>
          <p14:tracePt t="2204" x="1717675" y="3046413"/>
          <p14:tracePt t="2205" x="1709738" y="3059113"/>
          <p14:tracePt t="2206" x="1704975" y="3062288"/>
          <p14:tracePt t="2207" x="1697038" y="3070225"/>
          <p14:tracePt t="2208" x="1693863" y="3074988"/>
          <p14:tracePt t="2209" x="1689100" y="3074988"/>
          <p14:tracePt t="2210" x="1681163" y="3086100"/>
          <p14:tracePt t="2211" x="1673225" y="3090863"/>
          <p14:tracePt t="2212" x="1670050" y="3098800"/>
          <p14:tracePt t="2213" x="1665288" y="3101975"/>
          <p14:tracePt t="2214" x="1657350" y="3111500"/>
          <p14:tracePt t="2215" x="1654175" y="3114675"/>
          <p14:tracePt t="2216" x="1646238" y="3122613"/>
          <p14:tracePt t="2218" x="1638300" y="3135313"/>
          <p14:tracePt t="2219" x="1630363" y="3138488"/>
          <p14:tracePt t="2221" x="1612900" y="3154363"/>
          <p14:tracePt t="2222" x="1612900" y="3159125"/>
          <p14:tracePt t="2223" x="1609725" y="3162300"/>
          <p14:tracePt t="2224" x="1601788" y="3170238"/>
          <p14:tracePt t="2225" x="1593850" y="3178175"/>
          <p14:tracePt t="2226" x="1593850" y="3182938"/>
          <p14:tracePt t="2227" x="1589088" y="3190875"/>
          <p14:tracePt t="2228" x="1585913" y="3194050"/>
          <p14:tracePt t="2229" x="1577975" y="3203575"/>
          <p14:tracePt t="2230" x="1573213" y="3206750"/>
          <p14:tracePt t="2231" x="1570038" y="3214688"/>
          <p14:tracePt t="2232" x="1565275" y="3219450"/>
          <p14:tracePt t="2233" x="1562100" y="3222625"/>
          <p14:tracePt t="2235" x="1557338" y="3230563"/>
          <p14:tracePt t="2235" x="1554163" y="3238500"/>
          <p14:tracePt t="2236" x="1549400" y="3243263"/>
          <p14:tracePt t="2238" x="1546225" y="3246438"/>
          <p14:tracePt t="2238" x="1541463" y="3254375"/>
          <p14:tracePt t="2239" x="1538288" y="3262313"/>
          <p14:tracePt t="2240" x="1533525" y="3267075"/>
          <p14:tracePt t="2241" x="1528763" y="3275013"/>
          <p14:tracePt t="2243" x="1525588" y="3278188"/>
          <p14:tracePt t="2243" x="1525588" y="3282950"/>
          <p14:tracePt t="2244" x="1517650" y="3290888"/>
          <p14:tracePt t="2245" x="1517650" y="3298825"/>
          <p14:tracePt t="2246" x="1512888" y="3303588"/>
          <p14:tracePt t="2247" x="1509713" y="3311525"/>
          <p14:tracePt t="2248" x="1504950" y="3314700"/>
          <p14:tracePt t="2249" x="1501775" y="3322638"/>
          <p14:tracePt t="2250" x="1497013" y="3327400"/>
          <p14:tracePt t="2251" x="1497013" y="3330575"/>
          <p14:tracePt t="2252" x="1493838" y="3338513"/>
          <p14:tracePt t="2253" x="1489075" y="3338513"/>
          <p14:tracePt t="2254" x="1485900" y="3346450"/>
          <p14:tracePt t="2255" x="1485900" y="3351213"/>
          <p14:tracePt t="2256" x="1481138" y="3359150"/>
          <p14:tracePt t="2258" x="1481138" y="3362325"/>
          <p14:tracePt t="2258" x="1477963" y="3370263"/>
          <p14:tracePt t="2259" x="1477963" y="3375025"/>
          <p14:tracePt t="2260" x="1473200" y="3378200"/>
          <p14:tracePt t="2261" x="1473200" y="3387725"/>
          <p14:tracePt t="2262" x="1473200" y="3390900"/>
          <p14:tracePt t="2263" x="1473200" y="3395663"/>
          <p14:tracePt t="2264" x="1470025" y="3403600"/>
          <p14:tracePt t="2265" x="1470025" y="3406775"/>
          <p14:tracePt t="2266" x="1465263" y="3411538"/>
          <p14:tracePt t="2268" x="1462088" y="3422650"/>
          <p14:tracePt t="2270" x="1462088" y="3427413"/>
          <p14:tracePt t="2271" x="1457325" y="3430588"/>
          <p14:tracePt t="2272" x="1457325" y="3435350"/>
          <p14:tracePt t="2273" x="1457325" y="3438525"/>
          <p14:tracePt t="2274" x="1454150" y="3443288"/>
          <p14:tracePt t="2275" x="1454150" y="3446463"/>
          <p14:tracePt t="2276" x="1449388" y="3451225"/>
          <p14:tracePt t="2277" x="1449388" y="3454400"/>
          <p14:tracePt t="2278" x="1449388" y="3459163"/>
          <p14:tracePt t="2279" x="1446213" y="3462338"/>
          <p14:tracePt t="2281" x="1446213" y="3467100"/>
          <p14:tracePt t="2282" x="1446213" y="3470275"/>
          <p14:tracePt t="2283" x="1441450" y="3475038"/>
          <p14:tracePt t="2285" x="1441450" y="3479800"/>
          <p14:tracePt t="2285" x="1441450" y="3482975"/>
          <p14:tracePt t="2286" x="1441450" y="3487738"/>
          <p14:tracePt t="2288" x="1441450" y="3490913"/>
          <p14:tracePt t="2290" x="1436688" y="3498850"/>
          <p14:tracePt t="2291" x="1436688" y="3503613"/>
          <p14:tracePt t="2292" x="1436688" y="3506788"/>
          <p14:tracePt t="2294" x="1436688" y="3511550"/>
          <p14:tracePt t="2295" x="1436688" y="3514725"/>
          <p14:tracePt t="2296" x="1436688" y="3519488"/>
          <p14:tracePt t="2297" x="1436688" y="3522663"/>
          <p14:tracePt t="2298" x="1436688" y="3527425"/>
          <p14:tracePt t="2300" x="1436688" y="3530600"/>
          <p14:tracePt t="2301" x="1436688" y="3535363"/>
          <p14:tracePt t="2303" x="1436688" y="3538538"/>
          <p14:tracePt t="2303" x="1436688" y="3543300"/>
          <p14:tracePt t="2304" x="1436688" y="3546475"/>
          <p14:tracePt t="2306" x="1436688" y="3551238"/>
          <p14:tracePt t="2307" x="1436688" y="3554413"/>
          <p14:tracePt t="2308" x="1436688" y="3559175"/>
          <p14:tracePt t="2309" x="1441450" y="3562350"/>
          <p14:tracePt t="2310" x="1441450" y="3567113"/>
          <p14:tracePt t="2311" x="1446213" y="3571875"/>
          <p14:tracePt t="2312" x="1446213" y="3575050"/>
          <p14:tracePt t="2313" x="1449388" y="3579813"/>
          <p14:tracePt t="2315" x="1449388" y="3582988"/>
          <p14:tracePt t="2316" x="1449388" y="3587750"/>
          <p14:tracePt t="2317" x="1454150" y="3587750"/>
          <p14:tracePt t="2318" x="1457325" y="3590925"/>
          <p14:tracePt t="2320" x="1462088" y="3595688"/>
          <p14:tracePt t="2321" x="1462088" y="3603625"/>
          <p14:tracePt t="2322" x="1465263" y="3606800"/>
          <p14:tracePt t="2323" x="1465263" y="3611563"/>
          <p14:tracePt t="2324" x="1470025" y="3614738"/>
          <p14:tracePt t="2325" x="1470025" y="3619500"/>
          <p14:tracePt t="2326" x="1473200" y="3619500"/>
          <p14:tracePt t="2327" x="1477963" y="3627438"/>
          <p14:tracePt t="2328" x="1481138" y="3630613"/>
          <p14:tracePt t="2329" x="1485900" y="3635375"/>
          <p14:tracePt t="2330" x="1489075" y="3635375"/>
          <p14:tracePt t="2331" x="1493838" y="3638550"/>
          <p14:tracePt t="2332" x="1497013" y="3643313"/>
          <p14:tracePt t="2333" x="1501775" y="3646488"/>
          <p14:tracePt t="2335" x="1504950" y="3651250"/>
          <p14:tracePt t="2336" x="1509713" y="3659188"/>
          <p14:tracePt t="2338" x="1517650" y="3667125"/>
          <p14:tracePt t="2338" x="1520825" y="3671888"/>
          <p14:tracePt t="2339" x="1525588" y="3675063"/>
          <p14:tracePt t="2340" x="1528763" y="3679825"/>
          <p14:tracePt t="2341" x="1533525" y="3683000"/>
          <p14:tracePt t="2342" x="1538288" y="3687763"/>
          <p14:tracePt t="2343" x="1541463" y="3687763"/>
          <p14:tracePt t="2344" x="1546225" y="3690938"/>
          <p14:tracePt t="2345" x="1554163" y="3695700"/>
          <p14:tracePt t="2346" x="1557338" y="3698875"/>
          <p14:tracePt t="2347" x="1562100" y="3703638"/>
          <p14:tracePt t="2348" x="1565275" y="3706813"/>
          <p14:tracePt t="2351" x="1573213" y="3714750"/>
          <p14:tracePt t="2353" x="1577975" y="3719513"/>
          <p14:tracePt t="2353" x="1581150" y="3722688"/>
          <p14:tracePt t="2355" x="1589088" y="3727450"/>
          <p14:tracePt t="2356" x="1597025" y="3730625"/>
          <p14:tracePt t="2357" x="1601788" y="3735388"/>
          <p14:tracePt t="2359" x="1604963" y="3738563"/>
          <p14:tracePt t="2360" x="1609725" y="3738563"/>
          <p14:tracePt t="2361" x="1617663" y="3743325"/>
          <p14:tracePt t="2362" x="1620838" y="3746500"/>
          <p14:tracePt t="2363" x="1620838" y="3751263"/>
          <p14:tracePt t="2364" x="1625600" y="3756025"/>
          <p14:tracePt t="2366" x="1633538" y="3759200"/>
          <p14:tracePt t="2367" x="1638300" y="3763963"/>
          <p14:tracePt t="2368" x="1641475" y="3763963"/>
          <p14:tracePt t="2369" x="1646238" y="3767138"/>
          <p14:tracePt t="2371" x="1654175" y="3775075"/>
          <p14:tracePt t="2372" x="1657350" y="3779838"/>
          <p14:tracePt t="2373" x="1662113" y="3779838"/>
          <p14:tracePt t="2374" x="1665288" y="3783013"/>
          <p14:tracePt t="2375" x="1673225" y="3787775"/>
          <p14:tracePt t="2376" x="1677988" y="3787775"/>
          <p14:tracePt t="2377" x="1685925" y="3790950"/>
          <p14:tracePt t="2378" x="1685925" y="3795713"/>
          <p14:tracePt t="2379" x="1689100" y="3795713"/>
          <p14:tracePt t="2380" x="1693863" y="3798888"/>
          <p14:tracePt t="2381" x="1701800" y="3803650"/>
          <p14:tracePt t="2382" x="1704975" y="3806825"/>
          <p14:tracePt t="2383" x="1709738" y="3811588"/>
          <p14:tracePt t="2385" x="1712913" y="3814763"/>
          <p14:tracePt t="2385" x="1722438" y="3814763"/>
          <p14:tracePt t="2387" x="1725613" y="3819525"/>
          <p14:tracePt t="2388" x="1738313" y="3827463"/>
          <p14:tracePt t="2389" x="1746250" y="3830638"/>
          <p14:tracePt t="2390" x="1754188" y="3835400"/>
          <p14:tracePt t="2391" x="1757363" y="3838575"/>
          <p14:tracePt t="2392" x="1765300" y="3843338"/>
          <p14:tracePt t="2393" x="1770063" y="3848100"/>
          <p14:tracePt t="2394" x="1778000" y="3851275"/>
          <p14:tracePt t="2395" x="1785938" y="3856038"/>
          <p14:tracePt t="2396" x="1789113" y="3859213"/>
          <p14:tracePt t="2397" x="1797050" y="3863975"/>
          <p14:tracePt t="2398" x="1804988" y="3871913"/>
          <p14:tracePt t="2399" x="1814513" y="3875088"/>
          <p14:tracePt t="2400" x="1825625" y="3879850"/>
          <p14:tracePt t="2402" x="1833563" y="3883025"/>
          <p14:tracePt t="2402" x="1841500" y="3887788"/>
          <p14:tracePt t="2403" x="1849438" y="3890963"/>
          <p14:tracePt t="2405" x="1873250" y="3903663"/>
          <p14:tracePt t="2406" x="1881188" y="3911600"/>
          <p14:tracePt t="2407" x="1889125" y="3914775"/>
          <p14:tracePt t="2408" x="1906588" y="3919538"/>
          <p14:tracePt t="2409" x="1914525" y="3922713"/>
          <p14:tracePt t="2410" x="1925638" y="3930650"/>
          <p14:tracePt t="2411" x="1938338" y="3935413"/>
          <p14:tracePt t="2412" x="1949450" y="3940175"/>
          <p14:tracePt t="2413" x="1965325" y="3948113"/>
          <p14:tracePt t="2414" x="1978025" y="3951288"/>
          <p14:tracePt t="2415" x="1985963" y="3956050"/>
          <p14:tracePt t="2416" x="2001838" y="3963988"/>
          <p14:tracePt t="2417" x="2017713" y="3971925"/>
          <p14:tracePt t="2418" x="2025650" y="3975100"/>
          <p14:tracePt t="2419" x="2038350" y="3979863"/>
          <p14:tracePt t="2420" x="2057400" y="3990975"/>
          <p14:tracePt t="2422" x="2073275" y="3995738"/>
          <p14:tracePt t="2422" x="2082800" y="3998913"/>
          <p14:tracePt t="2423" x="2098675" y="4003675"/>
          <p14:tracePt t="2424" x="2117725" y="4011613"/>
          <p14:tracePt t="2425" x="2130425" y="4014788"/>
          <p14:tracePt t="2426" x="2146300" y="4024313"/>
          <p14:tracePt t="2427" x="2157413" y="4024313"/>
          <p14:tracePt t="2428" x="2174875" y="4032250"/>
          <p14:tracePt t="2429" x="2193925" y="4040188"/>
          <p14:tracePt t="2430" x="2206625" y="4043363"/>
          <p14:tracePt t="2431" x="2222500" y="4048125"/>
          <p14:tracePt t="2432" x="2233613" y="4051300"/>
          <p14:tracePt t="2433" x="2249488" y="4056063"/>
          <p14:tracePt t="2435" x="2274888" y="4067175"/>
          <p14:tracePt t="2435" x="2290763" y="4067175"/>
          <p14:tracePt t="2436" x="2301875" y="4071938"/>
          <p14:tracePt t="2438" x="2330450" y="4083050"/>
          <p14:tracePt t="2439" x="2359025" y="4090988"/>
          <p14:tracePt t="2440" x="2374900" y="4098925"/>
          <p14:tracePt t="2441" x="2386013" y="4103688"/>
          <p14:tracePt t="2442" x="2406650" y="4103688"/>
          <p14:tracePt t="2443" x="2417763" y="4106863"/>
          <p14:tracePt t="2444" x="2438400" y="4111625"/>
          <p14:tracePt t="2445" x="2459038" y="4116388"/>
          <p14:tracePt t="2446" x="2474913" y="4124325"/>
          <p14:tracePt t="2447" x="2486025" y="4124325"/>
          <p14:tracePt t="2448" x="2506663" y="4127500"/>
          <p14:tracePt t="2449" x="2525713" y="4132263"/>
          <p14:tracePt t="2450" x="2543175" y="4135438"/>
          <p14:tracePt t="2451" x="2559050" y="4135438"/>
          <p14:tracePt t="2452" x="2574925" y="4140200"/>
          <p14:tracePt t="2453" x="2593975" y="4148138"/>
          <p14:tracePt t="2454" x="2609850" y="4148138"/>
          <p14:tracePt t="2455" x="2627313" y="4151313"/>
          <p14:tracePt t="2456" x="2646363" y="4156075"/>
          <p14:tracePt t="2457" x="2659063" y="4156075"/>
          <p14:tracePt t="2458" x="2674938" y="4159250"/>
          <p14:tracePt t="2459" x="2698750" y="4159250"/>
          <p14:tracePt t="2460" x="2714625" y="4164013"/>
          <p14:tracePt t="2461" x="2727325" y="4164013"/>
          <p14:tracePt t="2462" x="2743200" y="4167188"/>
          <p14:tracePt t="2463" x="2759075" y="4167188"/>
          <p14:tracePt t="2464" x="2778125" y="4175125"/>
          <p14:tracePt t="2465" x="2794000" y="4175125"/>
          <p14:tracePt t="2466" x="2806700" y="4179888"/>
          <p14:tracePt t="2467" x="2822575" y="4179888"/>
          <p14:tracePt t="2468" x="2843213" y="4183063"/>
          <p14:tracePt t="2469" x="2859088" y="4183063"/>
          <p14:tracePt t="2471" x="2874963" y="4183063"/>
          <p14:tracePt t="2472" x="2886075" y="4187825"/>
          <p14:tracePt t="2472" x="2903538" y="4187825"/>
          <p14:tracePt t="2473" x="2914650" y="4187825"/>
          <p14:tracePt t="2474" x="2935288" y="4191000"/>
          <p14:tracePt t="2475" x="2946400" y="4191000"/>
          <p14:tracePt t="2476" x="2962275" y="4191000"/>
          <p14:tracePt t="2477" x="2974975" y="4191000"/>
          <p14:tracePt t="2478" x="2995613" y="4191000"/>
          <p14:tracePt t="2479" x="3011488" y="4198938"/>
          <p14:tracePt t="2480" x="3022600" y="4198938"/>
          <p14:tracePt t="2481" x="3030538" y="4198938"/>
          <p14:tracePt t="2482" x="3046413" y="4198938"/>
          <p14:tracePt t="2483" x="3062288" y="4198938"/>
          <p14:tracePt t="2484" x="3079750" y="4198938"/>
          <p14:tracePt t="2486" x="3098800" y="4198938"/>
          <p14:tracePt t="2487" x="3114675" y="4198938"/>
          <p14:tracePt t="2488" x="3127375" y="4198938"/>
          <p14:tracePt t="2489" x="3138488" y="4198938"/>
          <p14:tracePt t="2490" x="3154363" y="4198938"/>
          <p14:tracePt t="2491" x="3167063" y="4198938"/>
          <p14:tracePt t="2492" x="3187700" y="4198938"/>
          <p14:tracePt t="2493" x="3203575" y="4195763"/>
          <p14:tracePt t="2494" x="3211513" y="4195763"/>
          <p14:tracePt t="2495" x="3222625" y="4195763"/>
          <p14:tracePt t="2496" x="3235325" y="4195763"/>
          <p14:tracePt t="2497" x="3246438" y="4191000"/>
          <p14:tracePt t="2498" x="3263900" y="4191000"/>
          <p14:tracePt t="2499" x="3275013" y="4187825"/>
          <p14:tracePt t="2500" x="3282950" y="4187825"/>
          <p14:tracePt t="2501" x="3295650" y="4187825"/>
          <p14:tracePt t="2502" x="3311525" y="4183063"/>
          <p14:tracePt t="2503" x="3322638" y="4179888"/>
          <p14:tracePt t="2504" x="3338513" y="4179888"/>
          <p14:tracePt t="2505" x="3348038" y="4175125"/>
          <p14:tracePt t="2506" x="3359150" y="4175125"/>
          <p14:tracePt t="2507" x="3375025" y="4171950"/>
          <p14:tracePt t="2508" x="3387725" y="4171950"/>
          <p14:tracePt t="2509" x="3395663" y="4167188"/>
          <p14:tracePt t="2510" x="3411538" y="4159250"/>
          <p14:tracePt t="2511" x="3422650" y="4159250"/>
          <p14:tracePt t="2512" x="3440113" y="4156075"/>
          <p14:tracePt t="2513" x="3448050" y="4151313"/>
          <p14:tracePt t="2514" x="3459163" y="4148138"/>
          <p14:tracePt t="2515" x="3475038" y="4148138"/>
          <p14:tracePt t="2516" x="3487738" y="4143375"/>
          <p14:tracePt t="2517" x="3503613" y="4140200"/>
          <p14:tracePt t="2518" x="3514725" y="4140200"/>
          <p14:tracePt t="2519" x="3532188" y="4132263"/>
          <p14:tracePt t="2521" x="3540125" y="4127500"/>
          <p14:tracePt t="2521" x="3551238" y="4127500"/>
          <p14:tracePt t="2522" x="3571875" y="4119563"/>
          <p14:tracePt t="2523" x="3582988" y="4119563"/>
          <p14:tracePt t="2524" x="3595688" y="4116388"/>
          <p14:tracePt t="2525" x="3611563" y="4106863"/>
          <p14:tracePt t="2526" x="3624263" y="4103688"/>
          <p14:tracePt t="2527" x="3640138" y="4098925"/>
          <p14:tracePt t="2528" x="3651250" y="4095750"/>
          <p14:tracePt t="2529" x="3667125" y="4090988"/>
          <p14:tracePt t="2530" x="3679825" y="4087813"/>
          <p14:tracePt t="2531" x="3687763" y="4087813"/>
          <p14:tracePt t="2532" x="3708400" y="4075113"/>
          <p14:tracePt t="2533" x="3724275" y="4071938"/>
          <p14:tracePt t="2535" x="3735388" y="4067175"/>
          <p14:tracePt t="2535" x="3751263" y="4064000"/>
          <p14:tracePt t="2537" x="3763963" y="4056063"/>
          <p14:tracePt t="2538" x="3779838" y="4051300"/>
          <p14:tracePt t="2539" x="3790950" y="4048125"/>
          <p14:tracePt t="2539" x="3803650" y="4043363"/>
          <p14:tracePt t="2540" x="3816350" y="4040188"/>
          <p14:tracePt t="2541" x="3832225" y="4035425"/>
          <p14:tracePt t="2542" x="3843338" y="4027488"/>
          <p14:tracePt t="2543" x="3859213" y="4024313"/>
          <p14:tracePt t="2544" x="3871913" y="4019550"/>
          <p14:tracePt t="2545" x="3887788" y="4014788"/>
          <p14:tracePt t="2546" x="3900488" y="4006850"/>
          <p14:tracePt t="2547" x="3916363" y="3998913"/>
          <p14:tracePt t="2548" x="3924300" y="3995738"/>
          <p14:tracePt t="2549" x="3935413" y="3990975"/>
          <p14:tracePt t="2550" x="3948113" y="3987800"/>
          <p14:tracePt t="2551" x="3959225" y="3983038"/>
          <p14:tracePt t="2552" x="3976688" y="3979863"/>
          <p14:tracePt t="2553" x="3984625" y="3975100"/>
          <p14:tracePt t="2555" x="3992563" y="3967163"/>
          <p14:tracePt t="2556" x="4019550" y="3959225"/>
          <p14:tracePt t="2557" x="4035425" y="3956050"/>
          <p14:tracePt t="2558" x="4043363" y="3951288"/>
          <p14:tracePt t="2559" x="4051300" y="3948113"/>
          <p14:tracePt t="2560" x="4059238" y="3943350"/>
          <p14:tracePt t="2561" x="4076700" y="3940175"/>
          <p14:tracePt t="2562" x="4084638" y="3930650"/>
          <p14:tracePt t="2563" x="4092575" y="3927475"/>
          <p14:tracePt t="2564" x="4100513" y="3922713"/>
          <p14:tracePt t="2565" x="4108450" y="3919538"/>
          <p14:tracePt t="2566" x="4124325" y="3914775"/>
          <p14:tracePt t="2567" x="4132263" y="3911600"/>
          <p14:tracePt t="2569" x="4156075" y="3903663"/>
          <p14:tracePt t="2570" x="4164013" y="3898900"/>
          <p14:tracePt t="2572" x="4171950" y="3890963"/>
          <p14:tracePt t="2573" x="4192588" y="3883025"/>
          <p14:tracePt t="2574" x="4203700" y="3879850"/>
          <p14:tracePt t="2575" x="4211638" y="3875088"/>
          <p14:tracePt t="2576" x="4219575" y="3871913"/>
          <p14:tracePt t="2577" x="4232275" y="3867150"/>
          <p14:tracePt t="2578" x="4240213" y="3863975"/>
          <p14:tracePt t="2579" x="4248150" y="3859213"/>
          <p14:tracePt t="2580" x="4264025" y="3851275"/>
          <p14:tracePt t="2581" x="4271963" y="3848100"/>
          <p14:tracePt t="2582" x="4279900" y="3843338"/>
          <p14:tracePt t="2583" x="4287838" y="3838575"/>
          <p14:tracePt t="2585" x="4292600" y="3835400"/>
          <p14:tracePt t="2585" x="4300538" y="3830638"/>
          <p14:tracePt t="2586" x="4316413" y="3827463"/>
          <p14:tracePt t="2587" x="4324350" y="3822700"/>
          <p14:tracePt t="2589" x="4332288" y="3822700"/>
          <p14:tracePt t="2589" x="4340225" y="3819525"/>
          <p14:tracePt t="2590" x="4348163" y="3814763"/>
          <p14:tracePt t="2591" x="4356100" y="3811588"/>
          <p14:tracePt t="2592" x="4364038" y="3806825"/>
          <p14:tracePt t="2593" x="4376738" y="3806825"/>
          <p14:tracePt t="2594" x="4384675" y="3803650"/>
          <p14:tracePt t="2595" x="4392613" y="3795713"/>
          <p14:tracePt t="2596" x="4400550" y="3790950"/>
          <p14:tracePt t="2597" x="4408488" y="3787775"/>
          <p14:tracePt t="2598" x="4416425" y="3787775"/>
          <p14:tracePt t="2599" x="4429125" y="3783013"/>
          <p14:tracePt t="2600" x="4437063" y="3779838"/>
          <p14:tracePt t="2601" x="4445000" y="3779838"/>
          <p14:tracePt t="2602" x="4452938" y="3775075"/>
          <p14:tracePt t="2603" x="4460875" y="3771900"/>
          <p14:tracePt t="2604" x="4468813" y="3767138"/>
          <p14:tracePt t="2606" x="4487863" y="3763963"/>
          <p14:tracePt t="2607" x="4495800" y="3759200"/>
          <p14:tracePt t="2608" x="4503738" y="3759200"/>
          <p14:tracePt t="2609" x="4508500" y="3756025"/>
          <p14:tracePt t="2610" x="4521200" y="3756025"/>
          <p14:tracePt t="2611" x="4529138" y="3751263"/>
          <p14:tracePt t="2612" x="4537075" y="3743325"/>
          <p14:tracePt t="2613" x="4540250" y="3743325"/>
          <p14:tracePt t="2614" x="4548188" y="3743325"/>
          <p14:tracePt t="2615" x="4560888" y="3738563"/>
          <p14:tracePt t="2617" x="4572000" y="3735388"/>
          <p14:tracePt t="2618" x="4584700" y="3730625"/>
          <p14:tracePt t="2619" x="4592638" y="3730625"/>
          <p14:tracePt t="2621" x="4608513" y="3727450"/>
          <p14:tracePt t="2623" x="4616450" y="3722688"/>
          <p14:tracePt t="2623" x="4624388" y="3722688"/>
          <p14:tracePt t="2624" x="4632325" y="3719513"/>
          <p14:tracePt t="2625" x="4640263" y="3719513"/>
          <p14:tracePt t="2626" x="4652963" y="3714750"/>
          <p14:tracePt t="2627" x="4660900" y="3714750"/>
          <p14:tracePt t="2628" x="4660900" y="3711575"/>
          <p14:tracePt t="2629" x="4668838" y="3711575"/>
          <p14:tracePt t="2630" x="4684713" y="3706813"/>
          <p14:tracePt t="2631" x="4692650" y="3706813"/>
          <p14:tracePt t="2632" x="4697413" y="3703638"/>
          <p14:tracePt t="2633" x="4705350" y="3703638"/>
          <p14:tracePt t="2635" x="4716463" y="3698875"/>
          <p14:tracePt t="2635" x="4724400" y="3698875"/>
          <p14:tracePt t="2637" x="4737100" y="3695700"/>
          <p14:tracePt t="2638" x="4745038" y="3695700"/>
          <p14:tracePt t="2639" x="4760913" y="3690938"/>
          <p14:tracePt t="2640" x="4768850" y="3690938"/>
          <p14:tracePt t="2641" x="4776788" y="3687763"/>
          <p14:tracePt t="2642" x="4784725" y="3687763"/>
          <p14:tracePt t="2643" x="4792663" y="3687763"/>
          <p14:tracePt t="2644" x="4808538" y="3687763"/>
          <p14:tracePt t="2645" x="4816475" y="3679825"/>
          <p14:tracePt t="2646" x="4824413" y="3679825"/>
          <p14:tracePt t="2647" x="4832350" y="3679825"/>
          <p14:tracePt t="2648" x="4840288" y="3675063"/>
          <p14:tracePt t="2649" x="4848225" y="3675063"/>
          <p14:tracePt t="2650" x="4856163" y="3675063"/>
          <p14:tracePt t="2651" x="4864100" y="3671888"/>
          <p14:tracePt t="2653" x="4872038" y="3671888"/>
          <p14:tracePt t="2654" x="4897438" y="3667125"/>
          <p14:tracePt t="2655" x="4905375" y="3667125"/>
          <p14:tracePt t="2656" x="4913313" y="3667125"/>
          <p14:tracePt t="2657" x="4921250" y="3667125"/>
          <p14:tracePt t="2658" x="4929188" y="3663950"/>
          <p14:tracePt t="2659" x="4937125" y="3663950"/>
          <p14:tracePt t="2660" x="4945063" y="3663950"/>
          <p14:tracePt t="2661" x="4956175" y="3659188"/>
          <p14:tracePt t="2662" x="4964113" y="3659188"/>
          <p14:tracePt t="2663" x="4973638" y="3659188"/>
          <p14:tracePt t="2664" x="4984750" y="3654425"/>
          <p14:tracePt t="2665" x="4992688" y="3654425"/>
          <p14:tracePt t="2666" x="5000625" y="3651250"/>
          <p14:tracePt t="2667" x="5008563" y="3651250"/>
          <p14:tracePt t="2668" x="5024438" y="3651250"/>
          <p14:tracePt t="2670" x="5032375" y="3646488"/>
          <p14:tracePt t="2671" x="5040313" y="3646488"/>
          <p14:tracePt t="2671" x="5048250" y="3646488"/>
          <p14:tracePt t="2672" x="5056188" y="3638550"/>
          <p14:tracePt t="2673" x="5065713" y="3638550"/>
          <p14:tracePt t="2674" x="5081588" y="3635375"/>
          <p14:tracePt t="2675" x="5089525" y="3635375"/>
          <p14:tracePt t="2676" x="5097463" y="3630613"/>
          <p14:tracePt t="2677" x="5113338" y="3630613"/>
          <p14:tracePt t="2678" x="5121275" y="3630613"/>
          <p14:tracePt t="2679" x="5132388" y="3627438"/>
          <p14:tracePt t="2680" x="5140325" y="3627438"/>
          <p14:tracePt t="2681" x="5149850" y="3627438"/>
          <p14:tracePt t="2682" x="5165725" y="3622675"/>
          <p14:tracePt t="2683" x="5173663" y="3622675"/>
          <p14:tracePt t="2685" x="5184775" y="3622675"/>
          <p14:tracePt t="2685" x="5200650" y="3619500"/>
          <p14:tracePt t="2686" x="5208588" y="3619500"/>
          <p14:tracePt t="2687" x="5221288" y="3619500"/>
          <p14:tracePt t="2688" x="5237163" y="3611563"/>
          <p14:tracePt t="2689" x="5245100" y="3611563"/>
          <p14:tracePt t="2690" x="5257800" y="3611563"/>
          <p14:tracePt t="2691" x="5265738" y="3606800"/>
          <p14:tracePt t="2692" x="5281613" y="3606800"/>
          <p14:tracePt t="2693" x="5292725" y="3603625"/>
          <p14:tracePt t="2694" x="5308600" y="3603625"/>
          <p14:tracePt t="2695" x="5316538" y="3603625"/>
          <p14:tracePt t="2696" x="5329238" y="3603625"/>
          <p14:tracePt t="2697" x="5345113" y="3598863"/>
          <p14:tracePt t="2698" x="5357813" y="3598863"/>
          <p14:tracePt t="2699" x="5368925" y="3598863"/>
          <p14:tracePt t="2700" x="5381625" y="3598863"/>
          <p14:tracePt t="2701" x="5392738" y="3598863"/>
          <p14:tracePt t="2703" x="5405438" y="3595688"/>
          <p14:tracePt t="2703" x="5421313" y="3595688"/>
          <p14:tracePt t="2704" x="5434013" y="3595688"/>
          <p14:tracePt t="2705" x="5449888" y="3590925"/>
          <p14:tracePt t="2706" x="5457825" y="3590925"/>
          <p14:tracePt t="2707" x="5468938" y="3590925"/>
          <p14:tracePt t="2708" x="5489575" y="3582988"/>
          <p14:tracePt t="2709" x="5505450" y="3582988"/>
          <p14:tracePt t="2710" x="5518150" y="3579813"/>
          <p14:tracePt t="2711" x="5534025" y="3579813"/>
          <p14:tracePt t="2712" x="5549900" y="3579813"/>
          <p14:tracePt t="2713" x="5557838" y="3575050"/>
          <p14:tracePt t="2714" x="5573713" y="3575050"/>
          <p14:tracePt t="2715" x="5584825" y="3575050"/>
          <p14:tracePt t="2716" x="5602288" y="3575050"/>
          <p14:tracePt t="2717" x="5621338" y="3571875"/>
          <p14:tracePt t="2718" x="5634038" y="3571875"/>
          <p14:tracePt t="2719" x="5645150" y="3571875"/>
          <p14:tracePt t="2720" x="5661025" y="3571875"/>
          <p14:tracePt t="2721" x="5673725" y="3567113"/>
          <p14:tracePt t="2722" x="5694363" y="3567113"/>
          <p14:tracePt t="2723" x="5713413" y="3567113"/>
          <p14:tracePt t="2724" x="5726113" y="3567113"/>
          <p14:tracePt t="2725" x="5741988" y="3562350"/>
          <p14:tracePt t="2726" x="5753100" y="3562350"/>
          <p14:tracePt t="2727" x="5768975" y="3562350"/>
          <p14:tracePt t="2728" x="5789613" y="3562350"/>
          <p14:tracePt t="2729" x="5805488" y="3554413"/>
          <p14:tracePt t="2730" x="5821363" y="3554413"/>
          <p14:tracePt t="2731" x="5834063" y="3554413"/>
          <p14:tracePt t="2732" x="5861050" y="3551238"/>
          <p14:tracePt t="2733" x="5873750" y="3551238"/>
          <p14:tracePt t="2735" x="5894388" y="3551238"/>
          <p14:tracePt t="2735" x="5905500" y="3551238"/>
          <p14:tracePt t="2737" x="5953125" y="3546475"/>
          <p14:tracePt t="2738" x="5973763" y="3546475"/>
          <p14:tracePt t="2739" x="5986463" y="3546475"/>
          <p14:tracePt t="2740" x="6005513" y="3546475"/>
          <p14:tracePt t="2741" x="6018213" y="3546475"/>
          <p14:tracePt t="2742" x="6045200" y="3538538"/>
          <p14:tracePt t="2743" x="6065838" y="3538538"/>
          <p14:tracePt t="2744" x="6078538" y="3538538"/>
          <p14:tracePt t="2745" x="6097588" y="3538538"/>
          <p14:tracePt t="2746" x="6118225" y="3538538"/>
          <p14:tracePt t="2747" x="6142038" y="3535363"/>
          <p14:tracePt t="2748" x="6157913" y="3535363"/>
          <p14:tracePt t="2749" x="6173788" y="3535363"/>
          <p14:tracePt t="2750" x="6194425" y="3530600"/>
          <p14:tracePt t="2751" x="6210300" y="3530600"/>
          <p14:tracePt t="2752" x="6234113" y="3530600"/>
          <p14:tracePt t="2753" x="6254750" y="3530600"/>
          <p14:tracePt t="2754" x="6273800" y="3527425"/>
          <p14:tracePt t="2755" x="6286500" y="3527425"/>
          <p14:tracePt t="2756" x="6313488" y="3527425"/>
          <p14:tracePt t="2757" x="6334125" y="3519488"/>
          <p14:tracePt t="2758" x="6350000" y="3519488"/>
          <p14:tracePt t="2759" x="6365875" y="3519488"/>
          <p14:tracePt t="2760" x="6381750" y="3519488"/>
          <p14:tracePt t="2761" x="6397625" y="3514725"/>
          <p14:tracePt t="2762" x="6423025" y="3514725"/>
          <p14:tracePt t="2763" x="6442075" y="3511550"/>
          <p14:tracePt t="2764" x="6462713" y="3511550"/>
          <p14:tracePt t="2765" x="6481763" y="3511550"/>
          <p14:tracePt t="2766" x="6507163" y="3506788"/>
          <p14:tracePt t="2767" x="6523038" y="3506788"/>
          <p14:tracePt t="2768" x="6542088" y="3506788"/>
          <p14:tracePt t="2770" x="6557963" y="3506788"/>
          <p14:tracePt t="2770" x="6573838" y="3503613"/>
          <p14:tracePt t="2771" x="6594475" y="3503613"/>
          <p14:tracePt t="2772" x="6618288" y="3503613"/>
          <p14:tracePt t="2773" x="6638925" y="3503613"/>
          <p14:tracePt t="2774" x="6650038" y="3503613"/>
          <p14:tracePt t="2775" x="6670675" y="3495675"/>
          <p14:tracePt t="2776" x="6699250" y="3495675"/>
          <p14:tracePt t="2777" x="6710363" y="3495675"/>
          <p14:tracePt t="2778" x="6731000" y="3495675"/>
          <p14:tracePt t="2779" x="6750050" y="3490913"/>
          <p14:tracePt t="2780" x="6770688" y="3490913"/>
          <p14:tracePt t="2781" x="6794500" y="3490913"/>
          <p14:tracePt t="2782" x="6815138" y="3490913"/>
          <p14:tracePt t="2783" x="6834188" y="3490913"/>
          <p14:tracePt t="2785" x="6850063" y="3490913"/>
          <p14:tracePt t="2786" x="6870700" y="3487738"/>
          <p14:tracePt t="2787" x="6899275" y="3487738"/>
          <p14:tracePt t="2787" x="6918325" y="3487738"/>
          <p14:tracePt t="2788" x="6938963" y="3482975"/>
          <p14:tracePt t="2789" x="6954838" y="3482975"/>
          <p14:tracePt t="2790" x="6975475" y="3482975"/>
          <p14:tracePt t="2791" x="7002463" y="3475038"/>
          <p14:tracePt t="2792" x="7023100" y="3475038"/>
          <p14:tracePt t="2793" x="7038975" y="3475038"/>
          <p14:tracePt t="2794" x="7067550" y="3475038"/>
          <p14:tracePt t="2795" x="7086600" y="3470275"/>
          <p14:tracePt t="2796" x="7110413" y="3470275"/>
          <p14:tracePt t="2797" x="7138988" y="3470275"/>
          <p14:tracePt t="2798" x="7159625" y="3467100"/>
          <p14:tracePt t="2799" x="7178675" y="3467100"/>
          <p14:tracePt t="2800" x="7210425" y="3467100"/>
          <p14:tracePt t="2801" x="7231063" y="3467100"/>
          <p14:tracePt t="2802" x="7246938" y="3467100"/>
          <p14:tracePt t="2803" x="7275513" y="3462338"/>
          <p14:tracePt t="2804" x="7294563" y="3462338"/>
          <p14:tracePt t="2805" x="7310438" y="3462338"/>
          <p14:tracePt t="2806" x="7346950" y="3462338"/>
          <p14:tracePt t="2807" x="7370763" y="3462338"/>
          <p14:tracePt t="2808" x="7391400" y="3462338"/>
          <p14:tracePt t="2809" x="7412038" y="3462338"/>
          <p14:tracePt t="2810" x="7443788" y="3462338"/>
          <p14:tracePt t="2811" x="7462838" y="3462338"/>
          <p14:tracePt t="2812" x="7486650" y="3462338"/>
          <p14:tracePt t="2813" x="7507288" y="3462338"/>
          <p14:tracePt t="2814" x="7527925" y="3462338"/>
          <p14:tracePt t="2815" x="7543800" y="3462338"/>
          <p14:tracePt t="2816" x="7575550" y="3462338"/>
          <p14:tracePt t="2817" x="7596188" y="3462338"/>
          <p14:tracePt t="2818" x="7623175" y="3462338"/>
          <p14:tracePt t="2819" x="7639050" y="3462338"/>
          <p14:tracePt t="2820" x="7675563" y="3462338"/>
          <p14:tracePt t="2821" x="7691438" y="3462338"/>
          <p14:tracePt t="2822" x="7720013" y="3462338"/>
          <p14:tracePt t="2823" x="7735888" y="3462338"/>
          <p14:tracePt t="2824" x="7754938" y="3462338"/>
          <p14:tracePt t="2825" x="7788275" y="3462338"/>
          <p14:tracePt t="2826" x="7815263" y="3462338"/>
          <p14:tracePt t="2827" x="7835900" y="3462338"/>
          <p14:tracePt t="2828" x="7854950" y="3462338"/>
          <p14:tracePt t="2829" x="7880350" y="3462338"/>
          <p14:tracePt t="2830" x="7915275" y="3462338"/>
          <p14:tracePt t="2831" x="7931150" y="3462338"/>
          <p14:tracePt t="2832" x="7959725" y="3462338"/>
          <p14:tracePt t="2833" x="7980363" y="3462338"/>
          <p14:tracePt t="2835" x="7996238" y="3462338"/>
          <p14:tracePt t="2836" x="8027988" y="3462338"/>
          <p14:tracePt t="2836" x="8048625" y="3462338"/>
          <p14:tracePt t="2837" x="8067675" y="3462338"/>
          <p14:tracePt t="2838" x="8088313" y="3462338"/>
          <p14:tracePt t="2839" x="8107363" y="3462338"/>
          <p14:tracePt t="2840" x="8132763" y="3462338"/>
          <p14:tracePt t="2841" x="8151813" y="3462338"/>
          <p14:tracePt t="2842" x="8172450" y="3462338"/>
          <p14:tracePt t="2843" x="8188325" y="3462338"/>
          <p14:tracePt t="2844" x="8215313" y="3462338"/>
          <p14:tracePt t="2845" x="8232775" y="3462338"/>
          <p14:tracePt t="2846" x="8248650" y="3462338"/>
          <p14:tracePt t="2847" x="8267700" y="3462338"/>
          <p14:tracePt t="2848" x="8280400" y="3462338"/>
          <p14:tracePt t="2849" x="8299450" y="3462338"/>
          <p14:tracePt t="2851" x="8324850" y="3462338"/>
          <p14:tracePt t="2852" x="8359775" y="3462338"/>
          <p14:tracePt t="2853" x="8372475" y="3462338"/>
          <p14:tracePt t="2854" x="8391525" y="3462338"/>
          <p14:tracePt t="2855" x="8404225" y="3462338"/>
          <p14:tracePt t="2856" x="8420100" y="3462338"/>
          <p14:tracePt t="2857" x="8435975" y="3462338"/>
          <p14:tracePt t="2858" x="8451850" y="3462338"/>
          <p14:tracePt t="2859" x="8464550" y="3462338"/>
          <p14:tracePt t="2860" x="8483600" y="3462338"/>
          <p14:tracePt t="2861" x="8496300" y="3462338"/>
          <p14:tracePt t="2862" x="8512175" y="3462338"/>
          <p14:tracePt t="2863" x="8524875" y="3462338"/>
          <p14:tracePt t="2864" x="8543925" y="3467100"/>
          <p14:tracePt t="2865" x="8559800" y="3467100"/>
          <p14:tracePt t="2866" x="8567738" y="3467100"/>
          <p14:tracePt t="2867" x="8580438" y="3467100"/>
          <p14:tracePt t="2869" x="8593138" y="3467100"/>
          <p14:tracePt t="2869" x="8612188" y="3467100"/>
          <p14:tracePt t="2870" x="8620125" y="3467100"/>
          <p14:tracePt t="2871" x="8636000" y="3467100"/>
          <p14:tracePt t="2872" x="8643938" y="3467100"/>
          <p14:tracePt t="2873" x="8656638" y="3467100"/>
          <p14:tracePt t="2874" x="8672513" y="3467100"/>
          <p14:tracePt t="2875" x="8685213" y="3467100"/>
          <p14:tracePt t="2876" x="8693150" y="3467100"/>
          <p14:tracePt t="2877" x="8704263" y="3467100"/>
          <p14:tracePt t="2878" x="8716963" y="3470275"/>
          <p14:tracePt t="2879" x="8728075" y="3470275"/>
          <p14:tracePt t="2880" x="8736013" y="3470275"/>
          <p14:tracePt t="2885" x="8793163" y="3470275"/>
          <p14:tracePt t="2886" x="8804275" y="3470275"/>
          <p14:tracePt t="2887" x="8812213" y="3470275"/>
          <p14:tracePt t="2888" x="8824913" y="3470275"/>
          <p14:tracePt t="2889" x="8832850" y="3470275"/>
          <p14:tracePt t="2890" x="8840788" y="3470275"/>
          <p14:tracePt t="2891" x="8856663" y="3475038"/>
          <p14:tracePt t="2892" x="8864600" y="3475038"/>
          <p14:tracePt t="2893" x="8872538" y="3475038"/>
          <p14:tracePt t="2894" x="8885238" y="3475038"/>
          <p14:tracePt t="2895" x="8893175" y="3475038"/>
          <p14:tracePt t="2896" x="8901113" y="3475038"/>
          <p14:tracePt t="2897" x="8909050" y="3475038"/>
          <p14:tracePt t="2898" x="8916988" y="3475038"/>
          <p14:tracePt t="2899" x="8924925" y="3475038"/>
          <p14:tracePt t="2900" x="8932863" y="3475038"/>
          <p14:tracePt t="2901" x="8940800" y="3475038"/>
          <p14:tracePt t="2902" x="8953500" y="3475038"/>
          <p14:tracePt t="2903" x="8961438" y="3475038"/>
          <p14:tracePt t="2904" x="8969375" y="3475038"/>
          <p14:tracePt t="2905" x="8977313" y="3475038"/>
          <p14:tracePt t="2906" x="8985250" y="3475038"/>
          <p14:tracePt t="2907" x="8993188" y="3475038"/>
          <p14:tracePt t="2908" x="9004300" y="3475038"/>
          <p14:tracePt t="2909" x="9012238" y="3475038"/>
          <p14:tracePt t="2910" x="9017000" y="3475038"/>
          <p14:tracePt t="2911" x="9024938" y="3475038"/>
          <p14:tracePt t="2912" x="9032875" y="3475038"/>
          <p14:tracePt t="2913" x="9048750" y="3475038"/>
          <p14:tracePt t="2914" x="9056688" y="3475038"/>
          <p14:tracePt t="2915" x="9064625" y="3475038"/>
          <p14:tracePt t="2916" x="9072563" y="3475038"/>
          <p14:tracePt t="2917" x="9080500" y="3475038"/>
          <p14:tracePt t="2918" x="9088438" y="3475038"/>
          <p14:tracePt t="2919" x="9096375" y="3475038"/>
          <p14:tracePt t="2920" x="9104313" y="3475038"/>
          <p14:tracePt t="2921" x="9112250" y="3475038"/>
          <p14:tracePt t="2922" x="9120188" y="3475038"/>
          <p14:tracePt t="2923" x="9132888" y="3475038"/>
          <p14:tracePt t="2924" x="9140825" y="3475038"/>
          <p14:tracePt t="2925" x="9148763" y="3475038"/>
          <p14:tracePt t="2926" x="9164638" y="3475038"/>
          <p14:tracePt t="2927" x="9172575" y="3475038"/>
          <p14:tracePt t="2928" x="9185275" y="3475038"/>
          <p14:tracePt t="2929" x="9193213" y="3475038"/>
          <p14:tracePt t="2930" x="9201150" y="3475038"/>
          <p14:tracePt t="2931" x="9209088" y="3475038"/>
          <p14:tracePt t="2932" x="9224963" y="3475038"/>
          <p14:tracePt t="2933" x="9232900" y="3475038"/>
          <p14:tracePt t="2935" x="9240838" y="3475038"/>
          <p14:tracePt t="2935" x="9248775" y="3475038"/>
          <p14:tracePt t="2936" x="9264650" y="3475038"/>
          <p14:tracePt t="2937" x="9272588" y="3475038"/>
          <p14:tracePt t="2938" x="9285288" y="3475038"/>
          <p14:tracePt t="2939" x="9293225" y="3470275"/>
          <p14:tracePt t="2940" x="9309100" y="3470275"/>
          <p14:tracePt t="2941" x="9317038" y="3470275"/>
          <p14:tracePt t="2942" x="9329738" y="3470275"/>
          <p14:tracePt t="2943" x="9345613" y="3470275"/>
          <p14:tracePt t="2944" x="9353550" y="3467100"/>
          <p14:tracePt t="2945" x="9364663" y="3467100"/>
          <p14:tracePt t="2946" x="9372600" y="3467100"/>
          <p14:tracePt t="2947" x="9380538" y="3462338"/>
          <p14:tracePt t="2948" x="9401175" y="3462338"/>
          <p14:tracePt t="2949" x="9409113" y="3462338"/>
          <p14:tracePt t="2950" x="9424988" y="3459163"/>
          <p14:tracePt t="2951" x="9437688" y="3459163"/>
          <p14:tracePt t="2952" x="9453563" y="3459163"/>
          <p14:tracePt t="2953" x="9464675" y="3451225"/>
          <p14:tracePt t="2954" x="9480550" y="3451225"/>
          <p14:tracePt t="2955" x="9490075" y="3451225"/>
          <p14:tracePt t="2956" x="9501188" y="3451225"/>
          <p14:tracePt t="2957" x="9521825" y="3446463"/>
          <p14:tracePt t="2958" x="9529763" y="3446463"/>
          <p14:tracePt t="2960" x="9556750" y="3443288"/>
          <p14:tracePt t="2961" x="9564688" y="3443288"/>
          <p14:tracePt t="2962" x="9585325" y="3438525"/>
          <p14:tracePt t="2963" x="9598025" y="3438525"/>
          <p14:tracePt t="2964" x="9605963" y="3435350"/>
          <p14:tracePt t="2965" x="9621838" y="3435350"/>
          <p14:tracePt t="2966" x="9632950" y="3435350"/>
          <p14:tracePt t="2967" x="9648825" y="3430588"/>
          <p14:tracePt t="2968" x="9661525" y="3430588"/>
          <p14:tracePt t="2970" x="9677400" y="3422650"/>
          <p14:tracePt t="2970" x="9685338" y="3422650"/>
          <p14:tracePt t="2971" x="9698038" y="3422650"/>
          <p14:tracePt t="2972" x="9713913" y="3419475"/>
          <p14:tracePt t="2973" x="9725025" y="3419475"/>
          <p14:tracePt t="2974" x="9732963" y="3414713"/>
          <p14:tracePt t="2975" x="9748838" y="3414713"/>
          <p14:tracePt t="2976" x="9761538" y="3411538"/>
          <p14:tracePt t="2977" x="9777413" y="3411538"/>
          <p14:tracePt t="2978" x="9785350" y="3411538"/>
          <p14:tracePt t="2979" x="9798050" y="3406775"/>
          <p14:tracePt t="2980" x="9805988" y="3406775"/>
          <p14:tracePt t="2981" x="9821863" y="3403600"/>
          <p14:tracePt t="2982" x="9832975" y="3403600"/>
          <p14:tracePt t="2983" x="9850438" y="3395663"/>
          <p14:tracePt t="2985" x="9861550" y="3395663"/>
          <p14:tracePt t="2985" x="9869488" y="3395663"/>
          <p14:tracePt t="2987" x="9890125" y="3395663"/>
          <p14:tracePt t="2987" x="9898063" y="3390900"/>
          <p14:tracePt t="2988" x="9913938" y="3390900"/>
          <p14:tracePt t="2989" x="9925050" y="3390900"/>
          <p14:tracePt t="2990" x="9932988" y="3387725"/>
          <p14:tracePt t="2991" x="9953625" y="3387725"/>
          <p14:tracePt t="2992" x="9961563" y="3387725"/>
          <p14:tracePt t="2993" x="9974263" y="3382963"/>
          <p14:tracePt t="2994" x="9985375" y="3382963"/>
          <p14:tracePt t="2995" x="9998075" y="3382963"/>
          <p14:tracePt t="2996" x="10009188" y="3378200"/>
          <p14:tracePt t="2997" x="10026650" y="3378200"/>
          <p14:tracePt t="2998" x="10034588" y="3378200"/>
          <p14:tracePt t="2999" x="10045700" y="3375025"/>
          <p14:tracePt t="3000" x="10053638" y="3375025"/>
          <p14:tracePt t="3001" x="10074275" y="3375025"/>
          <p14:tracePt t="3002" x="10082213" y="3370263"/>
          <p14:tracePt t="3003" x="10098088" y="3370263"/>
          <p14:tracePt t="3004" x="10106025" y="3370263"/>
          <p14:tracePt t="3005" x="10113963" y="3370263"/>
          <p14:tracePt t="3006" x="10134600" y="3362325"/>
          <p14:tracePt t="3007" x="10142538" y="3362325"/>
          <p14:tracePt t="3008" x="10153650" y="3362325"/>
          <p14:tracePt t="3009" x="10166350" y="3359150"/>
          <p14:tracePt t="3010" x="10177463" y="3359150"/>
          <p14:tracePt t="3011" x="10190163" y="3359150"/>
          <p14:tracePt t="3012" x="10201275" y="3354388"/>
          <p14:tracePt t="3013" x="10213975" y="3354388"/>
          <p14:tracePt t="3014" x="10221913" y="3354388"/>
          <p14:tracePt t="3015" x="10234613" y="3354388"/>
          <p14:tracePt t="3016" x="10250488" y="3351213"/>
          <p14:tracePt t="3017" x="10258425" y="3351213"/>
          <p14:tracePt t="3018" x="10266363" y="3351213"/>
          <p14:tracePt t="3019" x="10282238" y="3346450"/>
          <p14:tracePt t="3020" x="10293350" y="3346450"/>
          <p14:tracePt t="3021" x="10302875" y="3346450"/>
          <p14:tracePt t="3022" x="10318750" y="3343275"/>
          <p14:tracePt t="3023" x="10326688" y="3343275"/>
          <p14:tracePt t="3024" x="10334625" y="3343275"/>
          <p14:tracePt t="3025" x="10345738" y="3343275"/>
          <p14:tracePt t="3026" x="10358438" y="3343275"/>
          <p14:tracePt t="3027" x="10369550" y="3343275"/>
          <p14:tracePt t="3028" x="10382250" y="3338513"/>
          <p14:tracePt t="3029" x="10390188" y="3338513"/>
          <p14:tracePt t="3030" x="10410825" y="3338513"/>
          <p14:tracePt t="3031" x="10418763" y="3338513"/>
          <p14:tracePt t="3032" x="10426700" y="3330575"/>
          <p14:tracePt t="3033" x="10434638" y="3330575"/>
          <p14:tracePt t="3035" x="10450513" y="3330575"/>
          <p14:tracePt t="3036" x="10461625" y="3330575"/>
          <p14:tracePt t="3036" x="10469563" y="3330575"/>
          <p14:tracePt t="3037" x="10487025" y="3327400"/>
          <p14:tracePt t="3038" x="10494963" y="3327400"/>
          <p14:tracePt t="3040" x="10506075" y="3327400"/>
          <p14:tracePt t="3040" x="10518775" y="3327400"/>
          <p14:tracePt t="3041" x="10534650" y="3327400"/>
          <p14:tracePt t="3042" x="10542588" y="3327400"/>
          <p14:tracePt t="3043" x="10553700" y="3327400"/>
          <p14:tracePt t="3044" x="10561638" y="3327400"/>
          <p14:tracePt t="3045" x="10582275" y="3327400"/>
          <p14:tracePt t="3046" x="10590213" y="3327400"/>
          <p14:tracePt t="3047" x="10606088" y="3327400"/>
          <p14:tracePt t="3048" x="10614025" y="3327400"/>
          <p14:tracePt t="3049" x="10626725" y="3327400"/>
          <p14:tracePt t="3050" x="10637838" y="3327400"/>
          <p14:tracePt t="3051" x="10653713" y="3322638"/>
          <p14:tracePt t="3052" x="10663238" y="3322638"/>
          <p14:tracePt t="3053" x="10674350" y="3322638"/>
          <p14:tracePt t="3055" x="10687050" y="3322638"/>
          <p14:tracePt t="3055" x="10702925" y="3322638"/>
          <p14:tracePt t="3056" x="10710863" y="3322638"/>
          <p14:tracePt t="3057" x="10726738" y="3322638"/>
          <p14:tracePt t="3058" x="10734675" y="3322638"/>
          <p14:tracePt t="3059" x="10742613" y="3322638"/>
          <p14:tracePt t="3060" x="10763250" y="3322638"/>
          <p14:tracePt t="3061" x="10771188" y="3322638"/>
          <p14:tracePt t="3062" x="10782300" y="3322638"/>
          <p14:tracePt t="3063" x="10790238" y="3322638"/>
          <p14:tracePt t="3064" x="10806113" y="3319463"/>
          <p14:tracePt t="3065" x="10818813" y="3319463"/>
          <p14:tracePt t="3066" x="10826750" y="3319463"/>
          <p14:tracePt t="3067" x="10834688" y="3319463"/>
          <p14:tracePt t="3068" x="10842625" y="3319463"/>
          <p14:tracePt t="3069" x="10850563" y="3319463"/>
          <p14:tracePt t="3071" x="10866438" y="3319463"/>
          <p14:tracePt t="3071" x="10879138" y="3319463"/>
          <p14:tracePt t="3072" x="10887075" y="3319463"/>
          <p14:tracePt t="3073" x="10895013" y="3314700"/>
          <p14:tracePt t="3074" x="10910888" y="3314700"/>
          <p14:tracePt t="3075" x="10918825" y="3314700"/>
          <p14:tracePt t="3076" x="10926763" y="3314700"/>
          <p14:tracePt t="3077" x="10939463" y="3314700"/>
          <p14:tracePt t="3078" x="10947400" y="3314700"/>
          <p14:tracePt t="3079" x="10955338" y="3314700"/>
          <p14:tracePt t="3080" x="10971213" y="3314700"/>
          <p14:tracePt t="3081" x="10982325" y="3314700"/>
          <p14:tracePt t="3082" x="10990263" y="3314700"/>
          <p14:tracePt t="3083" x="11006138" y="3314700"/>
          <p14:tracePt t="3085" x="11018838" y="3311525"/>
          <p14:tracePt t="3086" x="11042650" y="3311525"/>
          <p14:tracePt t="3087" x="11050588" y="3311525"/>
          <p14:tracePt t="3088" x="11063288" y="3311525"/>
          <p14:tracePt t="3089" x="11079163" y="3311525"/>
          <p14:tracePt t="3090" x="11090275" y="3311525"/>
          <p14:tracePt t="3091" x="11102975" y="3306763"/>
          <p14:tracePt t="3092" x="11115675" y="3306763"/>
          <p14:tracePt t="3093" x="11126788" y="3306763"/>
          <p14:tracePt t="3094" x="11147425" y="3306763"/>
          <p14:tracePt t="3095" x="11158538" y="3306763"/>
          <p14:tracePt t="3096" x="11166475" y="3298825"/>
          <p14:tracePt t="3097" x="11182350" y="3298825"/>
          <p14:tracePt t="3098" x="11195050" y="3298825"/>
          <p14:tracePt t="3099" x="11215688" y="3298825"/>
          <p14:tracePt t="3100" x="11226800" y="3298825"/>
          <p14:tracePt t="3101" x="11242675" y="3295650"/>
          <p14:tracePt t="3102" x="11255375" y="3295650"/>
          <p14:tracePt t="3103" x="11271250" y="3295650"/>
          <p14:tracePt t="3104" x="11291888" y="3295650"/>
          <p14:tracePt t="3105" x="11303000" y="3295650"/>
          <p14:tracePt t="3106" x="11315700" y="3295650"/>
          <p14:tracePt t="3107" x="11331575" y="3290888"/>
          <p14:tracePt t="3108" x="11355388" y="3290888"/>
          <p14:tracePt t="3109" x="11371263" y="3290888"/>
          <p14:tracePt t="3110" x="11383963" y="3290888"/>
          <p14:tracePt t="3111" x="11403013" y="3290888"/>
          <p14:tracePt t="3112" x="11415713" y="3286125"/>
          <p14:tracePt t="3113" x="11431588" y="3286125"/>
          <p14:tracePt t="3114" x="11455400" y="3286125"/>
          <p14:tracePt t="3115" x="11471275" y="3282950"/>
          <p14:tracePt t="3116" x="11487150" y="3282950"/>
          <p14:tracePt t="3118" x="11526838" y="3282950"/>
          <p14:tracePt t="3119" x="11542713" y="3278188"/>
          <p14:tracePt t="3120" x="11563350" y="3278188"/>
          <p14:tracePt t="3121" x="11576050" y="3278188"/>
          <p14:tracePt t="3122" x="11587163" y="3278188"/>
          <p14:tracePt t="3123" x="11607800" y="3278188"/>
          <p14:tracePt t="3124" x="11626850" y="3270250"/>
          <p14:tracePt t="3125" x="11642725" y="3270250"/>
          <p14:tracePt t="3126" x="11660188" y="3270250"/>
          <p14:tracePt t="3127" x="11676063" y="3270250"/>
          <p14:tracePt t="3128" x="11699875" y="3267075"/>
          <p14:tracePt t="3129" x="11715750" y="3267075"/>
          <p14:tracePt t="3130" x="11726863" y="3267075"/>
          <p14:tracePt t="3131" x="11747500" y="3267075"/>
          <p14:tracePt t="3132" x="11760200" y="3267075"/>
          <p14:tracePt t="3133" x="11787188" y="3262313"/>
          <p14:tracePt t="3135" x="11799888" y="3262313"/>
          <p14:tracePt t="3136" x="11815763" y="3262313"/>
          <p14:tracePt t="3136" x="11836400" y="3262313"/>
          <p14:tracePt t="3137" x="11847513" y="3259138"/>
          <p14:tracePt t="3138" x="11868150" y="3259138"/>
          <p14:tracePt t="3139" x="11879263" y="3259138"/>
          <p14:tracePt t="3140" x="11895138" y="3251200"/>
          <p14:tracePt t="3141" x="11915775" y="3251200"/>
          <p14:tracePt t="3142" x="11928475" y="3251200"/>
          <p14:tracePt t="3143" x="11947525" y="3251200"/>
          <p14:tracePt t="3144" x="11960225" y="3246438"/>
          <p14:tracePt t="3145" x="11976100" y="3246438"/>
          <p14:tracePt t="3146" x="11984038" y="3246438"/>
          <p14:tracePt t="3147" x="11995150" y="3246438"/>
          <p14:tracePt t="3148" x="12015788" y="3246438"/>
          <p14:tracePt t="3149" x="12028488" y="3246438"/>
          <p14:tracePt t="3150" x="12044363" y="3243263"/>
          <p14:tracePt t="3151" x="12052300" y="3243263"/>
          <p14:tracePt t="3153" x="12084050" y="3243263"/>
          <p14:tracePt t="3154" x="12091988" y="3243263"/>
          <p14:tracePt t="3155" x="12099925" y="3243263"/>
          <p14:tracePt t="3156" x="12115800" y="3243263"/>
          <p14:tracePt t="3157" x="12123738" y="3238500"/>
          <p14:tracePt t="3158" x="12136438" y="3238500"/>
          <p14:tracePt t="3159" x="12139613" y="3238500"/>
          <p14:tracePt t="3160" x="12147550" y="3235325"/>
          <p14:tracePt t="3161" x="12155488" y="3235325"/>
          <p14:tracePt t="3162" x="12171363" y="3235325"/>
          <p14:tracePt t="3164" x="12179300" y="3230563"/>
          <p14:tracePt t="3164" x="12187238" y="3230563"/>
        </p14:tracePtLst>
      </p14:laserTraceLst>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08642" y="256409"/>
            <a:ext cx="5357812" cy="920750"/>
          </a:xfrm>
        </p:spPr>
        <p:txBody>
          <a:bodyPr anchor="ctr">
            <a:noAutofit/>
          </a:bodyPr>
          <a:lstStyle/>
          <a:p>
            <a:r>
              <a:rPr lang="en-US" sz="6600" dirty="0">
                <a:solidFill>
                  <a:srgbClr val="0070C0"/>
                </a:solidFill>
              </a:rPr>
              <a:t>OUTLINE</a:t>
            </a:r>
          </a:p>
        </p:txBody>
      </p:sp>
      <p:sp>
        <p:nvSpPr>
          <p:cNvPr id="5" name="Content Placeholder 4"/>
          <p:cNvSpPr>
            <a:spLocks noGrp="1"/>
          </p:cNvSpPr>
          <p:nvPr>
            <p:ph sz="quarter" idx="4294967295"/>
          </p:nvPr>
        </p:nvSpPr>
        <p:spPr>
          <a:xfrm>
            <a:off x="2083624" y="1722205"/>
            <a:ext cx="7146235" cy="4277443"/>
          </a:xfrm>
        </p:spPr>
        <p:txBody>
          <a:bodyPr>
            <a:normAutofit fontScale="85000" lnSpcReduction="20000"/>
          </a:bodyPr>
          <a:lstStyle/>
          <a:p>
            <a:pPr marL="0" indent="0">
              <a:lnSpc>
                <a:spcPct val="120000"/>
              </a:lnSpc>
              <a:spcBef>
                <a:spcPts val="0"/>
              </a:spcBef>
              <a:buNone/>
            </a:pPr>
            <a:r>
              <a:rPr lang="en-GB" sz="2400" b="1" dirty="0">
                <a:solidFill>
                  <a:srgbClr val="0070C0"/>
                </a:solidFill>
              </a:rPr>
              <a:t>Introduction</a:t>
            </a:r>
          </a:p>
          <a:p>
            <a:pPr marL="0" indent="0">
              <a:lnSpc>
                <a:spcPct val="120000"/>
              </a:lnSpc>
              <a:spcBef>
                <a:spcPts val="0"/>
              </a:spcBef>
              <a:buNone/>
            </a:pPr>
            <a:r>
              <a:rPr lang="en-GB" sz="2400" dirty="0"/>
              <a:t>	Purpose of the Study</a:t>
            </a:r>
          </a:p>
          <a:p>
            <a:pPr marL="0" indent="0">
              <a:lnSpc>
                <a:spcPct val="120000"/>
              </a:lnSpc>
              <a:spcBef>
                <a:spcPts val="0"/>
              </a:spcBef>
              <a:buNone/>
            </a:pPr>
            <a:r>
              <a:rPr lang="en-GB" sz="2400" dirty="0"/>
              <a:t>	Tantalum and Ceramic Capacitor Technologies</a:t>
            </a:r>
          </a:p>
          <a:p>
            <a:pPr marL="0" indent="0">
              <a:lnSpc>
                <a:spcPct val="120000"/>
              </a:lnSpc>
              <a:spcBef>
                <a:spcPts val="0"/>
              </a:spcBef>
              <a:buNone/>
            </a:pPr>
            <a:r>
              <a:rPr lang="en-GB" sz="2400" dirty="0"/>
              <a:t>	Automotive Requirements</a:t>
            </a:r>
            <a:r>
              <a:rPr lang="cs-CZ" sz="2400" dirty="0"/>
              <a:t> </a:t>
            </a:r>
            <a:r>
              <a:rPr lang="en-GB" sz="2400" dirty="0"/>
              <a:t>&amp; Delta Analysis</a:t>
            </a:r>
            <a:endParaRPr lang="cs-CZ" sz="2400" dirty="0"/>
          </a:p>
          <a:p>
            <a:pPr marL="0" indent="0">
              <a:lnSpc>
                <a:spcPct val="120000"/>
              </a:lnSpc>
              <a:spcBef>
                <a:spcPts val="0"/>
              </a:spcBef>
              <a:buNone/>
            </a:pPr>
            <a:endParaRPr lang="en-GB" sz="2400" dirty="0"/>
          </a:p>
          <a:p>
            <a:pPr marL="0" indent="0">
              <a:lnSpc>
                <a:spcPct val="120000"/>
              </a:lnSpc>
              <a:spcBef>
                <a:spcPts val="0"/>
              </a:spcBef>
              <a:buNone/>
            </a:pPr>
            <a:r>
              <a:rPr lang="en-GB" sz="2400" b="1" dirty="0">
                <a:solidFill>
                  <a:srgbClr val="0070C0"/>
                </a:solidFill>
              </a:rPr>
              <a:t>Procurement &amp; Purchasing</a:t>
            </a:r>
            <a:endParaRPr lang="en-GB" sz="2400" dirty="0">
              <a:solidFill>
                <a:srgbClr val="0070C0"/>
              </a:solidFill>
            </a:endParaRPr>
          </a:p>
          <a:p>
            <a:pPr marL="0" indent="0">
              <a:lnSpc>
                <a:spcPct val="120000"/>
              </a:lnSpc>
              <a:spcBef>
                <a:spcPts val="0"/>
              </a:spcBef>
              <a:buNone/>
            </a:pPr>
            <a:r>
              <a:rPr lang="en-GB" sz="2400" dirty="0"/>
              <a:t>	PN Selection, Search &amp; Documentation</a:t>
            </a:r>
          </a:p>
          <a:p>
            <a:pPr marL="0" indent="0">
              <a:lnSpc>
                <a:spcPct val="120000"/>
              </a:lnSpc>
              <a:spcBef>
                <a:spcPts val="0"/>
              </a:spcBef>
              <a:buNone/>
            </a:pPr>
            <a:r>
              <a:rPr lang="en-GB" sz="2400" dirty="0"/>
              <a:t>	Communication with Distributors &amp; Manufacturers</a:t>
            </a:r>
          </a:p>
          <a:p>
            <a:pPr marL="0" indent="0">
              <a:lnSpc>
                <a:spcPct val="120000"/>
              </a:lnSpc>
              <a:spcBef>
                <a:spcPts val="0"/>
              </a:spcBef>
              <a:buNone/>
            </a:pPr>
            <a:r>
              <a:rPr lang="en-GB" sz="2400" dirty="0"/>
              <a:t>	Ordering &amp; Deliverable</a:t>
            </a:r>
          </a:p>
          <a:p>
            <a:pPr marL="0" indent="0">
              <a:lnSpc>
                <a:spcPct val="120000"/>
              </a:lnSpc>
              <a:spcBef>
                <a:spcPts val="0"/>
              </a:spcBef>
              <a:buNone/>
            </a:pPr>
            <a:endParaRPr lang="en-GB" sz="2400" dirty="0"/>
          </a:p>
          <a:p>
            <a:pPr marL="0" indent="0">
              <a:lnSpc>
                <a:spcPct val="120000"/>
              </a:lnSpc>
              <a:spcBef>
                <a:spcPts val="0"/>
              </a:spcBef>
              <a:buNone/>
            </a:pPr>
            <a:r>
              <a:rPr lang="en-GB" sz="2400" b="1" dirty="0">
                <a:solidFill>
                  <a:srgbClr val="0070C0"/>
                </a:solidFill>
              </a:rPr>
              <a:t>Capacitor Ageing Test Evaluation</a:t>
            </a:r>
            <a:endParaRPr lang="en-GB" sz="2400" dirty="0">
              <a:solidFill>
                <a:srgbClr val="0070C0"/>
              </a:solidFill>
            </a:endParaRPr>
          </a:p>
          <a:p>
            <a:pPr marL="0" indent="0">
              <a:lnSpc>
                <a:spcPct val="120000"/>
              </a:lnSpc>
              <a:spcBef>
                <a:spcPts val="0"/>
              </a:spcBef>
              <a:buNone/>
            </a:pPr>
            <a:r>
              <a:rPr lang="en-GB" sz="2400" dirty="0"/>
              <a:t>	Ageing Test</a:t>
            </a:r>
          </a:p>
          <a:p>
            <a:pPr marL="0" indent="0">
              <a:lnSpc>
                <a:spcPct val="120000"/>
              </a:lnSpc>
              <a:spcBef>
                <a:spcPts val="0"/>
              </a:spcBef>
              <a:buNone/>
            </a:pPr>
            <a:r>
              <a:rPr lang="en-GB" sz="2400" dirty="0"/>
              <a:t>	Automotive vs COTS level Comparison</a:t>
            </a:r>
          </a:p>
          <a:p>
            <a:pPr marL="0" indent="0">
              <a:lnSpc>
                <a:spcPct val="120000"/>
              </a:lnSpc>
              <a:spcBef>
                <a:spcPts val="0"/>
              </a:spcBef>
              <a:buNone/>
            </a:pPr>
            <a:endParaRPr lang="en-GB" sz="2400" dirty="0"/>
          </a:p>
          <a:p>
            <a:pPr marL="0" indent="0">
              <a:lnSpc>
                <a:spcPct val="120000"/>
              </a:lnSpc>
              <a:spcBef>
                <a:spcPts val="0"/>
              </a:spcBef>
              <a:buNone/>
            </a:pPr>
            <a:endParaRPr lang="en-GB" sz="2400" dirty="0"/>
          </a:p>
          <a:p>
            <a:pPr marL="0" indent="0">
              <a:lnSpc>
                <a:spcPct val="120000"/>
              </a:lnSpc>
              <a:spcBef>
                <a:spcPts val="0"/>
              </a:spcBef>
              <a:buNone/>
            </a:pPr>
            <a:endParaRPr lang="cs-CZ" sz="2400" dirty="0"/>
          </a:p>
        </p:txBody>
      </p:sp>
      <p:cxnSp>
        <p:nvCxnSpPr>
          <p:cNvPr id="10" name="Straight Connector 9"/>
          <p:cNvCxnSpPr/>
          <p:nvPr/>
        </p:nvCxnSpPr>
        <p:spPr>
          <a:xfrm>
            <a:off x="5942995" y="1177159"/>
            <a:ext cx="4137893"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sp>
        <p:nvSpPr>
          <p:cNvPr id="3" name="Zástupný symbol pro zápatí 2">
            <a:extLst>
              <a:ext uri="{FF2B5EF4-FFF2-40B4-BE49-F238E27FC236}">
                <a16:creationId xmlns:a16="http://schemas.microsoft.com/office/drawing/2014/main" id="{C9FE54C5-32D1-4494-8853-7E1093E30FAC}"/>
              </a:ext>
            </a:extLst>
          </p:cNvPr>
          <p:cNvSpPr>
            <a:spLocks noGrp="1"/>
          </p:cNvSpPr>
          <p:nvPr>
            <p:ph type="ftr" sz="quarter" idx="11"/>
          </p:nvPr>
        </p:nvSpPr>
        <p:spPr/>
        <p:txBody>
          <a:bodyPr/>
          <a:lstStyle/>
          <a:p>
            <a:r>
              <a:rPr lang="en-GB" dirty="0"/>
              <a:t>CMSE </a:t>
            </a:r>
            <a:r>
              <a:rPr lang="cs-CZ" dirty="0"/>
              <a:t>2021</a:t>
            </a:r>
          </a:p>
        </p:txBody>
      </p:sp>
      <p:sp>
        <p:nvSpPr>
          <p:cNvPr id="6" name="Zástupný symbol pro číslo snímku 5">
            <a:extLst>
              <a:ext uri="{FF2B5EF4-FFF2-40B4-BE49-F238E27FC236}">
                <a16:creationId xmlns:a16="http://schemas.microsoft.com/office/drawing/2014/main" id="{DE8992FA-E2EA-4EFB-BF24-5D2B5448C2F1}"/>
              </a:ext>
            </a:extLst>
          </p:cNvPr>
          <p:cNvSpPr>
            <a:spLocks noGrp="1"/>
          </p:cNvSpPr>
          <p:nvPr>
            <p:ph type="sldNum" sz="quarter" idx="12"/>
          </p:nvPr>
        </p:nvSpPr>
        <p:spPr/>
        <p:txBody>
          <a:bodyPr/>
          <a:lstStyle/>
          <a:p>
            <a:fld id="{87170177-53BE-4EA4-8CC9-5D64EAB74717}" type="slidenum">
              <a:rPr lang="cs-CZ" sz="900" smtClean="0"/>
              <a:t>2</a:t>
            </a:fld>
            <a:endParaRPr lang="cs-CZ" sz="900" dirty="0"/>
          </a:p>
        </p:txBody>
      </p:sp>
      <p:pic>
        <p:nvPicPr>
          <p:cNvPr id="2" name="Zvuk 1">
            <a:hlinkClick r:id="" action="ppaction://media"/>
            <a:extLst>
              <a:ext uri="{FF2B5EF4-FFF2-40B4-BE49-F238E27FC236}">
                <a16:creationId xmlns:a16="http://schemas.microsoft.com/office/drawing/2014/main" id="{C3B9ED32-F48E-41A4-B1EA-3304D6FA91D1}"/>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2806491341"/>
      </p:ext>
    </p:extLst>
  </p:cSld>
  <p:clrMapOvr>
    <a:masterClrMapping/>
  </p:clrMapOvr>
  <mc:AlternateContent xmlns:mc="http://schemas.openxmlformats.org/markup-compatibility/2006">
    <mc:Choice xmlns:p14="http://schemas.microsoft.com/office/powerpoint/2010/main" Requires="p14">
      <p:transition spd="slow" p14:dur="2000" advTm="36790"/>
    </mc:Choice>
    <mc:Fallback>
      <p:transition spd="slow" advTm="3679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rázek 5">
            <a:extLst>
              <a:ext uri="{FF2B5EF4-FFF2-40B4-BE49-F238E27FC236}">
                <a16:creationId xmlns:a16="http://schemas.microsoft.com/office/drawing/2014/main" id="{40E7E68B-77E8-4ADE-8967-59C4C48B932F}"/>
              </a:ext>
            </a:extLst>
          </p:cNvPr>
          <p:cNvPicPr>
            <a:picLocks noChangeAspect="1"/>
          </p:cNvPicPr>
          <p:nvPr/>
        </p:nvPicPr>
        <p:blipFill>
          <a:blip r:embed="rId4"/>
          <a:stretch>
            <a:fillRect/>
          </a:stretch>
        </p:blipFill>
        <p:spPr>
          <a:xfrm>
            <a:off x="6551107" y="2329274"/>
            <a:ext cx="5554980" cy="1927860"/>
          </a:xfrm>
          <a:prstGeom prst="rect">
            <a:avLst/>
          </a:prstGeom>
        </p:spPr>
      </p:pic>
      <p:pic>
        <p:nvPicPr>
          <p:cNvPr id="2" name="Obrázek 1">
            <a:extLst>
              <a:ext uri="{FF2B5EF4-FFF2-40B4-BE49-F238E27FC236}">
                <a16:creationId xmlns:a16="http://schemas.microsoft.com/office/drawing/2014/main" id="{07C13EB0-8AA6-4BC8-B044-90476F228508}"/>
              </a:ext>
            </a:extLst>
          </p:cNvPr>
          <p:cNvPicPr>
            <a:picLocks noChangeAspect="1"/>
          </p:cNvPicPr>
          <p:nvPr/>
        </p:nvPicPr>
        <p:blipFill>
          <a:blip r:embed="rId5"/>
          <a:stretch>
            <a:fillRect/>
          </a:stretch>
        </p:blipFill>
        <p:spPr>
          <a:xfrm>
            <a:off x="242133" y="2329274"/>
            <a:ext cx="6134100" cy="2926080"/>
          </a:xfrm>
          <a:prstGeom prst="rect">
            <a:avLst/>
          </a:prstGeom>
        </p:spPr>
      </p:pic>
      <p:sp>
        <p:nvSpPr>
          <p:cNvPr id="3" name="Zástupný symbol pro číslo snímku 2">
            <a:extLst>
              <a:ext uri="{FF2B5EF4-FFF2-40B4-BE49-F238E27FC236}">
                <a16:creationId xmlns:a16="http://schemas.microsoft.com/office/drawing/2014/main" id="{E87DDF46-B07A-4183-A6C4-5CFC46E95960}"/>
              </a:ext>
            </a:extLst>
          </p:cNvPr>
          <p:cNvSpPr>
            <a:spLocks noGrp="1"/>
          </p:cNvSpPr>
          <p:nvPr>
            <p:ph type="sldNum" sz="quarter" idx="12"/>
          </p:nvPr>
        </p:nvSpPr>
        <p:spPr/>
        <p:txBody>
          <a:bodyPr/>
          <a:lstStyle/>
          <a:p>
            <a:fld id="{87170177-53BE-4EA4-8CC9-5D64EAB74717}" type="slidenum">
              <a:rPr lang="cs-CZ" sz="900" smtClean="0"/>
              <a:t>20</a:t>
            </a:fld>
            <a:endParaRPr lang="cs-CZ" sz="900" dirty="0"/>
          </a:p>
        </p:txBody>
      </p:sp>
      <p:sp>
        <p:nvSpPr>
          <p:cNvPr id="4" name="Rectangle 94">
            <a:extLst>
              <a:ext uri="{FF2B5EF4-FFF2-40B4-BE49-F238E27FC236}">
                <a16:creationId xmlns:a16="http://schemas.microsoft.com/office/drawing/2014/main" id="{32C0964D-8390-4CE7-85AE-760E74072C20}"/>
              </a:ext>
            </a:extLst>
          </p:cNvPr>
          <p:cNvSpPr/>
          <p:nvPr/>
        </p:nvSpPr>
        <p:spPr>
          <a:xfrm>
            <a:off x="0" y="-17702"/>
            <a:ext cx="12192001" cy="10800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82">
            <a:extLst>
              <a:ext uri="{FF2B5EF4-FFF2-40B4-BE49-F238E27FC236}">
                <a16:creationId xmlns:a16="http://schemas.microsoft.com/office/drawing/2014/main" id="{D0E75087-D62C-461B-B63C-582B2042EDFC}"/>
              </a:ext>
            </a:extLst>
          </p:cNvPr>
          <p:cNvSpPr txBox="1"/>
          <p:nvPr/>
        </p:nvSpPr>
        <p:spPr>
          <a:xfrm>
            <a:off x="304263" y="200887"/>
            <a:ext cx="11583472" cy="584775"/>
          </a:xfrm>
          <a:prstGeom prst="rect">
            <a:avLst/>
          </a:prstGeom>
          <a:noFill/>
        </p:spPr>
        <p:txBody>
          <a:bodyPr wrap="square" rtlCol="0">
            <a:spAutoFit/>
          </a:bodyPr>
          <a:lstStyle/>
          <a:p>
            <a:r>
              <a:rPr lang="en-GB" sz="3200" b="1" dirty="0">
                <a:solidFill>
                  <a:schemeClr val="bg2"/>
                </a:solidFill>
                <a:latin typeface="+mj-lt"/>
              </a:rPr>
              <a:t>Ageing &amp; Test Evaluation</a:t>
            </a:r>
            <a:endParaRPr lang="en-US" sz="3200" dirty="0">
              <a:solidFill>
                <a:schemeClr val="tx2"/>
              </a:solidFill>
            </a:endParaRPr>
          </a:p>
        </p:txBody>
      </p:sp>
      <p:sp>
        <p:nvSpPr>
          <p:cNvPr id="43" name="TextovéPole 42">
            <a:extLst>
              <a:ext uri="{FF2B5EF4-FFF2-40B4-BE49-F238E27FC236}">
                <a16:creationId xmlns:a16="http://schemas.microsoft.com/office/drawing/2014/main" id="{57E1B2C5-F973-4900-AB4C-EE20BCDE5540}"/>
              </a:ext>
            </a:extLst>
          </p:cNvPr>
          <p:cNvSpPr txBox="1"/>
          <p:nvPr/>
        </p:nvSpPr>
        <p:spPr>
          <a:xfrm>
            <a:off x="7279188" y="567254"/>
            <a:ext cx="4707955" cy="369332"/>
          </a:xfrm>
          <a:prstGeom prst="rect">
            <a:avLst/>
          </a:prstGeom>
          <a:noFill/>
        </p:spPr>
        <p:txBody>
          <a:bodyPr wrap="none" rtlCol="0">
            <a:spAutoFit/>
          </a:bodyPr>
          <a:lstStyle/>
          <a:p>
            <a:r>
              <a:rPr lang="en-GB" b="1" dirty="0">
                <a:solidFill>
                  <a:schemeClr val="bg1">
                    <a:lumMod val="85000"/>
                  </a:schemeClr>
                </a:solidFill>
              </a:rPr>
              <a:t>Test Results – MLCC Capacitors – DCL histogram</a:t>
            </a:r>
            <a:endParaRPr lang="cs-CZ" b="1" dirty="0">
              <a:solidFill>
                <a:schemeClr val="bg1">
                  <a:lumMod val="85000"/>
                </a:schemeClr>
              </a:solidFill>
            </a:endParaRPr>
          </a:p>
        </p:txBody>
      </p:sp>
      <p:sp>
        <p:nvSpPr>
          <p:cNvPr id="10" name="TextovéPole 9">
            <a:extLst>
              <a:ext uri="{FF2B5EF4-FFF2-40B4-BE49-F238E27FC236}">
                <a16:creationId xmlns:a16="http://schemas.microsoft.com/office/drawing/2014/main" id="{D180173E-C559-4F26-ABE9-A5F6EB80A7A2}"/>
              </a:ext>
            </a:extLst>
          </p:cNvPr>
          <p:cNvSpPr txBox="1"/>
          <p:nvPr/>
        </p:nvSpPr>
        <p:spPr>
          <a:xfrm>
            <a:off x="442653" y="1144486"/>
            <a:ext cx="2624629" cy="646331"/>
          </a:xfrm>
          <a:prstGeom prst="rect">
            <a:avLst/>
          </a:prstGeom>
          <a:noFill/>
        </p:spPr>
        <p:txBody>
          <a:bodyPr wrap="none" rtlCol="0">
            <a:spAutoFit/>
          </a:bodyPr>
          <a:lstStyle/>
          <a:p>
            <a:r>
              <a:rPr lang="cs-CZ" b="1" dirty="0"/>
              <a:t>MLCC </a:t>
            </a:r>
            <a:r>
              <a:rPr lang="cs-CZ" b="1" dirty="0" err="1"/>
              <a:t>capacitor</a:t>
            </a:r>
            <a:r>
              <a:rPr lang="cs-CZ" b="1" dirty="0"/>
              <a:t>:</a:t>
            </a:r>
          </a:p>
          <a:p>
            <a:r>
              <a:rPr lang="cs-CZ" dirty="0"/>
              <a:t>10uF 25V, X7R, 1210 case:</a:t>
            </a:r>
          </a:p>
        </p:txBody>
      </p:sp>
      <p:sp>
        <p:nvSpPr>
          <p:cNvPr id="13" name="TextovéPole 12">
            <a:extLst>
              <a:ext uri="{FF2B5EF4-FFF2-40B4-BE49-F238E27FC236}">
                <a16:creationId xmlns:a16="http://schemas.microsoft.com/office/drawing/2014/main" id="{88898710-EFEA-46F3-80E7-3D83829D4807}"/>
              </a:ext>
            </a:extLst>
          </p:cNvPr>
          <p:cNvSpPr txBox="1"/>
          <p:nvPr/>
        </p:nvSpPr>
        <p:spPr>
          <a:xfrm>
            <a:off x="7512675" y="1406352"/>
            <a:ext cx="3098443" cy="369332"/>
          </a:xfrm>
          <a:prstGeom prst="rect">
            <a:avLst/>
          </a:prstGeom>
          <a:noFill/>
        </p:spPr>
        <p:txBody>
          <a:bodyPr wrap="square">
            <a:spAutoFit/>
          </a:bodyPr>
          <a:lstStyle/>
          <a:p>
            <a:r>
              <a:rPr lang="cs-CZ" dirty="0"/>
              <a:t>470nF 25V X7R 1210</a:t>
            </a:r>
          </a:p>
        </p:txBody>
      </p:sp>
      <p:sp>
        <p:nvSpPr>
          <p:cNvPr id="12" name="TextovéPole 11">
            <a:extLst>
              <a:ext uri="{FF2B5EF4-FFF2-40B4-BE49-F238E27FC236}">
                <a16:creationId xmlns:a16="http://schemas.microsoft.com/office/drawing/2014/main" id="{3D5C5D80-849F-43ED-85C3-C784D6200679}"/>
              </a:ext>
            </a:extLst>
          </p:cNvPr>
          <p:cNvSpPr txBox="1"/>
          <p:nvPr/>
        </p:nvSpPr>
        <p:spPr>
          <a:xfrm>
            <a:off x="531814" y="2471327"/>
            <a:ext cx="927818" cy="369332"/>
          </a:xfrm>
          <a:prstGeom prst="rect">
            <a:avLst/>
          </a:prstGeom>
          <a:noFill/>
        </p:spPr>
        <p:txBody>
          <a:bodyPr wrap="none" rtlCol="0">
            <a:spAutoFit/>
          </a:bodyPr>
          <a:lstStyle/>
          <a:p>
            <a:r>
              <a:rPr lang="en-GB" b="1" dirty="0">
                <a:solidFill>
                  <a:srgbClr val="0070C0"/>
                </a:solidFill>
              </a:rPr>
              <a:t>S4 Auto</a:t>
            </a:r>
            <a:endParaRPr lang="cs-CZ" b="1" dirty="0">
              <a:solidFill>
                <a:srgbClr val="0070C0"/>
              </a:solidFill>
            </a:endParaRPr>
          </a:p>
        </p:txBody>
      </p:sp>
      <p:sp>
        <p:nvSpPr>
          <p:cNvPr id="15" name="TextovéPole 14">
            <a:extLst>
              <a:ext uri="{FF2B5EF4-FFF2-40B4-BE49-F238E27FC236}">
                <a16:creationId xmlns:a16="http://schemas.microsoft.com/office/drawing/2014/main" id="{420DD068-99AD-475E-8F55-188C93B89EE6}"/>
              </a:ext>
            </a:extLst>
          </p:cNvPr>
          <p:cNvSpPr txBox="1"/>
          <p:nvPr/>
        </p:nvSpPr>
        <p:spPr>
          <a:xfrm>
            <a:off x="1459632" y="3452416"/>
            <a:ext cx="927818" cy="369332"/>
          </a:xfrm>
          <a:prstGeom prst="rect">
            <a:avLst/>
          </a:prstGeom>
          <a:noFill/>
        </p:spPr>
        <p:txBody>
          <a:bodyPr wrap="none" rtlCol="0">
            <a:spAutoFit/>
          </a:bodyPr>
          <a:lstStyle/>
          <a:p>
            <a:r>
              <a:rPr lang="en-GB" b="1" dirty="0">
                <a:solidFill>
                  <a:schemeClr val="accent2"/>
                </a:solidFill>
              </a:rPr>
              <a:t>S5 Auto</a:t>
            </a:r>
            <a:endParaRPr lang="cs-CZ" b="1" dirty="0">
              <a:solidFill>
                <a:schemeClr val="accent2"/>
              </a:solidFill>
            </a:endParaRPr>
          </a:p>
        </p:txBody>
      </p:sp>
      <p:sp>
        <p:nvSpPr>
          <p:cNvPr id="16" name="TextovéPole 15">
            <a:extLst>
              <a:ext uri="{FF2B5EF4-FFF2-40B4-BE49-F238E27FC236}">
                <a16:creationId xmlns:a16="http://schemas.microsoft.com/office/drawing/2014/main" id="{C613FFFF-28EA-46DD-ABDF-D06C604D3EC7}"/>
              </a:ext>
            </a:extLst>
          </p:cNvPr>
          <p:cNvSpPr txBox="1"/>
          <p:nvPr/>
        </p:nvSpPr>
        <p:spPr>
          <a:xfrm>
            <a:off x="1246014" y="4433505"/>
            <a:ext cx="927818" cy="369332"/>
          </a:xfrm>
          <a:prstGeom prst="rect">
            <a:avLst/>
          </a:prstGeom>
          <a:noFill/>
        </p:spPr>
        <p:txBody>
          <a:bodyPr wrap="none" rtlCol="0">
            <a:spAutoFit/>
          </a:bodyPr>
          <a:lstStyle/>
          <a:p>
            <a:r>
              <a:rPr lang="en-GB" b="1" dirty="0">
                <a:solidFill>
                  <a:schemeClr val="accent3"/>
                </a:solidFill>
              </a:rPr>
              <a:t>S6 Auto</a:t>
            </a:r>
            <a:endParaRPr lang="cs-CZ" b="1" dirty="0">
              <a:solidFill>
                <a:schemeClr val="accent3"/>
              </a:solidFill>
            </a:endParaRPr>
          </a:p>
        </p:txBody>
      </p:sp>
      <p:sp>
        <p:nvSpPr>
          <p:cNvPr id="17" name="TextovéPole 16">
            <a:extLst>
              <a:ext uri="{FF2B5EF4-FFF2-40B4-BE49-F238E27FC236}">
                <a16:creationId xmlns:a16="http://schemas.microsoft.com/office/drawing/2014/main" id="{80EC4BDD-08A3-4C4A-8A25-FC31DFD20551}"/>
              </a:ext>
            </a:extLst>
          </p:cNvPr>
          <p:cNvSpPr txBox="1"/>
          <p:nvPr/>
        </p:nvSpPr>
        <p:spPr>
          <a:xfrm>
            <a:off x="531814" y="1958196"/>
            <a:ext cx="1075744" cy="276999"/>
          </a:xfrm>
          <a:prstGeom prst="rect">
            <a:avLst/>
          </a:prstGeom>
          <a:noFill/>
        </p:spPr>
        <p:txBody>
          <a:bodyPr wrap="none" rtlCol="0">
            <a:spAutoFit/>
          </a:bodyPr>
          <a:lstStyle/>
          <a:p>
            <a:r>
              <a:rPr lang="en-GB" sz="1200" dirty="0"/>
              <a:t>INITIAL LOOSE</a:t>
            </a:r>
            <a:endParaRPr lang="cs-CZ" sz="1200" dirty="0"/>
          </a:p>
        </p:txBody>
      </p:sp>
      <p:sp>
        <p:nvSpPr>
          <p:cNvPr id="18" name="TextovéPole 17">
            <a:extLst>
              <a:ext uri="{FF2B5EF4-FFF2-40B4-BE49-F238E27FC236}">
                <a16:creationId xmlns:a16="http://schemas.microsoft.com/office/drawing/2014/main" id="{46181FAA-B4B6-47D4-B204-20082B3FEB2B}"/>
              </a:ext>
            </a:extLst>
          </p:cNvPr>
          <p:cNvSpPr txBox="1"/>
          <p:nvPr/>
        </p:nvSpPr>
        <p:spPr>
          <a:xfrm>
            <a:off x="2302800" y="1958195"/>
            <a:ext cx="1618072" cy="276999"/>
          </a:xfrm>
          <a:prstGeom prst="rect">
            <a:avLst/>
          </a:prstGeom>
          <a:noFill/>
        </p:spPr>
        <p:txBody>
          <a:bodyPr wrap="none" rtlCol="0">
            <a:spAutoFit/>
          </a:bodyPr>
          <a:lstStyle/>
          <a:p>
            <a:r>
              <a:rPr lang="en-GB" sz="1200" dirty="0"/>
              <a:t>POST MOUNT REFLOW</a:t>
            </a:r>
            <a:endParaRPr lang="cs-CZ" sz="1200" dirty="0"/>
          </a:p>
        </p:txBody>
      </p:sp>
      <p:sp>
        <p:nvSpPr>
          <p:cNvPr id="19" name="TextovéPole 18">
            <a:extLst>
              <a:ext uri="{FF2B5EF4-FFF2-40B4-BE49-F238E27FC236}">
                <a16:creationId xmlns:a16="http://schemas.microsoft.com/office/drawing/2014/main" id="{DAB571EF-07D3-40C5-83EE-4BCC2165E52E}"/>
              </a:ext>
            </a:extLst>
          </p:cNvPr>
          <p:cNvSpPr txBox="1"/>
          <p:nvPr/>
        </p:nvSpPr>
        <p:spPr>
          <a:xfrm>
            <a:off x="4079194" y="1958195"/>
            <a:ext cx="2297039" cy="276999"/>
          </a:xfrm>
          <a:prstGeom prst="rect">
            <a:avLst/>
          </a:prstGeom>
          <a:noFill/>
        </p:spPr>
        <p:txBody>
          <a:bodyPr wrap="none" rtlCol="0">
            <a:spAutoFit/>
          </a:bodyPr>
          <a:lstStyle/>
          <a:p>
            <a:r>
              <a:rPr lang="en-GB" sz="1200" dirty="0"/>
              <a:t>POST 168h AGEING at 2xVR, 125C</a:t>
            </a:r>
            <a:endParaRPr lang="cs-CZ" sz="1200" dirty="0"/>
          </a:p>
        </p:txBody>
      </p:sp>
      <p:sp>
        <p:nvSpPr>
          <p:cNvPr id="21" name="TextovéPole 20">
            <a:extLst>
              <a:ext uri="{FF2B5EF4-FFF2-40B4-BE49-F238E27FC236}">
                <a16:creationId xmlns:a16="http://schemas.microsoft.com/office/drawing/2014/main" id="{DCF08F14-8FB1-43CA-8BB7-9978857FE383}"/>
              </a:ext>
            </a:extLst>
          </p:cNvPr>
          <p:cNvSpPr txBox="1"/>
          <p:nvPr/>
        </p:nvSpPr>
        <p:spPr>
          <a:xfrm>
            <a:off x="7157994" y="2471327"/>
            <a:ext cx="927818" cy="369332"/>
          </a:xfrm>
          <a:prstGeom prst="rect">
            <a:avLst/>
          </a:prstGeom>
          <a:noFill/>
        </p:spPr>
        <p:txBody>
          <a:bodyPr wrap="none" rtlCol="0">
            <a:spAutoFit/>
          </a:bodyPr>
          <a:lstStyle/>
          <a:p>
            <a:r>
              <a:rPr lang="en-GB" b="1" dirty="0">
                <a:solidFill>
                  <a:srgbClr val="0070C0"/>
                </a:solidFill>
              </a:rPr>
              <a:t>S1 Auto</a:t>
            </a:r>
            <a:endParaRPr lang="cs-CZ" b="1" dirty="0">
              <a:solidFill>
                <a:srgbClr val="0070C0"/>
              </a:solidFill>
            </a:endParaRPr>
          </a:p>
        </p:txBody>
      </p:sp>
      <p:sp>
        <p:nvSpPr>
          <p:cNvPr id="22" name="TextovéPole 21">
            <a:extLst>
              <a:ext uri="{FF2B5EF4-FFF2-40B4-BE49-F238E27FC236}">
                <a16:creationId xmlns:a16="http://schemas.microsoft.com/office/drawing/2014/main" id="{DA4D9E7B-0184-4586-895A-169405B34CB5}"/>
              </a:ext>
            </a:extLst>
          </p:cNvPr>
          <p:cNvSpPr txBox="1"/>
          <p:nvPr/>
        </p:nvSpPr>
        <p:spPr>
          <a:xfrm>
            <a:off x="7225582" y="3452416"/>
            <a:ext cx="955839" cy="369332"/>
          </a:xfrm>
          <a:prstGeom prst="rect">
            <a:avLst/>
          </a:prstGeom>
          <a:noFill/>
        </p:spPr>
        <p:txBody>
          <a:bodyPr wrap="none" rtlCol="0">
            <a:spAutoFit/>
          </a:bodyPr>
          <a:lstStyle/>
          <a:p>
            <a:r>
              <a:rPr lang="en-GB" b="1" dirty="0">
                <a:solidFill>
                  <a:schemeClr val="accent2"/>
                </a:solidFill>
              </a:rPr>
              <a:t>S1 COTS</a:t>
            </a:r>
            <a:endParaRPr lang="cs-CZ" b="1" dirty="0">
              <a:solidFill>
                <a:schemeClr val="accent2"/>
              </a:solidFill>
            </a:endParaRPr>
          </a:p>
        </p:txBody>
      </p:sp>
      <p:sp>
        <p:nvSpPr>
          <p:cNvPr id="23" name="TextovéPole 22">
            <a:extLst>
              <a:ext uri="{FF2B5EF4-FFF2-40B4-BE49-F238E27FC236}">
                <a16:creationId xmlns:a16="http://schemas.microsoft.com/office/drawing/2014/main" id="{70F46F4E-E67B-4955-B66D-E49CAA0BE371}"/>
              </a:ext>
            </a:extLst>
          </p:cNvPr>
          <p:cNvSpPr txBox="1"/>
          <p:nvPr/>
        </p:nvSpPr>
        <p:spPr>
          <a:xfrm>
            <a:off x="6612789" y="1927557"/>
            <a:ext cx="1075744" cy="276999"/>
          </a:xfrm>
          <a:prstGeom prst="rect">
            <a:avLst/>
          </a:prstGeom>
          <a:noFill/>
        </p:spPr>
        <p:txBody>
          <a:bodyPr wrap="none" rtlCol="0">
            <a:spAutoFit/>
          </a:bodyPr>
          <a:lstStyle/>
          <a:p>
            <a:r>
              <a:rPr lang="en-GB" sz="1200" dirty="0"/>
              <a:t>INITIAL LOOSE</a:t>
            </a:r>
            <a:endParaRPr lang="cs-CZ" sz="1200" dirty="0"/>
          </a:p>
        </p:txBody>
      </p:sp>
      <p:sp>
        <p:nvSpPr>
          <p:cNvPr id="24" name="TextovéPole 23">
            <a:extLst>
              <a:ext uri="{FF2B5EF4-FFF2-40B4-BE49-F238E27FC236}">
                <a16:creationId xmlns:a16="http://schemas.microsoft.com/office/drawing/2014/main" id="{D0760661-BD5F-4DFF-AF77-917BB16ACA4C}"/>
              </a:ext>
            </a:extLst>
          </p:cNvPr>
          <p:cNvSpPr txBox="1"/>
          <p:nvPr/>
        </p:nvSpPr>
        <p:spPr>
          <a:xfrm>
            <a:off x="8388776" y="1946003"/>
            <a:ext cx="1074653" cy="276999"/>
          </a:xfrm>
          <a:prstGeom prst="rect">
            <a:avLst/>
          </a:prstGeom>
          <a:noFill/>
        </p:spPr>
        <p:txBody>
          <a:bodyPr wrap="none" rtlCol="0">
            <a:spAutoFit/>
          </a:bodyPr>
          <a:lstStyle/>
          <a:p>
            <a:r>
              <a:rPr lang="en-GB" sz="1200" dirty="0"/>
              <a:t>POST REFLOW</a:t>
            </a:r>
            <a:endParaRPr lang="cs-CZ" sz="1200" dirty="0"/>
          </a:p>
        </p:txBody>
      </p:sp>
      <p:sp>
        <p:nvSpPr>
          <p:cNvPr id="25" name="TextovéPole 24">
            <a:extLst>
              <a:ext uri="{FF2B5EF4-FFF2-40B4-BE49-F238E27FC236}">
                <a16:creationId xmlns:a16="http://schemas.microsoft.com/office/drawing/2014/main" id="{6A32C34F-1F2C-4BBF-BD2E-2CD8A18C579C}"/>
              </a:ext>
            </a:extLst>
          </p:cNvPr>
          <p:cNvSpPr txBox="1"/>
          <p:nvPr/>
        </p:nvSpPr>
        <p:spPr>
          <a:xfrm>
            <a:off x="9894961" y="1927556"/>
            <a:ext cx="2297039" cy="276999"/>
          </a:xfrm>
          <a:prstGeom prst="rect">
            <a:avLst/>
          </a:prstGeom>
          <a:noFill/>
        </p:spPr>
        <p:txBody>
          <a:bodyPr wrap="none" rtlCol="0">
            <a:spAutoFit/>
          </a:bodyPr>
          <a:lstStyle/>
          <a:p>
            <a:r>
              <a:rPr lang="en-GB" sz="1200" dirty="0"/>
              <a:t>POST 168h AGEING at 2xVR, 125C</a:t>
            </a:r>
            <a:endParaRPr lang="cs-CZ" sz="1200" dirty="0"/>
          </a:p>
        </p:txBody>
      </p:sp>
      <p:sp>
        <p:nvSpPr>
          <p:cNvPr id="27" name="Zástupný symbol pro zápatí 2">
            <a:extLst>
              <a:ext uri="{FF2B5EF4-FFF2-40B4-BE49-F238E27FC236}">
                <a16:creationId xmlns:a16="http://schemas.microsoft.com/office/drawing/2014/main" id="{94DDCF14-195F-4526-A11D-E3472FCF687B}"/>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7" name="Zvuk 6">
            <a:hlinkClick r:id="" action="ppaction://media"/>
            <a:extLst>
              <a:ext uri="{FF2B5EF4-FFF2-40B4-BE49-F238E27FC236}">
                <a16:creationId xmlns:a16="http://schemas.microsoft.com/office/drawing/2014/main" id="{8B12985A-AFDB-4A5E-981A-01B09EAF6A24}"/>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3229973888"/>
      </p:ext>
    </p:extLst>
  </p:cSld>
  <p:clrMapOvr>
    <a:masterClrMapping/>
  </p:clrMapOvr>
  <mc:AlternateContent xmlns:mc="http://schemas.openxmlformats.org/markup-compatibility/2006">
    <mc:Choice xmlns:p14="http://schemas.microsoft.com/office/powerpoint/2010/main" Requires="p14">
      <p:transition spd="slow" p14:dur="2000" advTm="5722"/>
    </mc:Choice>
    <mc:Fallback>
      <p:transition spd="slow" advTm="572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E87DDF46-B07A-4183-A6C4-5CFC46E95960}"/>
              </a:ext>
            </a:extLst>
          </p:cNvPr>
          <p:cNvSpPr>
            <a:spLocks noGrp="1"/>
          </p:cNvSpPr>
          <p:nvPr>
            <p:ph type="sldNum" sz="quarter" idx="12"/>
          </p:nvPr>
        </p:nvSpPr>
        <p:spPr/>
        <p:txBody>
          <a:bodyPr/>
          <a:lstStyle/>
          <a:p>
            <a:fld id="{87170177-53BE-4EA4-8CC9-5D64EAB74717}" type="slidenum">
              <a:rPr lang="cs-CZ" sz="900" smtClean="0"/>
              <a:t>21</a:t>
            </a:fld>
            <a:endParaRPr lang="cs-CZ" sz="900" dirty="0"/>
          </a:p>
        </p:txBody>
      </p:sp>
      <p:sp>
        <p:nvSpPr>
          <p:cNvPr id="4" name="Rectangle 94">
            <a:extLst>
              <a:ext uri="{FF2B5EF4-FFF2-40B4-BE49-F238E27FC236}">
                <a16:creationId xmlns:a16="http://schemas.microsoft.com/office/drawing/2014/main" id="{32C0964D-8390-4CE7-85AE-760E74072C20}"/>
              </a:ext>
            </a:extLst>
          </p:cNvPr>
          <p:cNvSpPr/>
          <p:nvPr/>
        </p:nvSpPr>
        <p:spPr>
          <a:xfrm>
            <a:off x="0" y="-17702"/>
            <a:ext cx="12192001" cy="10800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82">
            <a:extLst>
              <a:ext uri="{FF2B5EF4-FFF2-40B4-BE49-F238E27FC236}">
                <a16:creationId xmlns:a16="http://schemas.microsoft.com/office/drawing/2014/main" id="{D0E75087-D62C-461B-B63C-582B2042EDFC}"/>
              </a:ext>
            </a:extLst>
          </p:cNvPr>
          <p:cNvSpPr txBox="1"/>
          <p:nvPr/>
        </p:nvSpPr>
        <p:spPr>
          <a:xfrm>
            <a:off x="304263" y="200887"/>
            <a:ext cx="11583472" cy="584775"/>
          </a:xfrm>
          <a:prstGeom prst="rect">
            <a:avLst/>
          </a:prstGeom>
          <a:noFill/>
        </p:spPr>
        <p:txBody>
          <a:bodyPr wrap="square" rtlCol="0">
            <a:spAutoFit/>
          </a:bodyPr>
          <a:lstStyle/>
          <a:p>
            <a:r>
              <a:rPr lang="en-GB" sz="3200" b="1" dirty="0">
                <a:solidFill>
                  <a:schemeClr val="bg2"/>
                </a:solidFill>
                <a:latin typeface="+mj-lt"/>
              </a:rPr>
              <a:t>Test Summary</a:t>
            </a:r>
            <a:endParaRPr lang="en-US" sz="3200" dirty="0">
              <a:solidFill>
                <a:schemeClr val="tx2"/>
              </a:solidFill>
            </a:endParaRPr>
          </a:p>
        </p:txBody>
      </p:sp>
      <p:sp>
        <p:nvSpPr>
          <p:cNvPr id="6" name="TextovéPole 5">
            <a:extLst>
              <a:ext uri="{FF2B5EF4-FFF2-40B4-BE49-F238E27FC236}">
                <a16:creationId xmlns:a16="http://schemas.microsoft.com/office/drawing/2014/main" id="{3A02EDD2-DE03-4D10-9533-0A34D1817919}"/>
              </a:ext>
            </a:extLst>
          </p:cNvPr>
          <p:cNvSpPr txBox="1"/>
          <p:nvPr/>
        </p:nvSpPr>
        <p:spPr>
          <a:xfrm>
            <a:off x="373486" y="1192631"/>
            <a:ext cx="11445025" cy="5078313"/>
          </a:xfrm>
          <a:prstGeom prst="rect">
            <a:avLst/>
          </a:prstGeom>
          <a:noFill/>
        </p:spPr>
        <p:txBody>
          <a:bodyPr wrap="square" rtlCol="0">
            <a:spAutoFit/>
          </a:bodyPr>
          <a:lstStyle/>
          <a:p>
            <a:pPr marL="285750" indent="-285750">
              <a:buFont typeface="Arial" panose="020B0604020202020204" pitchFamily="34" charset="0"/>
              <a:buChar char="•"/>
            </a:pPr>
            <a:r>
              <a:rPr lang="en-US" dirty="0"/>
              <a:t>Electrical parameters of automotive &amp; COTS/CECC tantalum and MLCC capacitors confirms effective screening testing and limits during manufacturing.</a:t>
            </a:r>
          </a:p>
          <a:p>
            <a:pPr marL="285750" indent="-285750">
              <a:buFont typeface="Arial" panose="020B0604020202020204" pitchFamily="34" charset="0"/>
              <a:buChar char="•"/>
            </a:pPr>
            <a:r>
              <a:rPr lang="en-US" b="1" dirty="0"/>
              <a:t>All tested tantalum and MLCC capacitors passed the ETP testing without any failures and meet manufacturer specifications.</a:t>
            </a:r>
          </a:p>
          <a:p>
            <a:pPr marL="285750" indent="-285750">
              <a:buFont typeface="Arial" panose="020B0604020202020204" pitchFamily="34" charset="0"/>
              <a:buChar char="•"/>
            </a:pPr>
            <a:r>
              <a:rPr lang="en-US" dirty="0"/>
              <a:t>All tantalum capacitors from all vendors in auto and COTS show high grade of robustness against hard surge current.</a:t>
            </a:r>
          </a:p>
          <a:p>
            <a:pPr marL="285750" indent="-285750">
              <a:buFont typeface="Arial" panose="020B0604020202020204" pitchFamily="34" charset="0"/>
              <a:buChar char="•"/>
            </a:pPr>
            <a:r>
              <a:rPr lang="en-US" dirty="0"/>
              <a:t>COTS tantalum capacitors exhibited high grade of robustness against hard surge current. DCL current and other </a:t>
            </a:r>
            <a:r>
              <a:rPr lang="en-US" dirty="0" err="1"/>
              <a:t>el.parameters</a:t>
            </a:r>
            <a:r>
              <a:rPr lang="en-US" dirty="0"/>
              <a:t> were stable and all parts successfully self-healed during the 168h 85C 1xVr ageing without any flyers.</a:t>
            </a:r>
          </a:p>
          <a:p>
            <a:pPr marL="285750" indent="-285750">
              <a:buFont typeface="Arial" panose="020B0604020202020204" pitchFamily="34" charset="0"/>
              <a:buChar char="•"/>
            </a:pPr>
            <a:r>
              <a:rPr lang="en-US" b="1" dirty="0"/>
              <a:t>168h ageing at 85°C/1xVr on tantalum capacitors have been proved as an effective process </a:t>
            </a:r>
            <a:r>
              <a:rPr lang="en-US" dirty="0"/>
              <a:t>to stabilize its DCL with potential to improve reliability by removal of suspicious distribution tail parts by dynamic screening limits post ageing.</a:t>
            </a:r>
          </a:p>
          <a:p>
            <a:pPr marL="285750" indent="-285750">
              <a:buFont typeface="Arial" panose="020B0604020202020204" pitchFamily="34" charset="0"/>
              <a:buChar char="•"/>
            </a:pPr>
            <a:r>
              <a:rPr lang="en-US" dirty="0"/>
              <a:t>168h ageing at 125C 2xVr on 10uF 25V X7R 1210 </a:t>
            </a:r>
            <a:r>
              <a:rPr lang="en-US" b="1" dirty="0"/>
              <a:t>MLCCs capacitors does not show any major impact to the measured electrical parameters. </a:t>
            </a:r>
            <a:r>
              <a:rPr lang="en-US" dirty="0"/>
              <a:t>There were some differences observed in </a:t>
            </a:r>
            <a:r>
              <a:rPr lang="en-US" dirty="0" err="1"/>
              <a:t>behaviour</a:t>
            </a:r>
            <a:r>
              <a:rPr lang="en-US" dirty="0"/>
              <a:t> between the 470nF 25V X7R 1210 MLCC automotive commercial grade and CECC/COTS capacitors in test. </a:t>
            </a:r>
          </a:p>
          <a:p>
            <a:pPr marL="742950" lvl="1" indent="-285750">
              <a:buFont typeface="Arial" panose="020B0604020202020204" pitchFamily="34" charset="0"/>
              <a:buChar char="•"/>
            </a:pPr>
            <a:r>
              <a:rPr lang="en-US" dirty="0"/>
              <a:t>Differences in capacitance distribution and DF/ESR values suggests that the two capacitor groups may have a different design (thickness of dielectric, layer structure, number of layers)</a:t>
            </a:r>
          </a:p>
          <a:p>
            <a:pPr marL="742950" lvl="1" indent="-285750">
              <a:buFont typeface="Arial" panose="020B0604020202020204" pitchFamily="34" charset="0"/>
              <a:buChar char="•"/>
            </a:pPr>
            <a:r>
              <a:rPr lang="en-US" dirty="0"/>
              <a:t>ESR and DF of Auto CECC parts split into two distributions after board mounting thermal stress and </a:t>
            </a:r>
            <a:r>
              <a:rPr lang="en-US" dirty="0" err="1"/>
              <a:t>stabilised</a:t>
            </a:r>
            <a:r>
              <a:rPr lang="en-US" dirty="0"/>
              <a:t> after the 168h ageing. This was not the case of CECC/COTS parts</a:t>
            </a:r>
          </a:p>
          <a:p>
            <a:pPr marL="742950" lvl="1" indent="-285750">
              <a:buFont typeface="Arial" panose="020B0604020202020204" pitchFamily="34" charset="0"/>
              <a:buChar char="•"/>
            </a:pPr>
            <a:r>
              <a:rPr lang="en-US" dirty="0"/>
              <a:t>DCL of CECC/COTS parts significantly decreased after the 168h ageing that was not case of automotive commercial parts. This phenomenon has not yet been explained - pending discussion with the manufacturer.</a:t>
            </a:r>
          </a:p>
        </p:txBody>
      </p:sp>
      <p:sp>
        <p:nvSpPr>
          <p:cNvPr id="8" name="Zástupný symbol pro zápatí 2">
            <a:extLst>
              <a:ext uri="{FF2B5EF4-FFF2-40B4-BE49-F238E27FC236}">
                <a16:creationId xmlns:a16="http://schemas.microsoft.com/office/drawing/2014/main" id="{BDCF2DBB-6BC7-4A0B-B8A6-AC1C3921A083}"/>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2" name="Zvuk 1">
            <a:hlinkClick r:id="" action="ppaction://media"/>
            <a:extLst>
              <a:ext uri="{FF2B5EF4-FFF2-40B4-BE49-F238E27FC236}">
                <a16:creationId xmlns:a16="http://schemas.microsoft.com/office/drawing/2014/main" id="{94C52379-C513-478B-9CF0-D8468FF17ADD}"/>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1178331610"/>
      </p:ext>
    </p:extLst>
  </p:cSld>
  <p:clrMapOvr>
    <a:masterClrMapping/>
  </p:clrMapOvr>
  <mc:AlternateContent xmlns:mc="http://schemas.openxmlformats.org/markup-compatibility/2006">
    <mc:Choice xmlns:p14="http://schemas.microsoft.com/office/powerpoint/2010/main" Requires="p14">
      <p:transition spd="slow" p14:dur="2000" advTm="26062"/>
    </mc:Choice>
    <mc:Fallback>
      <p:transition spd="slow" advTm="2606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37462" y="169043"/>
            <a:ext cx="8229600" cy="96672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baseline="0">
                <a:solidFill>
                  <a:schemeClr val="tx1"/>
                </a:solidFill>
                <a:latin typeface="Arial" panose="020B0604020202020204" pitchFamily="34" charset="0"/>
                <a:ea typeface="+mj-ea"/>
                <a:cs typeface="Arial" panose="020B0604020202020204" pitchFamily="34" charset="0"/>
              </a:defRPr>
            </a:lvl1pPr>
          </a:lstStyle>
          <a:p>
            <a:r>
              <a:rPr lang="en-GB" sz="4800" dirty="0">
                <a:solidFill>
                  <a:srgbClr val="0070C0"/>
                </a:solidFill>
                <a:latin typeface="+mj-lt"/>
              </a:rPr>
              <a:t>CONCLUSIONS</a:t>
            </a:r>
            <a:endParaRPr lang="en-US" sz="4800" dirty="0">
              <a:solidFill>
                <a:srgbClr val="0070C0"/>
              </a:solidFill>
            </a:endParaRPr>
          </a:p>
        </p:txBody>
      </p:sp>
      <p:sp>
        <p:nvSpPr>
          <p:cNvPr id="6" name="TextovéPole 5">
            <a:extLst>
              <a:ext uri="{FF2B5EF4-FFF2-40B4-BE49-F238E27FC236}">
                <a16:creationId xmlns:a16="http://schemas.microsoft.com/office/drawing/2014/main" id="{A1AA593C-D80B-414B-B4F8-83334A30B9D5}"/>
              </a:ext>
            </a:extLst>
          </p:cNvPr>
          <p:cNvSpPr txBox="1"/>
          <p:nvPr/>
        </p:nvSpPr>
        <p:spPr>
          <a:xfrm>
            <a:off x="532327" y="1096942"/>
            <a:ext cx="11290479" cy="5078313"/>
          </a:xfrm>
          <a:prstGeom prst="rect">
            <a:avLst/>
          </a:prstGeom>
          <a:noFill/>
        </p:spPr>
        <p:txBody>
          <a:bodyPr wrap="square" rtlCol="0">
            <a:spAutoFit/>
          </a:bodyPr>
          <a:lstStyle/>
          <a:p>
            <a:pPr marL="285750" indent="-285750">
              <a:buFont typeface="Arial" panose="020B0604020202020204" pitchFamily="34" charset="0"/>
              <a:buChar char="•"/>
            </a:pPr>
            <a:r>
              <a:rPr lang="en-US" b="1" dirty="0"/>
              <a:t>Component types and construction knowledge is required before purchasing. </a:t>
            </a:r>
            <a:r>
              <a:rPr lang="en-US" dirty="0"/>
              <a:t>It is better to study, understand and select appropriate component type from concrete manufacturer before the procurement process. If the user is SME and have to buy through distributors there is a </a:t>
            </a:r>
            <a:r>
              <a:rPr lang="en-US" b="1" dirty="0"/>
              <a:t>number of errors in their database </a:t>
            </a:r>
            <a:r>
              <a:rPr lang="en-US" dirty="0"/>
              <a:t>and thus the search function may not be reliable. Technical support from distributor may be also varying. </a:t>
            </a:r>
          </a:p>
          <a:p>
            <a:pPr marL="285750" indent="-285750">
              <a:buFont typeface="Arial" panose="020B0604020202020204" pitchFamily="34" charset="0"/>
              <a:buChar char="•"/>
            </a:pPr>
            <a:r>
              <a:rPr lang="en-US" b="1" dirty="0"/>
              <a:t>Traceability of the auto parts is at very high level </a:t>
            </a:r>
            <a:r>
              <a:rPr lang="en-US" dirty="0"/>
              <a:t>(required by automotive standards) and it should not be considered as an issue for space industry. (apart of MSL non-modular parts that require attention)</a:t>
            </a:r>
          </a:p>
          <a:p>
            <a:pPr marL="285750" indent="-285750">
              <a:buFont typeface="Arial" panose="020B0604020202020204" pitchFamily="34" charset="0"/>
              <a:buChar char="•"/>
            </a:pPr>
            <a:r>
              <a:rPr lang="en-US" b="1" dirty="0"/>
              <a:t>AEC-Q200 </a:t>
            </a:r>
            <a:r>
              <a:rPr lang="en-US" b="1" dirty="0" err="1"/>
              <a:t>datapackage</a:t>
            </a:r>
            <a:r>
              <a:rPr lang="en-US" b="1" dirty="0"/>
              <a:t> is not a public document </a:t>
            </a:r>
            <a:r>
              <a:rPr lang="en-US" dirty="0"/>
              <a:t>and may not be necessary available. </a:t>
            </a:r>
            <a:r>
              <a:rPr lang="en-US" b="1" dirty="0"/>
              <a:t>Getting the AEC-Q200 through supply chain and distribution may also take some time and communication resources</a:t>
            </a:r>
            <a:r>
              <a:rPr lang="en-US" dirty="0"/>
              <a:t>. </a:t>
            </a:r>
          </a:p>
          <a:p>
            <a:pPr marL="285750" indent="-285750">
              <a:buFont typeface="Arial" panose="020B0604020202020204" pitchFamily="34" charset="0"/>
              <a:buChar char="•"/>
            </a:pPr>
            <a:r>
              <a:rPr lang="en-US" dirty="0"/>
              <a:t>Tantalum capacitors seems to be very robust and manufacturers are not so concerned about using their automotive products in SME space hardware. This is not the case of </a:t>
            </a:r>
            <a:r>
              <a:rPr lang="en-US" b="1" dirty="0"/>
              <a:t>MLCC capacitors</a:t>
            </a:r>
            <a:r>
              <a:rPr lang="en-US" dirty="0"/>
              <a:t>, where all manufacturers declare </a:t>
            </a:r>
            <a:r>
              <a:rPr lang="en-US" b="1" dirty="0"/>
              <a:t>NO LIABILITY </a:t>
            </a:r>
            <a:r>
              <a:rPr lang="en-US" dirty="0"/>
              <a:t>to their </a:t>
            </a:r>
            <a:r>
              <a:rPr lang="en-US" b="1" dirty="0"/>
              <a:t>automotive parts for space application </a:t>
            </a:r>
            <a:r>
              <a:rPr lang="en-US" dirty="0"/>
              <a:t>and refused to provide AEC-Q200 </a:t>
            </a:r>
            <a:r>
              <a:rPr lang="en-US" dirty="0" err="1"/>
              <a:t>datapackage</a:t>
            </a:r>
            <a:r>
              <a:rPr lang="en-US" dirty="0"/>
              <a:t>. </a:t>
            </a:r>
          </a:p>
          <a:p>
            <a:pPr marL="285750" indent="-285750">
              <a:buFont typeface="Arial" panose="020B0604020202020204" pitchFamily="34" charset="0"/>
              <a:buChar char="•"/>
            </a:pPr>
            <a:r>
              <a:rPr lang="en-US" dirty="0"/>
              <a:t>The test quantity may not be reasonable to make a general conclusion, nevertheless, there were </a:t>
            </a:r>
            <a:r>
              <a:rPr lang="en-US" b="1" dirty="0"/>
              <a:t>no significant issues with the robustness of automotive grade tantalum and MLCC capacitors </a:t>
            </a:r>
            <a:r>
              <a:rPr lang="en-US" dirty="0"/>
              <a:t>and they performed well in the evaluation testing. </a:t>
            </a:r>
          </a:p>
          <a:p>
            <a:pPr marL="285750" indent="-285750">
              <a:buFont typeface="Arial" panose="020B0604020202020204" pitchFamily="34" charset="0"/>
              <a:buChar char="•"/>
            </a:pPr>
            <a:r>
              <a:rPr lang="en-US" dirty="0"/>
              <a:t>On the other hand, testing of the original </a:t>
            </a:r>
            <a:r>
              <a:rPr lang="en-US" b="1" dirty="0"/>
              <a:t>COTS / CECC </a:t>
            </a:r>
            <a:r>
              <a:rPr lang="en-US" dirty="0"/>
              <a:t>level suggests that these parts have a more conservative  component design focusing more reliability and robustness. This can be observed on </a:t>
            </a:r>
            <a:r>
              <a:rPr lang="en-US" b="1" dirty="0"/>
              <a:t>lower shift of electrical parametric during the stress conditions </a:t>
            </a:r>
            <a:r>
              <a:rPr lang="en-US" dirty="0"/>
              <a:t>and/or better recovery during ageing step. </a:t>
            </a:r>
          </a:p>
          <a:p>
            <a:pPr marL="285750" indent="-285750">
              <a:buFont typeface="Arial" panose="020B0604020202020204" pitchFamily="34" charset="0"/>
              <a:buChar char="•"/>
            </a:pPr>
            <a:r>
              <a:rPr lang="en-US" b="1" dirty="0"/>
              <a:t>168h ageing have been proved as an effective process to stabilize DCL distribution of capacitors</a:t>
            </a:r>
            <a:endParaRPr lang="cs-CZ" b="1" dirty="0"/>
          </a:p>
        </p:txBody>
      </p:sp>
      <p:grpSp>
        <p:nvGrpSpPr>
          <p:cNvPr id="7" name="Gruppieren 7">
            <a:extLst>
              <a:ext uri="{FF2B5EF4-FFF2-40B4-BE49-F238E27FC236}">
                <a16:creationId xmlns:a16="http://schemas.microsoft.com/office/drawing/2014/main" id="{16B67994-88C7-42AD-BD4B-9E37D0D3E479}"/>
              </a:ext>
            </a:extLst>
          </p:cNvPr>
          <p:cNvGrpSpPr/>
          <p:nvPr/>
        </p:nvGrpSpPr>
        <p:grpSpPr>
          <a:xfrm flipV="1">
            <a:off x="5286720" y="658146"/>
            <a:ext cx="5076181" cy="248403"/>
            <a:chOff x="-15876" y="2994005"/>
            <a:chExt cx="12891701" cy="766736"/>
          </a:xfrm>
          <a:solidFill>
            <a:schemeClr val="accent1"/>
          </a:solidFill>
        </p:grpSpPr>
        <p:sp>
          <p:nvSpPr>
            <p:cNvPr id="8" name="Freeform 7">
              <a:extLst>
                <a:ext uri="{FF2B5EF4-FFF2-40B4-BE49-F238E27FC236}">
                  <a16:creationId xmlns:a16="http://schemas.microsoft.com/office/drawing/2014/main" id="{2BC43125-4225-4548-81A2-AD3C381A9556}"/>
                </a:ext>
              </a:extLst>
            </p:cNvPr>
            <p:cNvSpPr>
              <a:spLocks/>
            </p:cNvSpPr>
            <p:nvPr/>
          </p:nvSpPr>
          <p:spPr bwMode="auto">
            <a:xfrm>
              <a:off x="-15876" y="3140102"/>
              <a:ext cx="9767637" cy="474541"/>
            </a:xfrm>
            <a:custGeom>
              <a:avLst/>
              <a:gdLst>
                <a:gd name="T0" fmla="*/ 0 w 2212"/>
                <a:gd name="T1" fmla="*/ 46 h 207"/>
                <a:gd name="T2" fmla="*/ 0 w 2212"/>
                <a:gd name="T3" fmla="*/ 58 h 207"/>
                <a:gd name="T4" fmla="*/ 281 w 2212"/>
                <a:gd name="T5" fmla="*/ 32 h 207"/>
                <a:gd name="T6" fmla="*/ 738 w 2212"/>
                <a:gd name="T7" fmla="*/ 110 h 207"/>
                <a:gd name="T8" fmla="*/ 1095 w 2212"/>
                <a:gd name="T9" fmla="*/ 179 h 207"/>
                <a:gd name="T10" fmla="*/ 1460 w 2212"/>
                <a:gd name="T11" fmla="*/ 202 h 207"/>
                <a:gd name="T12" fmla="*/ 1924 w 2212"/>
                <a:gd name="T13" fmla="*/ 137 h 207"/>
                <a:gd name="T14" fmla="*/ 2212 w 2212"/>
                <a:gd name="T15" fmla="*/ 30 h 207"/>
                <a:gd name="T16" fmla="*/ 1916 w 2212"/>
                <a:gd name="T17" fmla="*/ 107 h 207"/>
                <a:gd name="T18" fmla="*/ 1459 w 2212"/>
                <a:gd name="T19" fmla="*/ 171 h 207"/>
                <a:gd name="T20" fmla="*/ 1100 w 2212"/>
                <a:gd name="T21" fmla="*/ 148 h 207"/>
                <a:gd name="T22" fmla="*/ 744 w 2212"/>
                <a:gd name="T23" fmla="*/ 80 h 207"/>
                <a:gd name="T24" fmla="*/ 282 w 2212"/>
                <a:gd name="T25" fmla="*/ 1 h 207"/>
                <a:gd name="T26" fmla="*/ 0 w 2212"/>
                <a:gd name="T27" fmla="*/ 46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2" h="207">
                  <a:moveTo>
                    <a:pt x="0" y="46"/>
                  </a:moveTo>
                  <a:cubicBezTo>
                    <a:pt x="0" y="58"/>
                    <a:pt x="0" y="58"/>
                    <a:pt x="0" y="58"/>
                  </a:cubicBezTo>
                  <a:cubicBezTo>
                    <a:pt x="105" y="39"/>
                    <a:pt x="156" y="30"/>
                    <a:pt x="281" y="32"/>
                  </a:cubicBezTo>
                  <a:cubicBezTo>
                    <a:pt x="416" y="40"/>
                    <a:pt x="551" y="73"/>
                    <a:pt x="738" y="110"/>
                  </a:cubicBezTo>
                  <a:cubicBezTo>
                    <a:pt x="924" y="149"/>
                    <a:pt x="1095" y="179"/>
                    <a:pt x="1095" y="179"/>
                  </a:cubicBezTo>
                  <a:cubicBezTo>
                    <a:pt x="1095" y="179"/>
                    <a:pt x="1268" y="207"/>
                    <a:pt x="1460" y="202"/>
                  </a:cubicBezTo>
                  <a:cubicBezTo>
                    <a:pt x="1652" y="202"/>
                    <a:pt x="1858" y="156"/>
                    <a:pt x="1924" y="137"/>
                  </a:cubicBezTo>
                  <a:cubicBezTo>
                    <a:pt x="2048" y="104"/>
                    <a:pt x="2115" y="76"/>
                    <a:pt x="2212" y="30"/>
                  </a:cubicBezTo>
                  <a:cubicBezTo>
                    <a:pt x="2108" y="57"/>
                    <a:pt x="2039" y="75"/>
                    <a:pt x="1916" y="107"/>
                  </a:cubicBezTo>
                  <a:cubicBezTo>
                    <a:pt x="1850" y="126"/>
                    <a:pt x="1648" y="171"/>
                    <a:pt x="1459" y="171"/>
                  </a:cubicBezTo>
                  <a:cubicBezTo>
                    <a:pt x="1270" y="176"/>
                    <a:pt x="1099" y="148"/>
                    <a:pt x="1100" y="148"/>
                  </a:cubicBezTo>
                  <a:cubicBezTo>
                    <a:pt x="1100" y="148"/>
                    <a:pt x="930" y="118"/>
                    <a:pt x="744" y="80"/>
                  </a:cubicBezTo>
                  <a:cubicBezTo>
                    <a:pt x="558" y="43"/>
                    <a:pt x="388" y="6"/>
                    <a:pt x="282" y="1"/>
                  </a:cubicBezTo>
                  <a:cubicBezTo>
                    <a:pt x="189" y="0"/>
                    <a:pt x="75" y="9"/>
                    <a:pt x="0"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78" tIns="34290" rIns="68578" bIns="34290"/>
            <a:lstStyle/>
            <a:p>
              <a:pPr>
                <a:defRPr/>
              </a:pPr>
              <a:endParaRPr lang="en-US" sz="1351" dirty="0">
                <a:solidFill>
                  <a:prstClr val="black"/>
                </a:solidFill>
              </a:endParaRPr>
            </a:p>
          </p:txBody>
        </p:sp>
        <p:sp>
          <p:nvSpPr>
            <p:cNvPr id="10" name="Freeform 8">
              <a:extLst>
                <a:ext uri="{FF2B5EF4-FFF2-40B4-BE49-F238E27FC236}">
                  <a16:creationId xmlns:a16="http://schemas.microsoft.com/office/drawing/2014/main" id="{5488F16F-5856-4C73-87B6-4898B5D82404}"/>
                </a:ext>
              </a:extLst>
            </p:cNvPr>
            <p:cNvSpPr>
              <a:spLocks/>
            </p:cNvSpPr>
            <p:nvPr/>
          </p:nvSpPr>
          <p:spPr bwMode="auto">
            <a:xfrm>
              <a:off x="-15875" y="2994005"/>
              <a:ext cx="12891700" cy="766736"/>
            </a:xfrm>
            <a:custGeom>
              <a:avLst/>
              <a:gdLst>
                <a:gd name="T0" fmla="*/ 0 w 3260"/>
                <a:gd name="T1" fmla="*/ 181 h 257"/>
                <a:gd name="T2" fmla="*/ 0 w 3260"/>
                <a:gd name="T3" fmla="*/ 195 h 257"/>
                <a:gd name="T4" fmla="*/ 441 w 3260"/>
                <a:gd name="T5" fmla="*/ 134 h 257"/>
                <a:gd name="T6" fmla="*/ 1106 w 3260"/>
                <a:gd name="T7" fmla="*/ 44 h 257"/>
                <a:gd name="T8" fmla="*/ 1629 w 3260"/>
                <a:gd name="T9" fmla="*/ 64 h 257"/>
                <a:gd name="T10" fmla="*/ 2148 w 3260"/>
                <a:gd name="T11" fmla="*/ 136 h 257"/>
                <a:gd name="T12" fmla="*/ 2816 w 3260"/>
                <a:gd name="T13" fmla="*/ 240 h 257"/>
                <a:gd name="T14" fmla="*/ 3260 w 3260"/>
                <a:gd name="T15" fmla="*/ 221 h 257"/>
                <a:gd name="T16" fmla="*/ 2819 w 3260"/>
                <a:gd name="T17" fmla="*/ 209 h 257"/>
                <a:gd name="T18" fmla="*/ 2153 w 3260"/>
                <a:gd name="T19" fmla="*/ 105 h 257"/>
                <a:gd name="T20" fmla="*/ 1632 w 3260"/>
                <a:gd name="T21" fmla="*/ 33 h 257"/>
                <a:gd name="T22" fmla="*/ 1105 w 3260"/>
                <a:gd name="T23" fmla="*/ 12 h 257"/>
                <a:gd name="T24" fmla="*/ 434 w 3260"/>
                <a:gd name="T25" fmla="*/ 104 h 257"/>
                <a:gd name="T26" fmla="*/ 0 w 3260"/>
                <a:gd name="T27" fmla="*/ 181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60" h="257">
                  <a:moveTo>
                    <a:pt x="0" y="181"/>
                  </a:moveTo>
                  <a:cubicBezTo>
                    <a:pt x="0" y="195"/>
                    <a:pt x="0" y="195"/>
                    <a:pt x="0" y="195"/>
                  </a:cubicBezTo>
                  <a:cubicBezTo>
                    <a:pt x="114" y="194"/>
                    <a:pt x="295" y="166"/>
                    <a:pt x="441" y="134"/>
                  </a:cubicBezTo>
                  <a:cubicBezTo>
                    <a:pt x="538" y="110"/>
                    <a:pt x="832" y="51"/>
                    <a:pt x="1106" y="44"/>
                  </a:cubicBezTo>
                  <a:cubicBezTo>
                    <a:pt x="1380" y="32"/>
                    <a:pt x="1629" y="65"/>
                    <a:pt x="1629" y="64"/>
                  </a:cubicBezTo>
                  <a:cubicBezTo>
                    <a:pt x="1629" y="63"/>
                    <a:pt x="1877" y="91"/>
                    <a:pt x="2148" y="136"/>
                  </a:cubicBezTo>
                  <a:cubicBezTo>
                    <a:pt x="2420" y="177"/>
                    <a:pt x="2715" y="233"/>
                    <a:pt x="2816" y="240"/>
                  </a:cubicBezTo>
                  <a:cubicBezTo>
                    <a:pt x="3001" y="257"/>
                    <a:pt x="3108" y="250"/>
                    <a:pt x="3260" y="221"/>
                  </a:cubicBezTo>
                  <a:cubicBezTo>
                    <a:pt x="3106" y="230"/>
                    <a:pt x="3002" y="226"/>
                    <a:pt x="2819" y="209"/>
                  </a:cubicBezTo>
                  <a:cubicBezTo>
                    <a:pt x="2720" y="202"/>
                    <a:pt x="2426" y="147"/>
                    <a:pt x="2153" y="105"/>
                  </a:cubicBezTo>
                  <a:cubicBezTo>
                    <a:pt x="1882" y="60"/>
                    <a:pt x="1632" y="32"/>
                    <a:pt x="1632" y="33"/>
                  </a:cubicBezTo>
                  <a:cubicBezTo>
                    <a:pt x="1632" y="34"/>
                    <a:pt x="1382" y="0"/>
                    <a:pt x="1105" y="12"/>
                  </a:cubicBezTo>
                  <a:cubicBezTo>
                    <a:pt x="828" y="19"/>
                    <a:pt x="531" y="79"/>
                    <a:pt x="434" y="104"/>
                  </a:cubicBezTo>
                  <a:cubicBezTo>
                    <a:pt x="255" y="143"/>
                    <a:pt x="154" y="169"/>
                    <a:pt x="0" y="181"/>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78" tIns="34290" rIns="68578" bIns="34290"/>
            <a:lstStyle/>
            <a:p>
              <a:pPr>
                <a:defRPr/>
              </a:pPr>
              <a:endParaRPr lang="en-US" sz="1351" dirty="0">
                <a:solidFill>
                  <a:prstClr val="black"/>
                </a:solidFill>
              </a:endParaRPr>
            </a:p>
          </p:txBody>
        </p:sp>
      </p:grpSp>
      <p:sp>
        <p:nvSpPr>
          <p:cNvPr id="11" name="Titel 1">
            <a:extLst>
              <a:ext uri="{FF2B5EF4-FFF2-40B4-BE49-F238E27FC236}">
                <a16:creationId xmlns:a16="http://schemas.microsoft.com/office/drawing/2014/main" id="{5AF785C5-E15D-4C5B-B51D-CA823DD6C690}"/>
              </a:ext>
            </a:extLst>
          </p:cNvPr>
          <p:cNvSpPr txBox="1">
            <a:spLocks/>
          </p:cNvSpPr>
          <p:nvPr/>
        </p:nvSpPr>
        <p:spPr>
          <a:xfrm>
            <a:off x="5537318" y="106631"/>
            <a:ext cx="6452991" cy="46232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cs-CZ" altLang="en-US" sz="2400" dirty="0"/>
              <a:t>EPCI </a:t>
            </a:r>
            <a:r>
              <a:rPr lang="en-GB" altLang="en-US" sz="2400" dirty="0"/>
              <a:t>European Passive Components </a:t>
            </a:r>
            <a:r>
              <a:rPr lang="cs-CZ" altLang="en-US" sz="2400" dirty="0"/>
              <a:t>Institut</a:t>
            </a:r>
            <a:r>
              <a:rPr lang="en-GB" altLang="en-US" sz="2400" dirty="0"/>
              <a:t>e</a:t>
            </a:r>
          </a:p>
        </p:txBody>
      </p:sp>
      <p:pic>
        <p:nvPicPr>
          <p:cNvPr id="12" name="Obrázek 11">
            <a:extLst>
              <a:ext uri="{FF2B5EF4-FFF2-40B4-BE49-F238E27FC236}">
                <a16:creationId xmlns:a16="http://schemas.microsoft.com/office/drawing/2014/main" id="{85DFF128-0B2D-4F09-B91F-58864714AE55}"/>
              </a:ext>
            </a:extLst>
          </p:cNvPr>
          <p:cNvPicPr>
            <a:picLocks noChangeAspect="1"/>
          </p:cNvPicPr>
          <p:nvPr/>
        </p:nvPicPr>
        <p:blipFill>
          <a:blip r:embed="rId4"/>
          <a:stretch>
            <a:fillRect/>
          </a:stretch>
        </p:blipFill>
        <p:spPr>
          <a:xfrm>
            <a:off x="11153167" y="65287"/>
            <a:ext cx="837142" cy="837142"/>
          </a:xfrm>
          <a:prstGeom prst="rect">
            <a:avLst/>
          </a:prstGeom>
        </p:spPr>
      </p:pic>
      <p:sp>
        <p:nvSpPr>
          <p:cNvPr id="13" name="Zástupný symbol pro zápatí 2">
            <a:extLst>
              <a:ext uri="{FF2B5EF4-FFF2-40B4-BE49-F238E27FC236}">
                <a16:creationId xmlns:a16="http://schemas.microsoft.com/office/drawing/2014/main" id="{160CFF9B-E5AF-42B1-B4E4-D9C9CF90C293}"/>
              </a:ext>
            </a:extLst>
          </p:cNvPr>
          <p:cNvSpPr txBox="1">
            <a:spLocks/>
          </p:cNvSpPr>
          <p:nvPr/>
        </p:nvSpPr>
        <p:spPr>
          <a:xfrm>
            <a:off x="4038600" y="6356350"/>
            <a:ext cx="4114800" cy="365125"/>
          </a:xfrm>
          <a:prstGeom prst="rect">
            <a:avLst/>
          </a:prstGeom>
        </p:spPr>
        <p:txBody>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dirty="0">
                <a:solidFill>
                  <a:schemeClr val="bg1">
                    <a:lumMod val="65000"/>
                  </a:schemeClr>
                </a:solidFill>
              </a:rPr>
              <a:t>CMSE </a:t>
            </a:r>
            <a:r>
              <a:rPr lang="cs-CZ" sz="900" dirty="0">
                <a:solidFill>
                  <a:schemeClr val="bg1">
                    <a:lumMod val="65000"/>
                  </a:schemeClr>
                </a:solidFill>
              </a:rPr>
              <a:t>2021</a:t>
            </a:r>
          </a:p>
        </p:txBody>
      </p:sp>
      <p:sp>
        <p:nvSpPr>
          <p:cNvPr id="14" name="Zástupný symbol pro číslo snímku 18">
            <a:extLst>
              <a:ext uri="{FF2B5EF4-FFF2-40B4-BE49-F238E27FC236}">
                <a16:creationId xmlns:a16="http://schemas.microsoft.com/office/drawing/2014/main" id="{3F6F506A-B877-4D4A-9EE5-388E0330CDFD}"/>
              </a:ext>
            </a:extLst>
          </p:cNvPr>
          <p:cNvSpPr txBox="1">
            <a:spLocks/>
          </p:cNvSpPr>
          <p:nvPr/>
        </p:nvSpPr>
        <p:spPr>
          <a:xfrm>
            <a:off x="8610600" y="6356350"/>
            <a:ext cx="2743200" cy="365125"/>
          </a:xfrm>
          <a:prstGeom prst="rect">
            <a:avLst/>
          </a:prstGeom>
        </p:spPr>
        <p:txBody>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87170177-53BE-4EA4-8CC9-5D64EAB74717}" type="slidenum">
              <a:rPr lang="cs-CZ" sz="900" smtClean="0">
                <a:solidFill>
                  <a:schemeClr val="bg1">
                    <a:lumMod val="65000"/>
                  </a:schemeClr>
                </a:solidFill>
              </a:rPr>
              <a:pPr algn="r"/>
              <a:t>22</a:t>
            </a:fld>
            <a:endParaRPr lang="cs-CZ" sz="900" dirty="0">
              <a:solidFill>
                <a:schemeClr val="bg1">
                  <a:lumMod val="65000"/>
                </a:schemeClr>
              </a:solidFill>
            </a:endParaRPr>
          </a:p>
        </p:txBody>
      </p:sp>
      <p:sp>
        <p:nvSpPr>
          <p:cNvPr id="15" name="TextovéPole 14">
            <a:extLst>
              <a:ext uri="{FF2B5EF4-FFF2-40B4-BE49-F238E27FC236}">
                <a16:creationId xmlns:a16="http://schemas.microsoft.com/office/drawing/2014/main" id="{A35D4915-CB9B-4453-9B58-3F9FE9A11325}"/>
              </a:ext>
            </a:extLst>
          </p:cNvPr>
          <p:cNvSpPr txBox="1"/>
          <p:nvPr/>
        </p:nvSpPr>
        <p:spPr>
          <a:xfrm>
            <a:off x="703685" y="6431190"/>
            <a:ext cx="702436" cy="215444"/>
          </a:xfrm>
          <a:prstGeom prst="rect">
            <a:avLst/>
          </a:prstGeom>
          <a:noFill/>
        </p:spPr>
        <p:txBody>
          <a:bodyPr wrap="none" rtlCol="0">
            <a:spAutoFit/>
          </a:bodyPr>
          <a:lstStyle/>
          <a:p>
            <a:r>
              <a:rPr lang="en-GB" sz="800" dirty="0">
                <a:solidFill>
                  <a:schemeClr val="tx1">
                    <a:lumMod val="50000"/>
                    <a:lumOff val="50000"/>
                  </a:schemeClr>
                </a:solidFill>
              </a:rPr>
              <a:t>© EPCI 2021</a:t>
            </a:r>
            <a:endParaRPr lang="cs-CZ" sz="800" dirty="0">
              <a:solidFill>
                <a:schemeClr val="tx1">
                  <a:lumMod val="50000"/>
                  <a:lumOff val="50000"/>
                </a:schemeClr>
              </a:solidFill>
            </a:endParaRPr>
          </a:p>
        </p:txBody>
      </p:sp>
      <p:pic>
        <p:nvPicPr>
          <p:cNvPr id="2" name="Zvuk 1">
            <a:hlinkClick r:id="" action="ppaction://media"/>
            <a:extLst>
              <a:ext uri="{FF2B5EF4-FFF2-40B4-BE49-F238E27FC236}">
                <a16:creationId xmlns:a16="http://schemas.microsoft.com/office/drawing/2014/main" id="{9F379499-5E54-4CF2-80D3-0C7F206527A8}"/>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4030168640"/>
      </p:ext>
    </p:extLst>
  </p:cSld>
  <p:clrMapOvr>
    <a:masterClrMapping/>
  </p:clrMapOvr>
  <mc:AlternateContent xmlns:mc="http://schemas.openxmlformats.org/markup-compatibility/2006">
    <mc:Choice xmlns:p14="http://schemas.microsoft.com/office/powerpoint/2010/main" Requires="p14">
      <p:transition spd="slow" p14:dur="2000" advTm="137123"/>
    </mc:Choice>
    <mc:Fallback>
      <p:transition spd="slow" advTm="13712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ieren 7"/>
          <p:cNvGrpSpPr/>
          <p:nvPr/>
        </p:nvGrpSpPr>
        <p:grpSpPr>
          <a:xfrm flipV="1">
            <a:off x="5419777" y="551422"/>
            <a:ext cx="5076334" cy="248411"/>
            <a:chOff x="-15876" y="2994005"/>
            <a:chExt cx="12891701" cy="766736"/>
          </a:xfrm>
          <a:solidFill>
            <a:schemeClr val="accent1"/>
          </a:solidFill>
        </p:grpSpPr>
        <p:sp>
          <p:nvSpPr>
            <p:cNvPr id="22" name="Freeform 7"/>
            <p:cNvSpPr>
              <a:spLocks/>
            </p:cNvSpPr>
            <p:nvPr/>
          </p:nvSpPr>
          <p:spPr bwMode="auto">
            <a:xfrm>
              <a:off x="-15876" y="3140102"/>
              <a:ext cx="9767637" cy="474541"/>
            </a:xfrm>
            <a:custGeom>
              <a:avLst/>
              <a:gdLst>
                <a:gd name="T0" fmla="*/ 0 w 2212"/>
                <a:gd name="T1" fmla="*/ 46 h 207"/>
                <a:gd name="T2" fmla="*/ 0 w 2212"/>
                <a:gd name="T3" fmla="*/ 58 h 207"/>
                <a:gd name="T4" fmla="*/ 281 w 2212"/>
                <a:gd name="T5" fmla="*/ 32 h 207"/>
                <a:gd name="T6" fmla="*/ 738 w 2212"/>
                <a:gd name="T7" fmla="*/ 110 h 207"/>
                <a:gd name="T8" fmla="*/ 1095 w 2212"/>
                <a:gd name="T9" fmla="*/ 179 h 207"/>
                <a:gd name="T10" fmla="*/ 1460 w 2212"/>
                <a:gd name="T11" fmla="*/ 202 h 207"/>
                <a:gd name="T12" fmla="*/ 1924 w 2212"/>
                <a:gd name="T13" fmla="*/ 137 h 207"/>
                <a:gd name="T14" fmla="*/ 2212 w 2212"/>
                <a:gd name="T15" fmla="*/ 30 h 207"/>
                <a:gd name="T16" fmla="*/ 1916 w 2212"/>
                <a:gd name="T17" fmla="*/ 107 h 207"/>
                <a:gd name="T18" fmla="*/ 1459 w 2212"/>
                <a:gd name="T19" fmla="*/ 171 h 207"/>
                <a:gd name="T20" fmla="*/ 1100 w 2212"/>
                <a:gd name="T21" fmla="*/ 148 h 207"/>
                <a:gd name="T22" fmla="*/ 744 w 2212"/>
                <a:gd name="T23" fmla="*/ 80 h 207"/>
                <a:gd name="T24" fmla="*/ 282 w 2212"/>
                <a:gd name="T25" fmla="*/ 1 h 207"/>
                <a:gd name="T26" fmla="*/ 0 w 2212"/>
                <a:gd name="T27" fmla="*/ 46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2" h="207">
                  <a:moveTo>
                    <a:pt x="0" y="46"/>
                  </a:moveTo>
                  <a:cubicBezTo>
                    <a:pt x="0" y="58"/>
                    <a:pt x="0" y="58"/>
                    <a:pt x="0" y="58"/>
                  </a:cubicBezTo>
                  <a:cubicBezTo>
                    <a:pt x="105" y="39"/>
                    <a:pt x="156" y="30"/>
                    <a:pt x="281" y="32"/>
                  </a:cubicBezTo>
                  <a:cubicBezTo>
                    <a:pt x="416" y="40"/>
                    <a:pt x="551" y="73"/>
                    <a:pt x="738" y="110"/>
                  </a:cubicBezTo>
                  <a:cubicBezTo>
                    <a:pt x="924" y="149"/>
                    <a:pt x="1095" y="179"/>
                    <a:pt x="1095" y="179"/>
                  </a:cubicBezTo>
                  <a:cubicBezTo>
                    <a:pt x="1095" y="179"/>
                    <a:pt x="1268" y="207"/>
                    <a:pt x="1460" y="202"/>
                  </a:cubicBezTo>
                  <a:cubicBezTo>
                    <a:pt x="1652" y="202"/>
                    <a:pt x="1858" y="156"/>
                    <a:pt x="1924" y="137"/>
                  </a:cubicBezTo>
                  <a:cubicBezTo>
                    <a:pt x="2048" y="104"/>
                    <a:pt x="2115" y="76"/>
                    <a:pt x="2212" y="30"/>
                  </a:cubicBezTo>
                  <a:cubicBezTo>
                    <a:pt x="2108" y="57"/>
                    <a:pt x="2039" y="75"/>
                    <a:pt x="1916" y="107"/>
                  </a:cubicBezTo>
                  <a:cubicBezTo>
                    <a:pt x="1850" y="126"/>
                    <a:pt x="1648" y="171"/>
                    <a:pt x="1459" y="171"/>
                  </a:cubicBezTo>
                  <a:cubicBezTo>
                    <a:pt x="1270" y="176"/>
                    <a:pt x="1099" y="148"/>
                    <a:pt x="1100" y="148"/>
                  </a:cubicBezTo>
                  <a:cubicBezTo>
                    <a:pt x="1100" y="148"/>
                    <a:pt x="930" y="118"/>
                    <a:pt x="744" y="80"/>
                  </a:cubicBezTo>
                  <a:cubicBezTo>
                    <a:pt x="558" y="43"/>
                    <a:pt x="388" y="6"/>
                    <a:pt x="282" y="1"/>
                  </a:cubicBezTo>
                  <a:cubicBezTo>
                    <a:pt x="189" y="0"/>
                    <a:pt x="75" y="9"/>
                    <a:pt x="0"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1" rIns="68580" bIns="34291"/>
            <a:lstStyle/>
            <a:p>
              <a:pPr>
                <a:defRPr/>
              </a:pPr>
              <a:endParaRPr lang="en-US" sz="1351" dirty="0">
                <a:solidFill>
                  <a:prstClr val="black"/>
                </a:solidFill>
              </a:endParaRPr>
            </a:p>
          </p:txBody>
        </p:sp>
        <p:sp>
          <p:nvSpPr>
            <p:cNvPr id="23" name="Freeform 8"/>
            <p:cNvSpPr>
              <a:spLocks/>
            </p:cNvSpPr>
            <p:nvPr/>
          </p:nvSpPr>
          <p:spPr bwMode="auto">
            <a:xfrm>
              <a:off x="-15875" y="2994005"/>
              <a:ext cx="12891700" cy="766736"/>
            </a:xfrm>
            <a:custGeom>
              <a:avLst/>
              <a:gdLst>
                <a:gd name="T0" fmla="*/ 0 w 3260"/>
                <a:gd name="T1" fmla="*/ 181 h 257"/>
                <a:gd name="T2" fmla="*/ 0 w 3260"/>
                <a:gd name="T3" fmla="*/ 195 h 257"/>
                <a:gd name="T4" fmla="*/ 441 w 3260"/>
                <a:gd name="T5" fmla="*/ 134 h 257"/>
                <a:gd name="T6" fmla="*/ 1106 w 3260"/>
                <a:gd name="T7" fmla="*/ 44 h 257"/>
                <a:gd name="T8" fmla="*/ 1629 w 3260"/>
                <a:gd name="T9" fmla="*/ 64 h 257"/>
                <a:gd name="T10" fmla="*/ 2148 w 3260"/>
                <a:gd name="T11" fmla="*/ 136 h 257"/>
                <a:gd name="T12" fmla="*/ 2816 w 3260"/>
                <a:gd name="T13" fmla="*/ 240 h 257"/>
                <a:gd name="T14" fmla="*/ 3260 w 3260"/>
                <a:gd name="T15" fmla="*/ 221 h 257"/>
                <a:gd name="T16" fmla="*/ 2819 w 3260"/>
                <a:gd name="T17" fmla="*/ 209 h 257"/>
                <a:gd name="T18" fmla="*/ 2153 w 3260"/>
                <a:gd name="T19" fmla="*/ 105 h 257"/>
                <a:gd name="T20" fmla="*/ 1632 w 3260"/>
                <a:gd name="T21" fmla="*/ 33 h 257"/>
                <a:gd name="T22" fmla="*/ 1105 w 3260"/>
                <a:gd name="T23" fmla="*/ 12 h 257"/>
                <a:gd name="T24" fmla="*/ 434 w 3260"/>
                <a:gd name="T25" fmla="*/ 104 h 257"/>
                <a:gd name="T26" fmla="*/ 0 w 3260"/>
                <a:gd name="T27" fmla="*/ 181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60" h="257">
                  <a:moveTo>
                    <a:pt x="0" y="181"/>
                  </a:moveTo>
                  <a:cubicBezTo>
                    <a:pt x="0" y="195"/>
                    <a:pt x="0" y="195"/>
                    <a:pt x="0" y="195"/>
                  </a:cubicBezTo>
                  <a:cubicBezTo>
                    <a:pt x="114" y="194"/>
                    <a:pt x="295" y="166"/>
                    <a:pt x="441" y="134"/>
                  </a:cubicBezTo>
                  <a:cubicBezTo>
                    <a:pt x="538" y="110"/>
                    <a:pt x="832" y="51"/>
                    <a:pt x="1106" y="44"/>
                  </a:cubicBezTo>
                  <a:cubicBezTo>
                    <a:pt x="1380" y="32"/>
                    <a:pt x="1629" y="65"/>
                    <a:pt x="1629" y="64"/>
                  </a:cubicBezTo>
                  <a:cubicBezTo>
                    <a:pt x="1629" y="63"/>
                    <a:pt x="1877" y="91"/>
                    <a:pt x="2148" y="136"/>
                  </a:cubicBezTo>
                  <a:cubicBezTo>
                    <a:pt x="2420" y="177"/>
                    <a:pt x="2715" y="233"/>
                    <a:pt x="2816" y="240"/>
                  </a:cubicBezTo>
                  <a:cubicBezTo>
                    <a:pt x="3001" y="257"/>
                    <a:pt x="3108" y="250"/>
                    <a:pt x="3260" y="221"/>
                  </a:cubicBezTo>
                  <a:cubicBezTo>
                    <a:pt x="3106" y="230"/>
                    <a:pt x="3002" y="226"/>
                    <a:pt x="2819" y="209"/>
                  </a:cubicBezTo>
                  <a:cubicBezTo>
                    <a:pt x="2720" y="202"/>
                    <a:pt x="2426" y="147"/>
                    <a:pt x="2153" y="105"/>
                  </a:cubicBezTo>
                  <a:cubicBezTo>
                    <a:pt x="1882" y="60"/>
                    <a:pt x="1632" y="32"/>
                    <a:pt x="1632" y="33"/>
                  </a:cubicBezTo>
                  <a:cubicBezTo>
                    <a:pt x="1632" y="34"/>
                    <a:pt x="1382" y="0"/>
                    <a:pt x="1105" y="12"/>
                  </a:cubicBezTo>
                  <a:cubicBezTo>
                    <a:pt x="828" y="19"/>
                    <a:pt x="531" y="79"/>
                    <a:pt x="434" y="104"/>
                  </a:cubicBezTo>
                  <a:cubicBezTo>
                    <a:pt x="255" y="143"/>
                    <a:pt x="154" y="169"/>
                    <a:pt x="0" y="181"/>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1" rIns="68580" bIns="34291"/>
            <a:lstStyle/>
            <a:p>
              <a:pPr>
                <a:defRPr/>
              </a:pPr>
              <a:endParaRPr lang="en-US" sz="1351" dirty="0">
                <a:solidFill>
                  <a:prstClr val="black"/>
                </a:solidFill>
              </a:endParaRPr>
            </a:p>
          </p:txBody>
        </p:sp>
      </p:grpSp>
      <p:sp>
        <p:nvSpPr>
          <p:cNvPr id="24" name="Titel 1"/>
          <p:cNvSpPr txBox="1">
            <a:spLocks/>
          </p:cNvSpPr>
          <p:nvPr/>
        </p:nvSpPr>
        <p:spPr>
          <a:xfrm>
            <a:off x="5537300" y="106530"/>
            <a:ext cx="6034601" cy="46234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cs-CZ" altLang="en-US" sz="2400" dirty="0"/>
              <a:t>EPCI </a:t>
            </a:r>
            <a:r>
              <a:rPr lang="en-GB" altLang="en-US" sz="2400" dirty="0"/>
              <a:t>European Passive Components </a:t>
            </a:r>
            <a:r>
              <a:rPr lang="cs-CZ" altLang="en-US" sz="2400" dirty="0"/>
              <a:t>Institut</a:t>
            </a:r>
            <a:r>
              <a:rPr lang="en-GB" altLang="en-US" sz="2400" dirty="0"/>
              <a:t>e</a:t>
            </a:r>
          </a:p>
        </p:txBody>
      </p:sp>
      <p:pic>
        <p:nvPicPr>
          <p:cNvPr id="25" name="Obrázek 24"/>
          <p:cNvPicPr>
            <a:picLocks noChangeAspect="1"/>
          </p:cNvPicPr>
          <p:nvPr/>
        </p:nvPicPr>
        <p:blipFill>
          <a:blip r:embed="rId4"/>
          <a:stretch>
            <a:fillRect/>
          </a:stretch>
        </p:blipFill>
        <p:spPr>
          <a:xfrm>
            <a:off x="11153318" y="65185"/>
            <a:ext cx="837167" cy="837167"/>
          </a:xfrm>
          <a:prstGeom prst="rect">
            <a:avLst/>
          </a:prstGeom>
        </p:spPr>
      </p:pic>
      <p:sp>
        <p:nvSpPr>
          <p:cNvPr id="20" name="TextovéPole 19"/>
          <p:cNvSpPr txBox="1"/>
          <p:nvPr/>
        </p:nvSpPr>
        <p:spPr>
          <a:xfrm>
            <a:off x="6392318" y="1882257"/>
            <a:ext cx="5408404" cy="1292662"/>
          </a:xfrm>
          <a:prstGeom prst="rect">
            <a:avLst/>
          </a:prstGeom>
          <a:noFill/>
        </p:spPr>
        <p:txBody>
          <a:bodyPr wrap="none" rtlCol="0">
            <a:spAutoFit/>
          </a:bodyPr>
          <a:lstStyle/>
          <a:p>
            <a:pPr marL="285750" indent="-285750">
              <a:buSzPct val="100000"/>
              <a:buFont typeface="Arial" panose="020B0604020202020204" pitchFamily="34" charset="0"/>
              <a:buChar char="•"/>
            </a:pPr>
            <a:r>
              <a:rPr lang="en-GB" sz="1600" dirty="0"/>
              <a:t>International conference dedicated to Passive Components</a:t>
            </a:r>
          </a:p>
          <a:p>
            <a:pPr marL="285750" indent="-285750">
              <a:buSzPct val="100000"/>
              <a:buFont typeface="Arial" panose="020B0604020202020204" pitchFamily="34" charset="0"/>
              <a:buChar char="•"/>
            </a:pPr>
            <a:r>
              <a:rPr lang="en-GB" sz="1600" dirty="0"/>
              <a:t>Bi-annual event hosted by European university</a:t>
            </a:r>
          </a:p>
          <a:p>
            <a:pPr marL="285750" indent="-285750">
              <a:buSzPct val="100000"/>
              <a:buFont typeface="Arial" panose="020B0604020202020204" pitchFamily="34" charset="0"/>
              <a:buChar char="•"/>
            </a:pPr>
            <a:r>
              <a:rPr lang="en-GB" sz="1600" dirty="0"/>
              <a:t>3rd PCNS 2021 </a:t>
            </a:r>
            <a:r>
              <a:rPr lang="en-GB" sz="1400" dirty="0"/>
              <a:t>hosted by </a:t>
            </a:r>
            <a:r>
              <a:rPr lang="en-GB" sz="1400" dirty="0" err="1"/>
              <a:t>Politecnico</a:t>
            </a:r>
            <a:r>
              <a:rPr lang="en-GB" sz="1400" dirty="0"/>
              <a:t> di Milano university</a:t>
            </a:r>
          </a:p>
          <a:p>
            <a:pPr marL="285750" indent="-285750">
              <a:buSzPct val="100000"/>
              <a:buFont typeface="Arial" panose="020B0604020202020204" pitchFamily="34" charset="0"/>
              <a:buChar char="•"/>
            </a:pPr>
            <a:r>
              <a:rPr lang="en-GB" sz="1600" dirty="0"/>
              <a:t>Intended as </a:t>
            </a:r>
            <a:r>
              <a:rPr lang="cs-CZ" sz="1600" dirty="0"/>
              <a:t>H</a:t>
            </a:r>
            <a:r>
              <a:rPr lang="en-GB" sz="1600" dirty="0" err="1"/>
              <a:t>ybrid</a:t>
            </a:r>
            <a:r>
              <a:rPr lang="en-GB" sz="1600" dirty="0"/>
              <a:t> even</a:t>
            </a:r>
            <a:r>
              <a:rPr lang="cs-CZ" sz="1600" dirty="0"/>
              <a:t>t</a:t>
            </a:r>
            <a:r>
              <a:rPr lang="en-GB" sz="1600" dirty="0"/>
              <a:t> </a:t>
            </a:r>
            <a:r>
              <a:rPr lang="en-GB" sz="1400" dirty="0"/>
              <a:t>with streamed live </a:t>
            </a:r>
            <a:r>
              <a:rPr lang="cs-CZ" sz="1400" dirty="0" err="1"/>
              <a:t>speakers</a:t>
            </a:r>
            <a:endParaRPr lang="en-GB" sz="1600" dirty="0"/>
          </a:p>
          <a:p>
            <a:pPr>
              <a:buSzPct val="100000"/>
            </a:pPr>
            <a:r>
              <a:rPr lang="en-GB" sz="1400" dirty="0"/>
              <a:t>        </a:t>
            </a:r>
          </a:p>
        </p:txBody>
      </p:sp>
      <p:sp>
        <p:nvSpPr>
          <p:cNvPr id="11" name="TextovéPole 10">
            <a:extLst>
              <a:ext uri="{FF2B5EF4-FFF2-40B4-BE49-F238E27FC236}">
                <a16:creationId xmlns:a16="http://schemas.microsoft.com/office/drawing/2014/main" id="{7885D210-6E20-4358-9D30-1715FC53DFD6}"/>
              </a:ext>
            </a:extLst>
          </p:cNvPr>
          <p:cNvSpPr txBox="1"/>
          <p:nvPr/>
        </p:nvSpPr>
        <p:spPr>
          <a:xfrm>
            <a:off x="6430028" y="925445"/>
            <a:ext cx="2346925" cy="830997"/>
          </a:xfrm>
          <a:prstGeom prst="rect">
            <a:avLst/>
          </a:prstGeom>
          <a:noFill/>
        </p:spPr>
        <p:txBody>
          <a:bodyPr wrap="square" rtlCol="0">
            <a:spAutoFit/>
          </a:bodyPr>
          <a:lstStyle/>
          <a:p>
            <a:r>
              <a:rPr lang="cs-CZ" sz="4800" b="1" dirty="0">
                <a:solidFill>
                  <a:srgbClr val="0070C0"/>
                </a:solidFill>
              </a:rPr>
              <a:t>3</a:t>
            </a:r>
            <a:r>
              <a:rPr lang="cs-CZ" sz="4800" b="1" baseline="30000" dirty="0">
                <a:solidFill>
                  <a:srgbClr val="0070C0"/>
                </a:solidFill>
              </a:rPr>
              <a:t>rd</a:t>
            </a:r>
            <a:r>
              <a:rPr lang="cs-CZ" sz="4800" b="1" dirty="0">
                <a:solidFill>
                  <a:srgbClr val="0070C0"/>
                </a:solidFill>
              </a:rPr>
              <a:t> PCNS</a:t>
            </a:r>
          </a:p>
        </p:txBody>
      </p:sp>
      <p:sp>
        <p:nvSpPr>
          <p:cNvPr id="13" name="TextovéPole 12">
            <a:extLst>
              <a:ext uri="{FF2B5EF4-FFF2-40B4-BE49-F238E27FC236}">
                <a16:creationId xmlns:a16="http://schemas.microsoft.com/office/drawing/2014/main" id="{141EE8AF-473E-42DF-B389-926BC16DAED7}"/>
              </a:ext>
            </a:extLst>
          </p:cNvPr>
          <p:cNvSpPr txBox="1"/>
          <p:nvPr/>
        </p:nvSpPr>
        <p:spPr>
          <a:xfrm>
            <a:off x="8611673" y="1387110"/>
            <a:ext cx="2977866" cy="369332"/>
          </a:xfrm>
          <a:prstGeom prst="rect">
            <a:avLst/>
          </a:prstGeom>
          <a:noFill/>
        </p:spPr>
        <p:txBody>
          <a:bodyPr wrap="none" rtlCol="0">
            <a:spAutoFit/>
          </a:bodyPr>
          <a:lstStyle/>
          <a:p>
            <a:r>
              <a:rPr lang="cs-CZ" b="1" dirty="0"/>
              <a:t>7-10</a:t>
            </a:r>
            <a:r>
              <a:rPr lang="cs-CZ" b="1" baseline="30000" dirty="0"/>
              <a:t>th</a:t>
            </a:r>
            <a:r>
              <a:rPr lang="cs-CZ" b="1" dirty="0"/>
              <a:t> </a:t>
            </a:r>
            <a:r>
              <a:rPr lang="cs-CZ" b="1" dirty="0" err="1"/>
              <a:t>Sep</a:t>
            </a:r>
            <a:r>
              <a:rPr lang="cs-CZ" b="1" dirty="0"/>
              <a:t> 2021, Milano, Italy</a:t>
            </a:r>
          </a:p>
        </p:txBody>
      </p:sp>
      <p:sp>
        <p:nvSpPr>
          <p:cNvPr id="16" name="TextovéPole 15">
            <a:extLst>
              <a:ext uri="{FF2B5EF4-FFF2-40B4-BE49-F238E27FC236}">
                <a16:creationId xmlns:a16="http://schemas.microsoft.com/office/drawing/2014/main" id="{66E263A7-F56C-4DC0-9B0B-CE036C9F53F6}"/>
              </a:ext>
            </a:extLst>
          </p:cNvPr>
          <p:cNvSpPr txBox="1"/>
          <p:nvPr/>
        </p:nvSpPr>
        <p:spPr>
          <a:xfrm>
            <a:off x="7342866" y="4547119"/>
            <a:ext cx="3477106" cy="646331"/>
          </a:xfrm>
          <a:prstGeom prst="rect">
            <a:avLst/>
          </a:prstGeom>
          <a:noFill/>
        </p:spPr>
        <p:txBody>
          <a:bodyPr wrap="none" rtlCol="0">
            <a:spAutoFit/>
          </a:bodyPr>
          <a:lstStyle/>
          <a:p>
            <a:r>
              <a:rPr lang="cs-CZ" sz="3600" dirty="0">
                <a:solidFill>
                  <a:srgbClr val="0070C0"/>
                </a:solidFill>
                <a:hlinkClick r:id="rId5">
                  <a:extLst>
                    <a:ext uri="{A12FA001-AC4F-418D-AE19-62706E023703}">
                      <ahyp:hlinkClr xmlns:ahyp="http://schemas.microsoft.com/office/drawing/2018/hyperlinkcolor" val="tx"/>
                    </a:ext>
                  </a:extLst>
                </a:hlinkClick>
              </a:rPr>
              <a:t>www.pcns.events</a:t>
            </a:r>
            <a:endParaRPr lang="cs-CZ" sz="3600" dirty="0">
              <a:solidFill>
                <a:srgbClr val="0070C0"/>
              </a:solidFill>
            </a:endParaRPr>
          </a:p>
        </p:txBody>
      </p:sp>
      <p:sp>
        <p:nvSpPr>
          <p:cNvPr id="26" name="TextovéPole 25">
            <a:extLst>
              <a:ext uri="{FF2B5EF4-FFF2-40B4-BE49-F238E27FC236}">
                <a16:creationId xmlns:a16="http://schemas.microsoft.com/office/drawing/2014/main" id="{69A48393-41C0-431B-B20F-4638322FD1E9}"/>
              </a:ext>
            </a:extLst>
          </p:cNvPr>
          <p:cNvSpPr txBox="1"/>
          <p:nvPr/>
        </p:nvSpPr>
        <p:spPr>
          <a:xfrm>
            <a:off x="6430028" y="3117967"/>
            <a:ext cx="814647" cy="338554"/>
          </a:xfrm>
          <a:prstGeom prst="rect">
            <a:avLst/>
          </a:prstGeom>
          <a:noFill/>
        </p:spPr>
        <p:txBody>
          <a:bodyPr wrap="none" rtlCol="0">
            <a:spAutoFit/>
          </a:bodyPr>
          <a:lstStyle/>
          <a:p>
            <a:pPr>
              <a:buSzPct val="100000"/>
            </a:pPr>
            <a:r>
              <a:rPr lang="cs-CZ" sz="1600" dirty="0" err="1"/>
              <a:t>Theme</a:t>
            </a:r>
            <a:r>
              <a:rPr lang="cs-CZ" sz="1600" dirty="0"/>
              <a:t>:</a:t>
            </a:r>
            <a:endParaRPr lang="en-GB" sz="1600" dirty="0"/>
          </a:p>
        </p:txBody>
      </p:sp>
      <p:sp>
        <p:nvSpPr>
          <p:cNvPr id="28" name="TextovéPole 27">
            <a:extLst>
              <a:ext uri="{FF2B5EF4-FFF2-40B4-BE49-F238E27FC236}">
                <a16:creationId xmlns:a16="http://schemas.microsoft.com/office/drawing/2014/main" id="{88630FBF-3ACC-4AD1-86C1-CCEDD191D9C4}"/>
              </a:ext>
            </a:extLst>
          </p:cNvPr>
          <p:cNvSpPr txBox="1"/>
          <p:nvPr/>
        </p:nvSpPr>
        <p:spPr>
          <a:xfrm>
            <a:off x="6734320" y="3479394"/>
            <a:ext cx="5372689" cy="369332"/>
          </a:xfrm>
          <a:prstGeom prst="rect">
            <a:avLst/>
          </a:prstGeom>
          <a:noFill/>
        </p:spPr>
        <p:txBody>
          <a:bodyPr wrap="none" rtlCol="0">
            <a:spAutoFit/>
          </a:bodyPr>
          <a:lstStyle/>
          <a:p>
            <a:pPr>
              <a:buSzPct val="100000"/>
            </a:pPr>
            <a:r>
              <a:rPr lang="cs-CZ" b="1" dirty="0"/>
              <a:t>Reliability </a:t>
            </a:r>
            <a:r>
              <a:rPr lang="en-GB" b="1" dirty="0"/>
              <a:t>&amp; Sustainability of Passive Components        </a:t>
            </a:r>
          </a:p>
        </p:txBody>
      </p:sp>
      <p:sp>
        <p:nvSpPr>
          <p:cNvPr id="29" name="TextovéPole 28">
            <a:extLst>
              <a:ext uri="{FF2B5EF4-FFF2-40B4-BE49-F238E27FC236}">
                <a16:creationId xmlns:a16="http://schemas.microsoft.com/office/drawing/2014/main" id="{7B4BA424-E03F-4917-9700-63AD2E2BA1AA}"/>
              </a:ext>
            </a:extLst>
          </p:cNvPr>
          <p:cNvSpPr txBox="1"/>
          <p:nvPr/>
        </p:nvSpPr>
        <p:spPr>
          <a:xfrm>
            <a:off x="6524919" y="5602676"/>
            <a:ext cx="5275803" cy="430887"/>
          </a:xfrm>
          <a:prstGeom prst="rect">
            <a:avLst/>
          </a:prstGeom>
          <a:noFill/>
        </p:spPr>
        <p:txBody>
          <a:bodyPr wrap="none" rtlCol="0">
            <a:spAutoFit/>
          </a:bodyPr>
          <a:lstStyle/>
          <a:p>
            <a:r>
              <a:rPr lang="en-GB" sz="1100" dirty="0"/>
              <a:t>organized by EPCI European Passive Components Institute </a:t>
            </a:r>
            <a:r>
              <a:rPr lang="en-GB" sz="1100" b="1" dirty="0">
                <a:hlinkClick r:id="rId6"/>
              </a:rPr>
              <a:t>www.passive-components.eu</a:t>
            </a:r>
            <a:endParaRPr lang="en-GB" sz="1100" b="1" dirty="0"/>
          </a:p>
          <a:p>
            <a:r>
              <a:rPr lang="en-GB" sz="1100" b="1" dirty="0"/>
              <a:t>follow PCNS also on LinkedIn </a:t>
            </a:r>
            <a:r>
              <a:rPr lang="cs-CZ" sz="1100" b="1" u="sng" dirty="0">
                <a:solidFill>
                  <a:srgbClr val="0563C1"/>
                </a:solidFill>
                <a:effectLst/>
                <a:latin typeface="Calibri" panose="020F0502020204030204" pitchFamily="34" charset="0"/>
                <a:ea typeface="Calibri" panose="020F0502020204030204" pitchFamily="34" charset="0"/>
                <a:hlinkClick r:id="rId7"/>
              </a:rPr>
              <a:t>https://www.linkedin.com/showcase/pcns-events/</a:t>
            </a:r>
            <a:endParaRPr lang="cs-CZ" sz="1100" b="1" dirty="0">
              <a:effectLst/>
              <a:latin typeface="Calibri" panose="020F0502020204030204" pitchFamily="34" charset="0"/>
              <a:ea typeface="Calibri" panose="020F0502020204030204" pitchFamily="34" charset="0"/>
            </a:endParaRPr>
          </a:p>
        </p:txBody>
      </p:sp>
      <p:sp>
        <p:nvSpPr>
          <p:cNvPr id="30" name="TextovéPole 29">
            <a:extLst>
              <a:ext uri="{FF2B5EF4-FFF2-40B4-BE49-F238E27FC236}">
                <a16:creationId xmlns:a16="http://schemas.microsoft.com/office/drawing/2014/main" id="{092EE480-5459-439A-A6BF-B9D7F683AC98}"/>
              </a:ext>
            </a:extLst>
          </p:cNvPr>
          <p:cNvSpPr txBox="1"/>
          <p:nvPr/>
        </p:nvSpPr>
        <p:spPr>
          <a:xfrm>
            <a:off x="6743070" y="3797813"/>
            <a:ext cx="4951624" cy="430887"/>
          </a:xfrm>
          <a:prstGeom prst="rect">
            <a:avLst/>
          </a:prstGeom>
          <a:noFill/>
        </p:spPr>
        <p:txBody>
          <a:bodyPr wrap="square" rtlCol="0">
            <a:spAutoFit/>
          </a:bodyPr>
          <a:lstStyle/>
          <a:p>
            <a:r>
              <a:rPr lang="en-US" sz="1100" dirty="0"/>
              <a:t>The theme will be elaborated in conference Workshop, Hot Topic Panel Discussion, Keynote and papers selection preferences.</a:t>
            </a:r>
            <a:endParaRPr lang="cs-CZ" sz="1100" dirty="0"/>
          </a:p>
        </p:txBody>
      </p:sp>
      <p:sp>
        <p:nvSpPr>
          <p:cNvPr id="27" name="Title 1">
            <a:extLst>
              <a:ext uri="{FF2B5EF4-FFF2-40B4-BE49-F238E27FC236}">
                <a16:creationId xmlns:a16="http://schemas.microsoft.com/office/drawing/2014/main" id="{B28DACFC-7E38-4902-ABFA-838AFBD5F3A4}"/>
              </a:ext>
            </a:extLst>
          </p:cNvPr>
          <p:cNvSpPr txBox="1">
            <a:spLocks/>
          </p:cNvSpPr>
          <p:nvPr/>
        </p:nvSpPr>
        <p:spPr>
          <a:xfrm>
            <a:off x="348613" y="0"/>
            <a:ext cx="8229600" cy="96672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baseline="0">
                <a:solidFill>
                  <a:schemeClr val="tx1"/>
                </a:solidFill>
                <a:latin typeface="Arial" panose="020B0604020202020204" pitchFamily="34" charset="0"/>
                <a:ea typeface="+mj-ea"/>
                <a:cs typeface="Arial" panose="020B0604020202020204" pitchFamily="34" charset="0"/>
              </a:defRPr>
            </a:lvl1pPr>
          </a:lstStyle>
          <a:p>
            <a:r>
              <a:rPr lang="en-GB" sz="4800" dirty="0">
                <a:solidFill>
                  <a:srgbClr val="0070C0"/>
                </a:solidFill>
                <a:latin typeface="+mj-lt"/>
              </a:rPr>
              <a:t>INVITATION</a:t>
            </a:r>
            <a:endParaRPr lang="en-US" sz="4800" dirty="0">
              <a:solidFill>
                <a:srgbClr val="0070C0"/>
              </a:solidFill>
            </a:endParaRPr>
          </a:p>
        </p:txBody>
      </p:sp>
      <p:pic>
        <p:nvPicPr>
          <p:cNvPr id="2" name="Obrázek 1">
            <a:extLst>
              <a:ext uri="{FF2B5EF4-FFF2-40B4-BE49-F238E27FC236}">
                <a16:creationId xmlns:a16="http://schemas.microsoft.com/office/drawing/2014/main" id="{74B798F2-6E60-4E4B-B3DB-74976CE2025D}"/>
              </a:ext>
            </a:extLst>
          </p:cNvPr>
          <p:cNvPicPr>
            <a:picLocks noChangeAspect="1"/>
          </p:cNvPicPr>
          <p:nvPr/>
        </p:nvPicPr>
        <p:blipFill>
          <a:blip r:embed="rId8"/>
          <a:stretch>
            <a:fillRect/>
          </a:stretch>
        </p:blipFill>
        <p:spPr>
          <a:xfrm>
            <a:off x="96487" y="799833"/>
            <a:ext cx="5958840" cy="3459480"/>
          </a:xfrm>
          <a:prstGeom prst="rect">
            <a:avLst/>
          </a:prstGeom>
        </p:spPr>
      </p:pic>
      <p:pic>
        <p:nvPicPr>
          <p:cNvPr id="3" name="Obrázek 2">
            <a:extLst>
              <a:ext uri="{FF2B5EF4-FFF2-40B4-BE49-F238E27FC236}">
                <a16:creationId xmlns:a16="http://schemas.microsoft.com/office/drawing/2014/main" id="{242E2F12-7B2C-4D08-9545-69BC17169920}"/>
              </a:ext>
            </a:extLst>
          </p:cNvPr>
          <p:cNvPicPr>
            <a:picLocks noChangeAspect="1"/>
          </p:cNvPicPr>
          <p:nvPr/>
        </p:nvPicPr>
        <p:blipFill>
          <a:blip r:embed="rId9"/>
          <a:stretch>
            <a:fillRect/>
          </a:stretch>
        </p:blipFill>
        <p:spPr>
          <a:xfrm>
            <a:off x="96487" y="4273301"/>
            <a:ext cx="5958840" cy="1958340"/>
          </a:xfrm>
          <a:prstGeom prst="rect">
            <a:avLst/>
          </a:prstGeom>
        </p:spPr>
      </p:pic>
      <p:pic>
        <p:nvPicPr>
          <p:cNvPr id="4" name="Obrázek 3">
            <a:extLst>
              <a:ext uri="{FF2B5EF4-FFF2-40B4-BE49-F238E27FC236}">
                <a16:creationId xmlns:a16="http://schemas.microsoft.com/office/drawing/2014/main" id="{94ED0850-9FB1-4740-8AF6-1ED3082E85BE}"/>
              </a:ext>
            </a:extLst>
          </p:cNvPr>
          <p:cNvPicPr>
            <a:picLocks noChangeAspect="1"/>
          </p:cNvPicPr>
          <p:nvPr/>
        </p:nvPicPr>
        <p:blipFill>
          <a:blip r:embed="rId10"/>
          <a:stretch>
            <a:fillRect/>
          </a:stretch>
        </p:blipFill>
        <p:spPr>
          <a:xfrm>
            <a:off x="1390597" y="6106215"/>
            <a:ext cx="3246120" cy="396240"/>
          </a:xfrm>
          <a:prstGeom prst="rect">
            <a:avLst/>
          </a:prstGeom>
        </p:spPr>
      </p:pic>
      <p:sp>
        <p:nvSpPr>
          <p:cNvPr id="31" name="Zástupný symbol pro zápatí 2">
            <a:extLst>
              <a:ext uri="{FF2B5EF4-FFF2-40B4-BE49-F238E27FC236}">
                <a16:creationId xmlns:a16="http://schemas.microsoft.com/office/drawing/2014/main" id="{F6E7AED1-1DE4-4680-8E23-A7FE69429A99}"/>
              </a:ext>
            </a:extLst>
          </p:cNvPr>
          <p:cNvSpPr>
            <a:spLocks noGrp="1"/>
          </p:cNvSpPr>
          <p:nvPr>
            <p:ph type="ftr" sz="quarter" idx="11"/>
          </p:nvPr>
        </p:nvSpPr>
        <p:spPr>
          <a:xfrm>
            <a:off x="4038600" y="6356350"/>
            <a:ext cx="4114800" cy="365125"/>
          </a:xfrm>
        </p:spPr>
        <p:txBody>
          <a:bodyPr/>
          <a:lstStyle/>
          <a:p>
            <a:r>
              <a:rPr lang="en-GB" sz="900" dirty="0"/>
              <a:t>CMSE </a:t>
            </a:r>
            <a:r>
              <a:rPr lang="cs-CZ" sz="900" dirty="0"/>
              <a:t>2021</a:t>
            </a:r>
          </a:p>
        </p:txBody>
      </p:sp>
      <p:sp>
        <p:nvSpPr>
          <p:cNvPr id="32" name="Zástupný symbol pro číslo snímku 18">
            <a:extLst>
              <a:ext uri="{FF2B5EF4-FFF2-40B4-BE49-F238E27FC236}">
                <a16:creationId xmlns:a16="http://schemas.microsoft.com/office/drawing/2014/main" id="{7183425D-4743-4792-BAE1-6BF1F9B064F6}"/>
              </a:ext>
            </a:extLst>
          </p:cNvPr>
          <p:cNvSpPr>
            <a:spLocks noGrp="1"/>
          </p:cNvSpPr>
          <p:nvPr>
            <p:ph type="sldNum" sz="quarter" idx="12"/>
          </p:nvPr>
        </p:nvSpPr>
        <p:spPr>
          <a:xfrm>
            <a:off x="8610600" y="6356350"/>
            <a:ext cx="2743200" cy="365125"/>
          </a:xfrm>
        </p:spPr>
        <p:txBody>
          <a:bodyPr/>
          <a:lstStyle/>
          <a:p>
            <a:fld id="{87170177-53BE-4EA4-8CC9-5D64EAB74717}" type="slidenum">
              <a:rPr lang="cs-CZ" sz="900" smtClean="0"/>
              <a:t>23</a:t>
            </a:fld>
            <a:endParaRPr lang="cs-CZ" sz="900" dirty="0"/>
          </a:p>
        </p:txBody>
      </p:sp>
      <p:sp>
        <p:nvSpPr>
          <p:cNvPr id="33" name="TextovéPole 32">
            <a:extLst>
              <a:ext uri="{FF2B5EF4-FFF2-40B4-BE49-F238E27FC236}">
                <a16:creationId xmlns:a16="http://schemas.microsoft.com/office/drawing/2014/main" id="{EFE49822-A8E1-44A7-96E9-07873A349C97}"/>
              </a:ext>
            </a:extLst>
          </p:cNvPr>
          <p:cNvSpPr txBox="1"/>
          <p:nvPr/>
        </p:nvSpPr>
        <p:spPr>
          <a:xfrm>
            <a:off x="703685" y="6431190"/>
            <a:ext cx="702436" cy="215444"/>
          </a:xfrm>
          <a:prstGeom prst="rect">
            <a:avLst/>
          </a:prstGeom>
          <a:noFill/>
        </p:spPr>
        <p:txBody>
          <a:bodyPr wrap="none" rtlCol="0">
            <a:spAutoFit/>
          </a:bodyPr>
          <a:lstStyle/>
          <a:p>
            <a:r>
              <a:rPr lang="en-GB" sz="800" dirty="0">
                <a:solidFill>
                  <a:schemeClr val="tx1">
                    <a:lumMod val="50000"/>
                    <a:lumOff val="50000"/>
                  </a:schemeClr>
                </a:solidFill>
              </a:rPr>
              <a:t>© EPCI 2021</a:t>
            </a:r>
            <a:endParaRPr lang="cs-CZ" sz="800" dirty="0">
              <a:solidFill>
                <a:schemeClr val="tx1">
                  <a:lumMod val="50000"/>
                  <a:lumOff val="50000"/>
                </a:schemeClr>
              </a:solidFill>
            </a:endParaRPr>
          </a:p>
        </p:txBody>
      </p:sp>
      <p:pic>
        <p:nvPicPr>
          <p:cNvPr id="5" name="Zvuk 4">
            <a:hlinkClick r:id="" action="ppaction://media"/>
            <a:extLst>
              <a:ext uri="{FF2B5EF4-FFF2-40B4-BE49-F238E27FC236}">
                <a16:creationId xmlns:a16="http://schemas.microsoft.com/office/drawing/2014/main" id="{A7A9F59F-5600-4AF5-B54B-3BAC7E94BB09}"/>
              </a:ext>
            </a:extLst>
          </p:cNvPr>
          <p:cNvPicPr>
            <a:picLocks noChangeAspect="1"/>
          </p:cNvPicPr>
          <p:nvPr>
            <a:audioFile r:link="rId2"/>
            <p:extLst>
              <p:ext uri="{DAA4B4D4-6D71-4841-9C94-3DE7FCFB9230}">
                <p14:media xmlns:p14="http://schemas.microsoft.com/office/powerpoint/2010/main" r:embed="rId1"/>
              </p:ext>
            </p:extLst>
          </p:nvPr>
        </p:nvPicPr>
        <p:blipFill>
          <a:blip r:embed="rId11"/>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3259791828"/>
      </p:ext>
    </p:extLst>
  </p:cSld>
  <p:clrMapOvr>
    <a:masterClrMapping/>
  </p:clrMapOvr>
  <mc:AlternateContent xmlns:mc="http://schemas.openxmlformats.org/markup-compatibility/2006">
    <mc:Choice xmlns:p14="http://schemas.microsoft.com/office/powerpoint/2010/main" Requires="p14">
      <p:transition spd="slow" p14:dur="2000" advTm="15010"/>
    </mc:Choice>
    <mc:Fallback>
      <p:transition spd="slow" advTm="1501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extLst>
    <p:ext uri="{3A86A75C-4F4B-4683-9AE1-C65F6400EC91}">
      <p14:laserTraceLst xmlns:p14="http://schemas.microsoft.com/office/powerpoint/2010/main">
        <p14:tracePtLst>
          <p14:tracePt t="9313" x="12071350" y="3122613"/>
          <p14:tracePt t="9314" x="11963400" y="3094038"/>
          <p14:tracePt t="9317" x="11876088" y="3078163"/>
          <p14:tracePt t="9318" x="11831638" y="3062288"/>
          <p14:tracePt t="9321" x="11687175" y="3030538"/>
          <p14:tracePt t="9322" x="11642725" y="3019425"/>
          <p14:tracePt t="9323" x="11607800" y="3006725"/>
          <p14:tracePt t="9323" x="11547475" y="2994025"/>
          <p14:tracePt t="9326" x="11466513" y="2982913"/>
          <p14:tracePt t="9327" x="11418888" y="2967038"/>
          <p14:tracePt t="9328" x="11383963" y="2962275"/>
          <p14:tracePt t="9329" x="11331575" y="2951163"/>
          <p14:tracePt t="9330" x="11295063" y="2943225"/>
          <p14:tracePt t="9331" x="11258550" y="2930525"/>
          <p14:tracePt t="9332" x="11223625" y="2922588"/>
          <p14:tracePt t="9333" x="11195050" y="2917825"/>
          <p14:tracePt t="9334" x="11150600" y="2906713"/>
          <p14:tracePt t="9335" x="11123613" y="2898775"/>
          <p14:tracePt t="9336" x="11102975" y="2890838"/>
          <p14:tracePt t="9337" x="11082338" y="2886075"/>
          <p14:tracePt t="9338" x="11058525" y="2874963"/>
          <p14:tracePt t="9339" x="11039475" y="2862263"/>
          <p14:tracePt t="9340" x="11026775" y="2854325"/>
          <p14:tracePt t="9341" x="11014075" y="2846388"/>
          <p14:tracePt t="9342" x="11006138" y="2833688"/>
          <p14:tracePt t="9343" x="10998200" y="2825750"/>
          <p14:tracePt t="9344" x="10987088" y="2817813"/>
          <p14:tracePt t="9346" x="10974388" y="2798763"/>
          <p14:tracePt t="9347" x="10971213" y="2790825"/>
          <p14:tracePt t="9348" x="10966450" y="2778125"/>
          <p14:tracePt t="9349" x="10963275" y="2767013"/>
          <p14:tracePt t="9350" x="10958513" y="2759075"/>
          <p14:tracePt t="9351" x="10958513" y="2751138"/>
          <p14:tracePt t="9352" x="10958513" y="2738438"/>
          <p14:tracePt t="9353" x="10950575" y="2730500"/>
          <p14:tracePt t="9354" x="10950575" y="2714625"/>
          <p14:tracePt t="9355" x="10950575" y="2706688"/>
          <p14:tracePt t="9356" x="10950575" y="2698750"/>
          <p14:tracePt t="9357" x="10950575" y="2686050"/>
          <p14:tracePt t="9358" x="10950575" y="2670175"/>
          <p14:tracePt t="9359" x="10950575" y="2659063"/>
          <p14:tracePt t="9360" x="10950575" y="2649538"/>
          <p14:tracePt t="9361" x="10950575" y="2633663"/>
          <p14:tracePt t="9363" x="10950575" y="2609850"/>
          <p14:tracePt t="9364" x="10950575" y="2593975"/>
          <p14:tracePt t="9365" x="10950575" y="2582863"/>
          <p14:tracePt t="9366" x="10950575" y="2566988"/>
          <p14:tracePt t="9367" x="10950575" y="2557463"/>
          <p14:tracePt t="9368" x="10950575" y="2538413"/>
          <p14:tracePt t="9369" x="10955338" y="2525713"/>
          <p14:tracePt t="9370" x="10955338" y="2514600"/>
          <p14:tracePt t="9371" x="10955338" y="2498725"/>
          <p14:tracePt t="9372" x="10958513" y="2486025"/>
          <p14:tracePt t="9373" x="10958513" y="2465388"/>
          <p14:tracePt t="9374" x="10963275" y="2449513"/>
          <p14:tracePt t="9376" x="10966450" y="2417763"/>
          <p14:tracePt t="9377" x="10966450" y="2406650"/>
          <p14:tracePt t="9378" x="10971213" y="2386013"/>
          <p14:tracePt t="9379" x="10979150" y="2370138"/>
          <p14:tracePt t="9380" x="10982325" y="2357438"/>
          <p14:tracePt t="9381" x="10987088" y="2341563"/>
          <p14:tracePt t="9382" x="10990263" y="2317750"/>
          <p14:tracePt t="9383" x="10995025" y="2301875"/>
          <p14:tracePt t="9384" x="10995025" y="2290763"/>
          <p14:tracePt t="9385" x="11002963" y="2273300"/>
          <p14:tracePt t="9386" x="11006138" y="2254250"/>
          <p14:tracePt t="9387" x="11010900" y="2233613"/>
          <p14:tracePt t="9388" x="11014075" y="2222500"/>
          <p14:tracePt t="9389" x="11018838" y="2206625"/>
          <p14:tracePt t="9390" x="11026775" y="2185988"/>
          <p14:tracePt t="9391" x="11031538" y="2173288"/>
          <p14:tracePt t="9392" x="11034713" y="2154238"/>
          <p14:tracePt t="9393" x="11039475" y="2138363"/>
          <p14:tracePt t="9394" x="11042650" y="2125663"/>
          <p14:tracePt t="9395" x="11050588" y="2109788"/>
          <p14:tracePt t="9396" x="11055350" y="2097088"/>
          <p14:tracePt t="9397" x="11058525" y="2078038"/>
          <p14:tracePt t="9398" x="11063288" y="2062163"/>
          <p14:tracePt t="9399" x="11066463" y="2049463"/>
          <p14:tracePt t="9400" x="11071225" y="2033588"/>
          <p14:tracePt t="9401" x="11079163" y="2022475"/>
          <p14:tracePt t="9402" x="11082338" y="2005013"/>
          <p14:tracePt t="9403" x="11087100" y="1993900"/>
          <p14:tracePt t="9404" x="11090275" y="1985963"/>
          <p14:tracePt t="9404" x="11095038" y="1970088"/>
          <p14:tracePt t="9406" x="11106150" y="1957388"/>
          <p14:tracePt t="9407" x="11110913" y="1941513"/>
          <p14:tracePt t="9408" x="11110913" y="1933575"/>
          <p14:tracePt t="9409" x="11115675" y="1925638"/>
          <p14:tracePt t="9410" x="11118850" y="1917700"/>
          <p14:tracePt t="9411" x="11123613" y="1905000"/>
          <p14:tracePt t="9412" x="11126788" y="1893888"/>
          <p14:tracePt t="9414" x="11134725" y="1878013"/>
          <p14:tracePt t="9415" x="11142663" y="1865313"/>
          <p14:tracePt t="9416" x="11147425" y="1857375"/>
          <p14:tracePt t="9417" x="11150600" y="1849438"/>
          <p14:tracePt t="9418" x="11155363" y="1846263"/>
          <p14:tracePt t="9419" x="11158538" y="1841500"/>
          <p14:tracePt t="9419" x="11158538" y="1833563"/>
          <p14:tracePt t="9421" x="11166475" y="1825625"/>
          <p14:tracePt t="9421" x="11166475" y="1820863"/>
          <p14:tracePt t="9423" x="11171238" y="1817688"/>
          <p14:tracePt t="9424" x="11174413" y="1812925"/>
          <p14:tracePt t="9426" x="11179175" y="1801813"/>
          <p14:tracePt t="9427" x="11182350" y="1797050"/>
          <p14:tracePt t="9428" x="11182350" y="1793875"/>
          <p14:tracePt t="9430" x="11187113" y="1789113"/>
          <p14:tracePt t="9431" x="11187113" y="1785938"/>
          <p14:tracePt t="9432" x="11190288" y="1781175"/>
          <p14:tracePt t="9434" x="11195050" y="1778000"/>
          <p14:tracePt t="9435" x="11195050" y="1773238"/>
          <p14:tracePt t="9436" x="11199813" y="1773238"/>
          <p14:tracePt t="9437" x="11199813" y="1770063"/>
          <p14:tracePt t="9438" x="11202988" y="1765300"/>
          <p14:tracePt t="9440" x="11207750" y="1762125"/>
          <p14:tracePt t="9443" x="11210925" y="1762125"/>
          <p14:tracePt t="9444" x="11210925" y="1757363"/>
          <p14:tracePt t="9446" x="11215688" y="1757363"/>
          <p14:tracePt t="9451" x="11215688" y="1754188"/>
          <p14:tracePt t="9487" x="11218863" y="1754188"/>
          <p14:tracePt t="9489" x="11223625" y="1754188"/>
          <p14:tracePt t="9491" x="11226800" y="1754188"/>
          <p14:tracePt t="9495" x="11231563" y="1757363"/>
          <p14:tracePt t="9498" x="11239500" y="1762125"/>
          <p14:tracePt t="9499" x="11242675" y="1762125"/>
          <p14:tracePt t="9500" x="11242675" y="1765300"/>
          <p14:tracePt t="9501" x="11247438" y="1765300"/>
          <p14:tracePt t="9502" x="11250613" y="1770063"/>
          <p14:tracePt t="9503" x="11255375" y="1773238"/>
          <p14:tracePt t="9504" x="11258550" y="1773238"/>
          <p14:tracePt t="9505" x="11263313" y="1778000"/>
          <p14:tracePt t="9506" x="11266488" y="1781175"/>
          <p14:tracePt t="9508" x="11271250" y="1789113"/>
          <p14:tracePt t="9509" x="11279188" y="1789113"/>
          <p14:tracePt t="9511" x="11287125" y="1797050"/>
          <p14:tracePt t="9512" x="11291888" y="1797050"/>
          <p14:tracePt t="9513" x="11299825" y="1809750"/>
          <p14:tracePt t="9514" x="11303000" y="1809750"/>
          <p14:tracePt t="9515" x="11310938" y="1812925"/>
          <p14:tracePt t="9516" x="11315700" y="1817688"/>
          <p14:tracePt t="9517" x="11323638" y="1820863"/>
          <p14:tracePt t="9518" x="11326813" y="1833563"/>
          <p14:tracePt t="9519" x="11334750" y="1838325"/>
          <p14:tracePt t="9520" x="11339513" y="1841500"/>
          <p14:tracePt t="9521" x="11347450" y="1846263"/>
          <p14:tracePt t="9522" x="11350625" y="1846263"/>
          <p14:tracePt t="9523" x="11363325" y="1857375"/>
          <p14:tracePt t="9524" x="11366500" y="1857375"/>
          <p14:tracePt t="9525" x="11374438" y="1862138"/>
          <p14:tracePt t="9526" x="11379200" y="1865313"/>
          <p14:tracePt t="9527" x="11387138" y="1870075"/>
          <p14:tracePt t="9528" x="11395075" y="1881188"/>
          <p14:tracePt t="9531" x="11418888" y="1893888"/>
          <p14:tracePt t="9532" x="11426825" y="1897063"/>
          <p14:tracePt t="9533" x="11434763" y="1901825"/>
          <p14:tracePt t="9534" x="11442700" y="1905000"/>
          <p14:tracePt t="9535" x="11450638" y="1909763"/>
          <p14:tracePt t="9536" x="11455400" y="1912938"/>
          <p14:tracePt t="9537" x="11466513" y="1922463"/>
          <p14:tracePt t="9538" x="11471275" y="1925638"/>
          <p14:tracePt t="9539" x="11479213" y="1930400"/>
          <p14:tracePt t="9540" x="11487150" y="1933575"/>
          <p14:tracePt t="9541" x="11499850" y="1938338"/>
          <p14:tracePt t="9542" x="11507788" y="1941513"/>
          <p14:tracePt t="9543" x="11515725" y="1946275"/>
          <p14:tracePt t="9544" x="11523663" y="1949450"/>
          <p14:tracePt t="9546" x="11542713" y="1962150"/>
          <p14:tracePt t="9547" x="11550650" y="1970088"/>
          <p14:tracePt t="9548" x="11558588" y="1973263"/>
          <p14:tracePt t="9549" x="11571288" y="1973263"/>
          <p14:tracePt t="9550" x="11583988" y="1981200"/>
          <p14:tracePt t="9551" x="11591925" y="1985963"/>
          <p14:tracePt t="9552" x="11599863" y="1989138"/>
          <p14:tracePt t="9553" x="11607800" y="1997075"/>
          <p14:tracePt t="9554" x="11615738" y="2001838"/>
          <p14:tracePt t="9555" x="11626850" y="2005013"/>
          <p14:tracePt t="9556" x="11639550" y="2009775"/>
          <p14:tracePt t="9557" x="11647488" y="2014538"/>
          <p14:tracePt t="9558" x="11660188" y="2017713"/>
          <p14:tracePt t="9559" x="11668125" y="2022475"/>
          <p14:tracePt t="9560" x="11679238" y="2022475"/>
          <p14:tracePt t="9561" x="11687175" y="2030413"/>
          <p14:tracePt t="9563" x="11710988" y="2041525"/>
          <p14:tracePt t="9564" x="11718925" y="2041525"/>
          <p14:tracePt t="9565" x="11726863" y="2046288"/>
          <p14:tracePt t="9566" x="11744325" y="2049463"/>
          <p14:tracePt t="9567" x="11752263" y="2054225"/>
          <p14:tracePt t="9568" x="11768138" y="2057400"/>
          <p14:tracePt t="9569" x="11776075" y="2057400"/>
          <p14:tracePt t="9570" x="11784013" y="2062163"/>
          <p14:tracePt t="9571" x="11791950" y="2062163"/>
          <p14:tracePt t="9572" x="11799888" y="2065338"/>
          <p14:tracePt t="9573" x="11815763" y="2073275"/>
          <p14:tracePt t="9574" x="11823700" y="2078038"/>
          <p14:tracePt t="9576" x="11844338" y="2081213"/>
          <p14:tracePt t="9577" x="11855450" y="2085975"/>
          <p14:tracePt t="9579" x="11871325" y="2089150"/>
          <p14:tracePt t="9580" x="11884025" y="2089150"/>
          <p14:tracePt t="9581" x="11891963" y="2093913"/>
          <p14:tracePt t="9582" x="11899900" y="2093913"/>
          <p14:tracePt t="9583" x="11911013" y="2097088"/>
          <p14:tracePt t="9584" x="11918950" y="2097088"/>
          <p14:tracePt t="9585" x="11931650" y="2097088"/>
          <p14:tracePt t="9586" x="11947525" y="2101850"/>
          <p14:tracePt t="9587" x="11955463" y="2101850"/>
          <p14:tracePt t="9588" x="11968163" y="2101850"/>
          <p14:tracePt t="9589" x="11976100" y="2101850"/>
          <p14:tracePt t="9590" x="11991975" y="2109788"/>
          <p14:tracePt t="9591" x="11999913" y="2109788"/>
          <p14:tracePt t="9592" x="12012613" y="2109788"/>
          <p14:tracePt t="9593" x="12020550" y="2109788"/>
          <p14:tracePt t="9594" x="12028488" y="2114550"/>
          <p14:tracePt t="9595" x="12047538" y="2114550"/>
          <p14:tracePt t="9596" x="12055475" y="2114550"/>
          <p14:tracePt t="9597" x="12071350" y="2114550"/>
          <p14:tracePt t="9598" x="12079288" y="2117725"/>
          <p14:tracePt t="9599" x="12091988" y="2117725"/>
          <p14:tracePt t="9600" x="12107863" y="2117725"/>
          <p14:tracePt t="9601" x="12120563" y="2117725"/>
          <p14:tracePt t="9602" x="12128500" y="2117725"/>
          <p14:tracePt t="9603" x="12144375" y="2122488"/>
          <p14:tracePt t="9604" x="12152313" y="2122488"/>
          <p14:tracePt t="9605" x="12168188" y="2122488"/>
          <p14:tracePt t="9606" x="12184063" y="2125663"/>
          <p14:tracePt t="10840" x="12160250" y="3070225"/>
          <p14:tracePt t="10841" x="12139613" y="3070225"/>
          <p14:tracePt t="10844" x="12104688" y="3070225"/>
          <p14:tracePt t="10846" x="12084050" y="3070225"/>
          <p14:tracePt t="10847" x="12068175" y="3070225"/>
          <p14:tracePt t="10848" x="12060238" y="3070225"/>
          <p14:tracePt t="10849" x="12052300" y="3070225"/>
          <p14:tracePt t="10850" x="12039600" y="3070225"/>
          <p14:tracePt t="10851" x="12031663" y="3070225"/>
          <p14:tracePt t="10852" x="12020550" y="3070225"/>
          <p14:tracePt t="10853" x="12012613" y="3070225"/>
          <p14:tracePt t="10854" x="12003088" y="3070225"/>
          <p14:tracePt t="10855" x="11995150" y="3074988"/>
          <p14:tracePt t="10856" x="11984038" y="3074988"/>
          <p14:tracePt t="10857" x="11976100" y="3082925"/>
          <p14:tracePt t="10858" x="11963400" y="3082925"/>
          <p14:tracePt t="10860" x="11947525" y="3086100"/>
          <p14:tracePt t="10861" x="11939588" y="3090863"/>
          <p14:tracePt t="10862" x="11931650" y="3090863"/>
          <p14:tracePt t="10863" x="11923713" y="3094038"/>
          <p14:tracePt t="10864" x="11915775" y="3094038"/>
          <p14:tracePt t="10865" x="11899900" y="3098800"/>
          <p14:tracePt t="10866" x="11891963" y="3101975"/>
          <p14:tracePt t="10867" x="11884025" y="3106738"/>
          <p14:tracePt t="10868" x="11876088" y="3111500"/>
          <p14:tracePt t="10869" x="11868150" y="3114675"/>
          <p14:tracePt t="10870" x="11852275" y="3122613"/>
          <p14:tracePt t="10871" x="11844338" y="3127375"/>
          <p14:tracePt t="10872" x="11836400" y="3130550"/>
          <p14:tracePt t="10873" x="11818938" y="3135313"/>
          <p14:tracePt t="10874" x="11811000" y="3138488"/>
          <p14:tracePt t="10875" x="11795125" y="3146425"/>
          <p14:tracePt t="10876" x="11787188" y="3151188"/>
          <p14:tracePt t="10877" x="11779250" y="3159125"/>
          <p14:tracePt t="10879" x="11755438" y="3175000"/>
          <p14:tracePt t="10880" x="11731625" y="3194050"/>
          <p14:tracePt t="10882" x="11723688" y="3203575"/>
          <p14:tracePt t="10883" x="11707813" y="3214688"/>
          <p14:tracePt t="10884" x="11695113" y="3222625"/>
          <p14:tracePt t="10885" x="11684000" y="3238500"/>
          <p14:tracePt t="10886" x="11676063" y="3246438"/>
          <p14:tracePt t="10887" x="11663363" y="3254375"/>
          <p14:tracePt t="10888" x="11652250" y="3270250"/>
          <p14:tracePt t="10889" x="11634788" y="3286125"/>
          <p14:tracePt t="10890" x="11626850" y="3298825"/>
          <p14:tracePt t="10891" x="11618913" y="3306763"/>
          <p14:tracePt t="10892" x="11603038" y="3322638"/>
          <p14:tracePt t="10893" x="11595100" y="3338513"/>
          <p14:tracePt t="10894" x="11579225" y="3359150"/>
          <p14:tracePt t="10896" x="11555413" y="3387725"/>
          <p14:tracePt t="10897" x="11542713" y="3403600"/>
          <p14:tracePt t="10898" x="11534775" y="3422650"/>
          <p14:tracePt t="10899" x="11518900" y="3443288"/>
          <p14:tracePt t="10910" x="11355388" y="3706813"/>
          <p14:tracePt t="10911" x="11342688" y="3738563"/>
          <p14:tracePt t="10914" x="11291888" y="3819525"/>
          <p14:tracePt t="10914" x="11279188" y="3848100"/>
          <p14:tracePt t="10916" x="11263313" y="3879850"/>
          <p14:tracePt t="10917" x="11250613" y="3906838"/>
          <p14:tracePt t="10918" x="11231563" y="3943350"/>
          <p14:tracePt t="10919" x="11215688" y="3975100"/>
          <p14:tracePt t="10919" x="11202988" y="4003675"/>
          <p14:tracePt t="10921" x="11190288" y="4032250"/>
          <p14:tracePt t="10921" x="11179175" y="4064000"/>
          <p14:tracePt t="10923" x="11150600" y="4106863"/>
          <p14:tracePt t="10924" x="11139488" y="4135438"/>
          <p14:tracePt t="10925" x="11123613" y="4167188"/>
          <p14:tracePt t="10926" x="11110913" y="4203700"/>
          <p14:tracePt t="10927" x="11090275" y="4235450"/>
          <p14:tracePt t="10928" x="11071225" y="4279900"/>
          <p14:tracePt t="10929" x="11055350" y="4311650"/>
          <p14:tracePt t="10930" x="11042650" y="4348163"/>
          <p14:tracePt t="10931" x="11031538" y="4375150"/>
          <p14:tracePt t="10932" x="11010900" y="4419600"/>
          <p14:tracePt t="10933" x="10998200" y="4451350"/>
          <p14:tracePt t="10934" x="10987088" y="4487863"/>
          <p14:tracePt t="10935" x="10974388" y="4516438"/>
          <p14:tracePt t="10936" x="10963275" y="4543425"/>
          <p14:tracePt t="10937" x="10947400" y="4584700"/>
          <p14:tracePt t="10937" x="10926763" y="4627563"/>
          <p14:tracePt t="10939" x="10914063" y="4664075"/>
          <p14:tracePt t="10940" x="10902950" y="4703763"/>
          <p14:tracePt t="10941" x="10890250" y="4732338"/>
          <p14:tracePt t="10942" x="10871200" y="4784725"/>
          <p14:tracePt t="10943" x="10850563" y="4824413"/>
          <p14:tracePt t="10944" x="10839450" y="4860925"/>
          <p14:tracePt t="10946" x="10806113" y="4927600"/>
          <p14:tracePt t="10947" x="10795000" y="4964113"/>
          <p14:tracePt t="10948" x="10774363" y="5016500"/>
          <p14:tracePt t="10949" x="10755313" y="5056188"/>
          <p14:tracePt t="10950" x="10737850" y="5092700"/>
          <p14:tracePt t="10951" x="10726738" y="5129213"/>
          <p14:tracePt t="10952" x="10698163" y="5176838"/>
          <p14:tracePt t="10953" x="10679113" y="5213350"/>
          <p14:tracePt t="10954" x="10663238" y="5253038"/>
          <p14:tracePt t="10955" x="10642600" y="5287963"/>
          <p14:tracePt t="10956" x="10621963" y="5321300"/>
          <p14:tracePt t="10957" x="10598150" y="5372100"/>
          <p14:tracePt t="10958" x="10579100" y="5405438"/>
          <p14:tracePt t="10959" x="10558463" y="5440363"/>
          <p14:tracePt t="10960" x="10534650" y="5472113"/>
          <p14:tracePt t="10961" x="10518775" y="5505450"/>
          <p14:tracePt t="10962" x="10482263" y="5548313"/>
          <p14:tracePt t="10963" x="10466388" y="5581650"/>
          <p14:tracePt t="10965" x="10418763" y="5632450"/>
          <p14:tracePt t="10966" x="10390188" y="5673725"/>
          <p14:tracePt t="10967" x="10366375" y="5705475"/>
          <p14:tracePt t="10968" x="10342563" y="5732463"/>
          <p14:tracePt t="10968" x="10318750" y="5756275"/>
          <p14:tracePt t="10970" x="10298113" y="5781675"/>
          <p14:tracePt t="10971" x="10269538" y="5808663"/>
          <p14:tracePt t="10971" x="10234613" y="5845175"/>
          <p14:tracePt t="10973" x="10210800" y="5865813"/>
          <p14:tracePt t="10974" x="10177463" y="5892800"/>
          <p14:tracePt t="10975" x="10153650" y="5921375"/>
          <p14:tracePt t="10976" x="10113963" y="5953125"/>
          <p14:tracePt t="10977" x="10085388" y="5981700"/>
          <p14:tracePt t="10978" x="10061575" y="6000750"/>
          <p14:tracePt t="10979" x="10029825" y="6021388"/>
          <p14:tracePt t="10981" x="9961563" y="6076950"/>
          <p14:tracePt t="10982" x="9929813" y="6097588"/>
          <p14:tracePt t="10983" x="9901238" y="6121400"/>
          <p14:tracePt t="10983" x="9869488" y="6137275"/>
          <p14:tracePt t="10985" x="9837738" y="6161088"/>
          <p14:tracePt t="10986" x="9801225" y="6189663"/>
          <p14:tracePt t="10987" x="9769475" y="6205538"/>
          <p14:tracePt t="10988" x="9740900" y="6226175"/>
          <p14:tracePt t="10989" x="9709150" y="6242050"/>
          <p14:tracePt t="10990" x="9682163" y="6261100"/>
          <p14:tracePt t="10991" x="9640888" y="6284913"/>
          <p14:tracePt t="10992" x="9613900" y="6305550"/>
          <p14:tracePt t="10993" x="9585325" y="6318250"/>
          <p14:tracePt t="10994" x="9553575" y="6334125"/>
          <p14:tracePt t="10995" x="9525000" y="6345238"/>
          <p14:tracePt t="10998" x="9421813" y="6392863"/>
          <p14:tracePt t="10999" x="9380538" y="6413500"/>
          <p14:tracePt t="11000" x="9345613" y="6426200"/>
          <p14:tracePt t="11001" x="9309100" y="6437313"/>
          <p14:tracePt t="11002" x="9280525" y="6450013"/>
          <p14:tracePt t="11003" x="9248775" y="6461125"/>
          <p14:tracePt t="11004" x="9221788" y="6473825"/>
          <p14:tracePt t="11005" x="9177338" y="6494463"/>
          <p14:tracePt t="11006" x="9148763" y="6505575"/>
          <p14:tracePt t="11007" x="9112250" y="6510338"/>
          <p14:tracePt t="11008" x="9080500" y="6521450"/>
          <p14:tracePt t="11009" x="9053513" y="6534150"/>
          <p14:tracePt t="11010" x="9009063" y="6545263"/>
          <p14:tracePt t="11011" x="8980488" y="6553200"/>
          <p14:tracePt t="11012" x="8953500" y="6565900"/>
          <p14:tracePt t="11015" x="8843963" y="6589713"/>
          <p14:tracePt t="11016" x="8816975" y="6594475"/>
          <p14:tracePt t="11017" x="8788400" y="6597650"/>
          <p14:tracePt t="11018" x="8756650" y="6610350"/>
          <p14:tracePt t="11019" x="8728075" y="6618288"/>
          <p14:tracePt t="11020" x="8685213" y="6621463"/>
          <p14:tracePt t="11021" x="8648700" y="6634163"/>
          <p14:tracePt t="11022" x="8620125" y="6642100"/>
          <p14:tracePt t="11023" x="8596313" y="6642100"/>
          <p14:tracePt t="11024" x="8548688" y="6653213"/>
          <p14:tracePt t="11026" x="8496300" y="6657975"/>
          <p14:tracePt t="11027" x="8467725" y="6665913"/>
          <p14:tracePt t="11029" x="8412163" y="6669088"/>
          <p14:tracePt t="11030" x="8348663" y="6681788"/>
          <p14:tracePt t="11032" x="8324850" y="6681788"/>
          <p14:tracePt t="11033" x="8296275" y="6686550"/>
          <p14:tracePt t="11034" x="8251825" y="6686550"/>
          <p14:tracePt t="11035" x="8224838" y="6694488"/>
          <p14:tracePt t="11036" x="8199438" y="6694488"/>
          <p14:tracePt t="11037" x="8172450" y="6694488"/>
          <p14:tracePt t="11038" x="8143875" y="6694488"/>
          <p14:tracePt t="11039" x="8112125" y="6694488"/>
          <p14:tracePt t="11040" x="8083550" y="6694488"/>
          <p14:tracePt t="11041" x="8064500" y="6697663"/>
          <p14:tracePt t="11042" x="8040688" y="6697663"/>
          <p14:tracePt t="11043" x="8012113" y="6697663"/>
          <p14:tracePt t="11045" x="7959725" y="6697663"/>
          <p14:tracePt t="11046" x="7931150" y="6697663"/>
          <p14:tracePt t="11047" x="7912100" y="6697663"/>
          <p14:tracePt t="11048" x="7880350" y="6697663"/>
          <p14:tracePt t="11049" x="7859713" y="6697663"/>
          <p14:tracePt t="11050" x="7835900" y="6697663"/>
          <p14:tracePt t="11051" x="7815263" y="6697663"/>
          <p14:tracePt t="11052" x="7791450" y="6697663"/>
          <p14:tracePt t="11053" x="7772400" y="6697663"/>
          <p14:tracePt t="11054" x="7739063" y="6697663"/>
          <p14:tracePt t="11055" x="7720013" y="6697663"/>
          <p14:tracePt t="11056" x="7696200" y="6697663"/>
          <p14:tracePt t="11057" x="7675563" y="6697663"/>
          <p14:tracePt t="11058" x="7643813" y="6697663"/>
          <p14:tracePt t="11059" x="7623175" y="6697663"/>
          <p14:tracePt t="11061" x="7578725" y="6697663"/>
          <p14:tracePt t="11062" x="7559675" y="6697663"/>
          <p14:tracePt t="11063" x="7527925" y="6689725"/>
          <p14:tracePt t="11064" x="7507288" y="6689725"/>
          <p14:tracePt t="11065" x="7486650" y="6686550"/>
          <p14:tracePt t="11066" x="7467600" y="6686550"/>
          <p14:tracePt t="11067" x="7443788" y="6681788"/>
          <p14:tracePt t="11068" x="7407275" y="6673850"/>
          <p14:tracePt t="11069" x="7386638" y="6673850"/>
          <p14:tracePt t="11070" x="7367588" y="6669088"/>
          <p14:tracePt t="11071" x="7346950" y="6665913"/>
          <p14:tracePt t="11072" x="7310438" y="6657975"/>
          <p14:tracePt t="11073" x="7291388" y="6653213"/>
          <p14:tracePt t="11074" x="7270750" y="6650038"/>
          <p14:tracePt t="11075" x="7251700" y="6642100"/>
          <p14:tracePt t="11076" x="7235825" y="6642100"/>
          <p14:tracePt t="11077" x="7199313" y="6634163"/>
          <p14:tracePt t="11078" x="7167563" y="6621463"/>
          <p14:tracePt t="11080" x="7138988" y="6618288"/>
          <p14:tracePt t="11081" x="7118350" y="6613525"/>
          <p14:tracePt t="11082" x="7091363" y="6602413"/>
          <p14:tracePt t="11083" x="7070725" y="6597650"/>
          <p14:tracePt t="11084" x="7054850" y="6589713"/>
          <p14:tracePt t="11085" x="7038975" y="6586538"/>
          <p14:tracePt t="11086" x="7018338" y="6581775"/>
          <p14:tracePt t="11087" x="6991350" y="6577013"/>
          <p14:tracePt t="11088" x="6975475" y="6565900"/>
          <p14:tracePt t="11089" x="6954838" y="6561138"/>
          <p14:tracePt t="11090" x="6942138" y="6557963"/>
          <p14:tracePt t="11091" x="6923088" y="6553200"/>
          <p14:tracePt t="11092" x="6899275" y="6542088"/>
          <p14:tracePt t="11093" x="6883400" y="6537325"/>
          <p14:tracePt t="11094" x="6867525" y="6534150"/>
          <p14:tracePt t="11096" x="6838950" y="6521450"/>
          <p14:tracePt t="11097" x="6810375" y="6518275"/>
          <p14:tracePt t="11098" x="6799263" y="6513513"/>
          <p14:tracePt t="11099" x="6783388" y="6510338"/>
          <p14:tracePt t="11100" x="6770688" y="6502400"/>
          <p14:tracePt t="11101" x="6754813" y="6497638"/>
          <p14:tracePt t="11102" x="6734175" y="6489700"/>
          <p14:tracePt t="11103" x="6726238" y="6489700"/>
          <p14:tracePt t="11104" x="6715125" y="6481763"/>
          <p14:tracePt t="11105" x="6699250" y="6477000"/>
          <p14:tracePt t="11106" x="6686550" y="6469063"/>
          <p14:tracePt t="11107" x="6670675" y="6469063"/>
          <p14:tracePt t="11108" x="6662738" y="6465888"/>
          <p14:tracePt t="11109" x="6646863" y="6461125"/>
          <p14:tracePt t="11110" x="6638925" y="6457950"/>
          <p14:tracePt t="11111" x="6630988" y="6450013"/>
          <p14:tracePt t="11113" x="6607175" y="6442075"/>
          <p14:tracePt t="11114" x="6599238" y="6442075"/>
          <p14:tracePt t="11115" x="6589713" y="6437313"/>
          <p14:tracePt t="11116" x="6581775" y="6434138"/>
          <p14:tracePt t="11117" x="6578600" y="6429375"/>
          <p14:tracePt t="11118" x="6570663" y="6429375"/>
          <p14:tracePt t="11119" x="6565900" y="6426200"/>
          <p14:tracePt t="11120" x="6562725" y="6421438"/>
          <p14:tracePt t="11121" x="6554788" y="6421438"/>
          <p14:tracePt t="11123" x="6550025" y="6418263"/>
          <p14:tracePt t="11124" x="6546850" y="6418263"/>
          <p14:tracePt t="11125" x="6542088" y="6413500"/>
          <p14:tracePt t="11126" x="6538913" y="6413500"/>
          <p14:tracePt t="11129" x="6534150" y="6413500"/>
          <p14:tracePt t="11130" x="6534150" y="6410325"/>
          <p14:tracePt t="11131" x="6530975" y="6410325"/>
          <p14:tracePt t="11163" x="6534150" y="6410325"/>
          <p14:tracePt t="11164" x="6534150" y="6405563"/>
          <p14:tracePt t="11166" x="6538913" y="6405563"/>
          <p14:tracePt t="11168" x="6542088" y="6402388"/>
          <p14:tracePt t="11169" x="6546850" y="6402388"/>
          <p14:tracePt t="11171" x="6550025" y="6397625"/>
          <p14:tracePt t="11173" x="6554788" y="6397625"/>
          <p14:tracePt t="11174" x="6557963" y="6392863"/>
          <p14:tracePt t="11175" x="6562725" y="6392863"/>
          <p14:tracePt t="11176" x="6565900" y="6392863"/>
          <p14:tracePt t="11177" x="6570663" y="6389688"/>
          <p14:tracePt t="11178" x="6578600" y="6389688"/>
          <p14:tracePt t="11179" x="6581775" y="6389688"/>
          <p14:tracePt t="11180" x="6586538" y="6389688"/>
          <p14:tracePt t="11181" x="6594475" y="6389688"/>
          <p14:tracePt t="11182" x="6599238" y="6389688"/>
          <p14:tracePt t="11184" x="6607175" y="6384925"/>
          <p14:tracePt t="11185" x="6615113" y="6384925"/>
          <p14:tracePt t="11186" x="6618288" y="6384925"/>
          <p14:tracePt t="11187" x="6626225" y="6384925"/>
          <p14:tracePt t="11188" x="6634163" y="6384925"/>
          <p14:tracePt t="11189" x="6642100" y="6384925"/>
          <p14:tracePt t="11190" x="6654800" y="6381750"/>
          <p14:tracePt t="11191" x="6662738" y="6381750"/>
          <p14:tracePt t="11192" x="6670675" y="6381750"/>
          <p14:tracePt t="11193" x="6686550" y="6381750"/>
          <p14:tracePt t="11195" x="6694488" y="6381750"/>
          <p14:tracePt t="11196" x="6702425" y="6381750"/>
          <p14:tracePt t="11197" x="6710363" y="6376988"/>
          <p14:tracePt t="11198" x="6723063" y="6376988"/>
          <p14:tracePt t="11199" x="6738938" y="6376988"/>
          <p14:tracePt t="11200" x="6746875" y="6376988"/>
          <p14:tracePt t="11201" x="6754813" y="6376988"/>
          <p14:tracePt t="11202" x="6765925" y="6376988"/>
          <p14:tracePt t="11203" x="6783388" y="6376988"/>
          <p14:tracePt t="11204" x="6794500" y="6376988"/>
          <p14:tracePt t="11205" x="6810375" y="6376988"/>
          <p14:tracePt t="11206" x="6823075" y="6376988"/>
          <p14:tracePt t="11207" x="6834188" y="6373813"/>
          <p14:tracePt t="11208" x="6854825" y="6373813"/>
          <p14:tracePt t="11209" x="6870700" y="6373813"/>
          <p14:tracePt t="11210" x="6883400" y="6373813"/>
          <p14:tracePt t="11211" x="6902450" y="6373813"/>
          <p14:tracePt t="11212" x="6915150" y="6373813"/>
          <p14:tracePt t="11213" x="6934200" y="6373813"/>
          <p14:tracePt t="11214" x="6954838" y="6373813"/>
          <p14:tracePt t="11215" x="6967538" y="6373813"/>
          <p14:tracePt t="11216" x="6986588" y="6365875"/>
          <p14:tracePt t="11217" x="7007225" y="6365875"/>
          <p14:tracePt t="11218" x="7031038" y="6365875"/>
          <p14:tracePt t="11219" x="7051675" y="6365875"/>
          <p14:tracePt t="11220" x="7070725" y="6365875"/>
          <p14:tracePt t="11221" x="7091363" y="6365875"/>
          <p14:tracePt t="11222" x="7123113" y="6365875"/>
          <p14:tracePt t="11223" x="7146925" y="6365875"/>
          <p14:tracePt t="11224" x="7167563" y="6361113"/>
          <p14:tracePt t="11225" x="7194550" y="6361113"/>
          <p14:tracePt t="11226" x="7223125" y="6361113"/>
          <p14:tracePt t="11227" x="7239000" y="6361113"/>
          <p14:tracePt t="11228" x="7278688" y="6361113"/>
          <p14:tracePt t="11229" x="7307263" y="6357938"/>
          <p14:tracePt t="11230" x="7335838" y="6350000"/>
          <p14:tracePt t="11231" x="7362825" y="6350000"/>
          <p14:tracePt t="11232" x="7407275" y="6345238"/>
          <p14:tracePt t="11233" x="7439025" y="6345238"/>
          <p14:tracePt t="11234" x="7467600" y="6337300"/>
          <p14:tracePt t="11235" x="7504113" y="6337300"/>
          <p14:tracePt t="11236" x="7539038" y="6334125"/>
          <p14:tracePt t="11237" x="7591425" y="6334125"/>
          <p14:tracePt t="11237" x="7627938" y="6329363"/>
          <p14:tracePt t="11238" x="7662863" y="6321425"/>
          <p14:tracePt t="11240" x="7707313" y="6321425"/>
          <p14:tracePt t="11241" x="7751763" y="6313488"/>
          <p14:tracePt t="11242" x="7812088" y="6310313"/>
          <p14:tracePt t="11244" x="7907338" y="6297613"/>
          <p14:tracePt t="11245" x="7951788" y="6289675"/>
          <p14:tracePt t="11246" x="8020050" y="6281738"/>
          <p14:tracePt t="11247" x="8072438" y="6276975"/>
          <p14:tracePt t="11248" x="8123238" y="6269038"/>
          <p14:tracePt t="11249" x="8175625" y="6261100"/>
          <p14:tracePt t="11250" x="8228013" y="6257925"/>
          <p14:tracePt t="11251" x="8280400" y="6249988"/>
          <p14:tracePt t="11251" x="8356600" y="6242050"/>
          <p14:tracePt t="11253" x="8420100" y="6229350"/>
          <p14:tracePt t="11254" x="8480425" y="6221413"/>
          <p14:tracePt t="11255" x="8532813" y="6208713"/>
          <p14:tracePt t="11256" x="8620125" y="6192838"/>
          <p14:tracePt t="11257" x="8680450" y="6189663"/>
          <p14:tracePt t="11258" x="8740775" y="6173788"/>
          <p14:tracePt t="11259" x="8801100" y="6169025"/>
          <p14:tracePt t="11260" x="8861425" y="6153150"/>
          <p14:tracePt t="11261" x="8948738" y="6142038"/>
          <p14:tracePt t="11263" x="9069388" y="6121400"/>
          <p14:tracePt t="11264" x="9129713" y="6113463"/>
          <p14:tracePt t="11265" x="9193213" y="6097588"/>
          <p14:tracePt t="11266" x="9277350" y="6084888"/>
          <p14:tracePt t="11267" x="9337675" y="6073775"/>
          <p14:tracePt t="11268" x="9401175" y="6065838"/>
          <p14:tracePt t="11269" x="9461500" y="6049963"/>
          <p14:tracePt t="11270" x="9521825" y="6037263"/>
          <p14:tracePt t="11271" x="9609138" y="6021388"/>
          <p14:tracePt t="11272" x="9661525" y="6016625"/>
          <p14:tracePt t="11273" x="9721850" y="6000750"/>
          <p14:tracePt t="11273" x="9782175" y="5997575"/>
          <p14:tracePt t="11275" x="9832975" y="5981700"/>
          <p14:tracePt t="11276" x="9913938" y="5969000"/>
          <p14:tracePt t="11277" x="9974263" y="5961063"/>
          <p14:tracePt t="11278" x="10026650" y="5949950"/>
          <p14:tracePt t="11280" x="10158413" y="5921375"/>
          <p14:tracePt t="11282" x="10261600" y="5900738"/>
          <p14:tracePt t="11282" x="10313988" y="5889625"/>
          <p14:tracePt t="11284" x="10358438" y="5881688"/>
          <p14:tracePt t="11285" x="10414000" y="5868988"/>
          <p14:tracePt t="11286" x="10482263" y="5853113"/>
          <p14:tracePt t="11287" x="10526713" y="5840413"/>
          <p14:tracePt t="11288" x="10571163" y="5837238"/>
          <p14:tracePt t="11289" x="10618788" y="5821363"/>
          <p14:tracePt t="11290" x="10687050" y="5808663"/>
          <p14:tracePt t="11291" x="10721975" y="5797550"/>
          <p14:tracePt t="11293" x="10810875" y="5776913"/>
          <p14:tracePt t="11294" x="10847388" y="5773738"/>
          <p14:tracePt t="11295" x="10902950" y="5753100"/>
          <p14:tracePt t="11297" x="10982325" y="5732463"/>
          <p14:tracePt t="11298" x="11018838" y="5724525"/>
          <p14:tracePt t="11299" x="11055350" y="5713413"/>
          <p14:tracePt t="11300" x="11098213" y="5708650"/>
          <p14:tracePt t="11301" x="11134725" y="5697538"/>
          <p14:tracePt t="11302" x="11171238" y="5689600"/>
          <p14:tracePt t="11303" x="11207750" y="5684838"/>
          <p14:tracePt t="11304" x="11255375" y="5673725"/>
          <p14:tracePt t="11305" x="11291888" y="5664200"/>
          <p14:tracePt t="11306" x="11318875" y="5653088"/>
          <p14:tracePt t="11307" x="11355388" y="5648325"/>
          <p14:tracePt t="11308" x="11383963" y="5640388"/>
          <p14:tracePt t="11309" x="11410950" y="5629275"/>
          <p14:tracePt t="11310" x="11463338" y="5624513"/>
          <p14:tracePt t="11311" x="11491913" y="5616575"/>
          <p14:tracePt t="11312" x="11518900" y="5605463"/>
          <p14:tracePt t="11314" x="11591925" y="5592763"/>
          <p14:tracePt t="11315" x="11610975" y="5584825"/>
          <p14:tracePt t="11316" x="11639550" y="5576888"/>
          <p14:tracePt t="11317" x="11668125" y="5572125"/>
          <p14:tracePt t="11318" x="11687175" y="5568950"/>
          <p14:tracePt t="11319" x="11731625" y="5561013"/>
          <p14:tracePt t="11320" x="11752263" y="5556250"/>
          <p14:tracePt t="11321" x="11771313" y="5553075"/>
          <p14:tracePt t="11322" x="11799888" y="5545138"/>
          <p14:tracePt t="11323" x="11818938" y="5540375"/>
          <p14:tracePt t="11324" x="11855450" y="5537200"/>
          <p14:tracePt t="11325" x="11876088" y="5529263"/>
          <p14:tracePt t="11327" x="11915775" y="5521325"/>
          <p14:tracePt t="11328" x="11944350" y="5516563"/>
          <p14:tracePt t="11329" x="11955463" y="5508625"/>
          <p14:tracePt t="11331" x="11991975" y="5505450"/>
          <p14:tracePt t="11332" x="12007850" y="5500688"/>
          <p14:tracePt t="11333" x="12028488" y="5497513"/>
          <p14:tracePt t="11334" x="12044363" y="5492750"/>
          <p14:tracePt t="11335" x="12055475" y="5492750"/>
          <p14:tracePt t="11336" x="12068175" y="5484813"/>
          <p14:tracePt t="11337" x="12079288" y="5480050"/>
          <p14:tracePt t="11338" x="12099925" y="5480050"/>
          <p14:tracePt t="11339" x="12107863" y="5476875"/>
          <p14:tracePt t="11340" x="12115800" y="5476875"/>
          <p14:tracePt t="11341" x="12123738" y="5472113"/>
          <p14:tracePt t="11342" x="12131675" y="5472113"/>
          <p14:tracePt t="11343" x="12147550" y="5468938"/>
          <p14:tracePt t="11344" x="12155488" y="5468938"/>
          <p14:tracePt t="11345" x="12163425" y="5464175"/>
          <p14:tracePt t="11347" x="12171363" y="5464175"/>
          <p14:tracePt t="11348" x="12176125" y="5464175"/>
          <p14:tracePt t="11349" x="12176125" y="5461000"/>
          <p14:tracePt t="11350" x="12179300" y="5461000"/>
          <p14:tracePt t="11352" x="12184063" y="5461000"/>
          <p14:tracePt t="11353" x="12184063" y="5456238"/>
          <p14:tracePt t="11376" x="12184063" y="5453063"/>
          <p14:tracePt t="11416" x="12187238" y="5453063"/>
          <p14:tracePt t="11828" x="12179300" y="4527550"/>
          <p14:tracePt t="11829" x="12171363" y="4524375"/>
          <p14:tracePt t="11831" x="12163425" y="4516438"/>
          <p14:tracePt t="11832" x="12155488" y="4511675"/>
          <p14:tracePt t="11833" x="12152313" y="4511675"/>
          <p14:tracePt t="11834" x="12144375" y="4508500"/>
          <p14:tracePt t="11835" x="12139613" y="4503738"/>
          <p14:tracePt t="11836" x="12128500" y="4500563"/>
          <p14:tracePt t="11837" x="12123738" y="4500563"/>
          <p14:tracePt t="11838" x="12115800" y="4495800"/>
          <p14:tracePt t="11839" x="12107863" y="4492625"/>
          <p14:tracePt t="11840" x="12095163" y="4487863"/>
          <p14:tracePt t="11841" x="12091988" y="4487863"/>
          <p14:tracePt t="11843" x="12076113" y="4479925"/>
          <p14:tracePt t="11844" x="12068175" y="4475163"/>
          <p14:tracePt t="11845" x="12060238" y="4475163"/>
          <p14:tracePt t="11846" x="12052300" y="4471988"/>
          <p14:tracePt t="11847" x="12036425" y="4467225"/>
          <p14:tracePt t="11848" x="12028488" y="4464050"/>
          <p14:tracePt t="11849" x="12020550" y="4459288"/>
          <p14:tracePt t="11850" x="12003088" y="4451350"/>
          <p14:tracePt t="11851" x="11995150" y="4448175"/>
          <p14:tracePt t="11852" x="11987213" y="4448175"/>
          <p14:tracePt t="11853" x="11979275" y="4443413"/>
          <p14:tracePt t="11854" x="11963400" y="4440238"/>
          <p14:tracePt t="11855" x="11952288" y="4435475"/>
          <p14:tracePt t="11856" x="11944350" y="4432300"/>
          <p14:tracePt t="11857" x="11928475" y="4432300"/>
          <p14:tracePt t="11858" x="11918950" y="4427538"/>
          <p14:tracePt t="11859" x="11907838" y="4419600"/>
          <p14:tracePt t="11860" x="11891963" y="4416425"/>
          <p14:tracePt t="11861" x="11879263" y="4416425"/>
          <p14:tracePt t="11862" x="11871325" y="4411663"/>
          <p14:tracePt t="11863" x="11855450" y="4408488"/>
          <p14:tracePt t="11864" x="11836400" y="4403725"/>
          <p14:tracePt t="11865" x="11823700" y="4400550"/>
          <p14:tracePt t="11866" x="11815763" y="4400550"/>
          <p14:tracePt t="11867" x="11799888" y="4392613"/>
          <p14:tracePt t="11868" x="11787188" y="4387850"/>
          <p14:tracePt t="11869" x="11771313" y="4383088"/>
          <p14:tracePt t="11870" x="11760200" y="4379913"/>
          <p14:tracePt t="11871" x="11744325" y="4375150"/>
          <p14:tracePt t="11872" x="11731625" y="4375150"/>
          <p14:tracePt t="11873" x="11715750" y="4371975"/>
          <p14:tracePt t="11874" x="11695113" y="4364038"/>
          <p14:tracePt t="11875" x="11684000" y="4359275"/>
          <p14:tracePt t="11876" x="11668125" y="4356100"/>
          <p14:tracePt t="11877" x="11655425" y="4351338"/>
          <p14:tracePt t="11878" x="11642725" y="4348163"/>
          <p14:tracePt t="11879" x="11610975" y="4335463"/>
          <p14:tracePt t="11881" x="11595100" y="4332288"/>
          <p14:tracePt t="11882" x="11583988" y="4332288"/>
          <p14:tracePt t="11883" x="11571288" y="4327525"/>
          <p14:tracePt t="11884" x="11550650" y="4324350"/>
          <p14:tracePt t="11885" x="11534775" y="4319588"/>
          <p14:tracePt t="11886" x="11526838" y="4316413"/>
          <p14:tracePt t="11887" x="11515725" y="4316413"/>
          <p14:tracePt t="11888" x="11495088" y="4308475"/>
          <p14:tracePt t="11888" x="11479213" y="4303713"/>
          <p14:tracePt t="11890" x="11466513" y="4300538"/>
          <p14:tracePt t="11891" x="11450638" y="4295775"/>
          <p14:tracePt t="11893" x="11423650" y="4291013"/>
          <p14:tracePt t="11894" x="11403013" y="4283075"/>
          <p14:tracePt t="11896" x="11374438" y="4279900"/>
          <p14:tracePt t="11897" x="11363325" y="4275138"/>
          <p14:tracePt t="11898" x="11342688" y="4275138"/>
          <p14:tracePt t="11899" x="11326813" y="4271963"/>
          <p14:tracePt t="11900" x="11315700" y="4267200"/>
          <p14:tracePt t="11901" x="11303000" y="4267200"/>
          <p14:tracePt t="11902" x="11287125" y="4264025"/>
          <p14:tracePt t="11910" x="11158538" y="4235450"/>
          <p14:tracePt t="11912" x="11126788" y="4227513"/>
          <p14:tracePt t="11913" x="11106150" y="4224338"/>
          <p14:tracePt t="11914" x="11090275" y="4224338"/>
          <p14:tracePt t="11915" x="11071225" y="4219575"/>
          <p14:tracePt t="11916" x="11058525" y="4219575"/>
          <p14:tracePt t="11917" x="11039475" y="4211638"/>
          <p14:tracePt t="11918" x="11018838" y="4208463"/>
          <p14:tracePt t="11919" x="10998200" y="4208463"/>
          <p14:tracePt t="11919" x="10987088" y="4203700"/>
          <p14:tracePt t="11921" x="10966450" y="4198938"/>
          <p14:tracePt t="11922" x="10947400" y="4195763"/>
          <p14:tracePt t="11923" x="10926763" y="4195763"/>
          <p14:tracePt t="11924" x="10906125" y="4187825"/>
          <p14:tracePt t="11925" x="10895013" y="4187825"/>
          <p14:tracePt t="11926" x="10874375" y="4183063"/>
          <p14:tracePt t="11927" x="10855325" y="4183063"/>
          <p14:tracePt t="11929" x="10810875" y="4175125"/>
          <p14:tracePt t="11929" x="10790238" y="4167188"/>
          <p14:tracePt t="11931" x="10771188" y="4167188"/>
          <p14:tracePt t="11932" x="10742613" y="4164013"/>
          <p14:tracePt t="11933" x="10721975" y="4159250"/>
          <p14:tracePt t="11934" x="10706100" y="4159250"/>
          <p14:tracePt t="11935" x="10687050" y="4156075"/>
          <p14:tracePt t="11936" x="10666413" y="4148138"/>
          <p14:tracePt t="11937" x="10637838" y="4148138"/>
          <p14:tracePt t="11938" x="10610850" y="4143375"/>
          <p14:tracePt t="11939" x="10590213" y="4140200"/>
          <p14:tracePt t="11940" x="10571163" y="4140200"/>
          <p14:tracePt t="11941" x="10545763" y="4132263"/>
          <p14:tracePt t="11943" x="10490200" y="4127500"/>
          <p14:tracePt t="11944" x="10466388" y="4124325"/>
          <p14:tracePt t="11946" x="10410825" y="4116388"/>
          <p14:tracePt t="11947" x="10390188" y="4111625"/>
          <p14:tracePt t="11948" x="10361613" y="4111625"/>
          <p14:tracePt t="11949" x="10342563" y="4106863"/>
          <p14:tracePt t="11950" x="10318750" y="4106863"/>
          <p14:tracePt t="11951" x="10298113" y="4103688"/>
          <p14:tracePt t="11951" x="10261600" y="4103688"/>
          <p14:tracePt t="11953" x="10242550" y="4095750"/>
          <p14:tracePt t="11954" x="10218738" y="4095750"/>
          <p14:tracePt t="11955" x="10198100" y="4090988"/>
          <p14:tracePt t="11956" x="10153650" y="4090988"/>
          <p14:tracePt t="11957" x="10134600" y="4087813"/>
          <p14:tracePt t="11958" x="10106025" y="4087813"/>
          <p14:tracePt t="11959" x="10090150" y="4087813"/>
          <p14:tracePt t="11960" x="10061575" y="4083050"/>
          <p14:tracePt t="11961" x="10026650" y="4083050"/>
          <p14:tracePt t="11962" x="10009188" y="4083050"/>
          <p14:tracePt t="11963" x="9982200" y="4075113"/>
          <p14:tracePt t="11964" x="9961563" y="4075113"/>
          <p14:tracePt t="11965" x="9937750" y="4075113"/>
          <p14:tracePt t="11966" x="9901238" y="4071938"/>
          <p14:tracePt t="11967" x="9882188" y="4071938"/>
          <p14:tracePt t="11968" x="9858375" y="4071938"/>
          <p14:tracePt t="11969" x="9837738" y="4071938"/>
          <p14:tracePt t="11970" x="9813925" y="4071938"/>
          <p14:tracePt t="11971" x="9777413" y="4071938"/>
          <p14:tracePt t="11972" x="9748838" y="4064000"/>
          <p14:tracePt t="11973" x="9729788" y="4064000"/>
          <p14:tracePt t="11974" x="9705975" y="4064000"/>
          <p14:tracePt t="11975" x="9685338" y="4064000"/>
          <p14:tracePt t="11976" x="9653588" y="4064000"/>
          <p14:tracePt t="11977" x="9625013" y="4064000"/>
          <p14:tracePt t="11979" x="9582150" y="4064000"/>
          <p14:tracePt t="11980" x="9545638" y="4064000"/>
          <p14:tracePt t="11981" x="9521825" y="4064000"/>
          <p14:tracePt t="11982" x="9493250" y="4064000"/>
          <p14:tracePt t="11983" x="9472613" y="4064000"/>
          <p14:tracePt t="11984" x="9448800" y="4064000"/>
          <p14:tracePt t="11985" x="9413875" y="4064000"/>
          <p14:tracePt t="11986" x="9388475" y="4064000"/>
          <p14:tracePt t="11987" x="9361488" y="4064000"/>
          <p14:tracePt t="11988" x="9340850" y="4064000"/>
          <p14:tracePt t="11989" x="9317038" y="4064000"/>
          <p14:tracePt t="11990" x="9280525" y="4064000"/>
          <p14:tracePt t="11991" x="9256713" y="4064000"/>
          <p14:tracePt t="11993" x="9204325" y="4064000"/>
          <p14:tracePt t="11994" x="9185275" y="4064000"/>
          <p14:tracePt t="11995" x="9153525" y="4064000"/>
          <p14:tracePt t="11996" x="9124950" y="4064000"/>
          <p14:tracePt t="11997" x="9096375" y="4064000"/>
          <p14:tracePt t="11998" x="9080500" y="4064000"/>
          <p14:tracePt t="11999" x="9053513" y="4064000"/>
          <p14:tracePt t="12000" x="9020175" y="4064000"/>
          <p14:tracePt t="12001" x="8993188" y="4064000"/>
          <p14:tracePt t="12002" x="8964613" y="4064000"/>
          <p14:tracePt t="12003" x="8940800" y="4064000"/>
          <p14:tracePt t="12004" x="8904288" y="4064000"/>
          <p14:tracePt t="12005" x="8885238" y="4064000"/>
          <p14:tracePt t="12006" x="8861425" y="4064000"/>
          <p14:tracePt t="12006" x="8840788" y="4064000"/>
          <p14:tracePt t="12008" x="8816975" y="4064000"/>
          <p14:tracePt t="12009" x="8796338" y="4064000"/>
          <p14:tracePt t="12010" x="8764588" y="4064000"/>
          <p14:tracePt t="12011" x="8743950" y="4064000"/>
          <p14:tracePt t="12012" x="8720138" y="4064000"/>
          <p14:tracePt t="12013" x="8701088" y="4064000"/>
          <p14:tracePt t="12014" x="8667750" y="4064000"/>
          <p14:tracePt t="12015" x="8648700" y="4064000"/>
          <p14:tracePt t="12016" x="8628063" y="4064000"/>
          <p14:tracePt t="12017" x="8612188" y="4064000"/>
          <p14:tracePt t="12018" x="8593138" y="4064000"/>
          <p14:tracePt t="12019" x="8564563" y="4064000"/>
          <p14:tracePt t="12020" x="8548688" y="4064000"/>
          <p14:tracePt t="12021" x="8528050" y="4064000"/>
          <p14:tracePt t="12022" x="8509000" y="4067175"/>
          <p14:tracePt t="12023" x="8493125" y="4067175"/>
          <p14:tracePt t="12024" x="8467725" y="4067175"/>
          <p14:tracePt t="12025" x="8448675" y="4067175"/>
          <p14:tracePt t="12026" x="8432800" y="4067175"/>
          <p14:tracePt t="12027" x="8416925" y="4071938"/>
          <p14:tracePt t="12028" x="8391525" y="4071938"/>
          <p14:tracePt t="12029" x="8375650" y="4071938"/>
          <p14:tracePt t="12030" x="8356600" y="4075113"/>
          <p14:tracePt t="12031" x="8343900" y="4075113"/>
          <p14:tracePt t="12032" x="8328025" y="4079875"/>
          <p14:tracePt t="12033" x="8316913" y="4079875"/>
          <p14:tracePt t="12034" x="8296275" y="4083050"/>
          <p14:tracePt t="12035" x="8283575" y="4083050"/>
          <p14:tracePt t="12036" x="8267700" y="4083050"/>
          <p14:tracePt t="12037" x="8256588" y="4090988"/>
          <p14:tracePt t="12038" x="8235950" y="4090988"/>
          <p14:tracePt t="12039" x="8220075" y="4095750"/>
          <p14:tracePt t="12040" x="8207375" y="4095750"/>
          <p14:tracePt t="12041" x="8191500" y="4098925"/>
          <p14:tracePt t="12043" x="8167688" y="4103688"/>
          <p14:tracePt t="12044" x="8151813" y="4106863"/>
          <p14:tracePt t="12045" x="8143875" y="4106863"/>
          <p14:tracePt t="12046" x="8132763" y="4106863"/>
          <p14:tracePt t="12047" x="8120063" y="4111625"/>
          <p14:tracePt t="12048" x="8099425" y="4119563"/>
          <p14:tracePt t="12049" x="8091488" y="4119563"/>
          <p14:tracePt t="12050" x="8080375" y="4124325"/>
          <p14:tracePt t="12051" x="8064500" y="4127500"/>
          <p14:tracePt t="12052" x="8056563" y="4127500"/>
          <p14:tracePt t="12053" x="8035925" y="4132263"/>
          <p14:tracePt t="12054" x="8027988" y="4135438"/>
          <p14:tracePt t="12055" x="8015288" y="4135438"/>
          <p14:tracePt t="12056" x="8007350" y="4140200"/>
          <p14:tracePt t="12057" x="7991475" y="4148138"/>
          <p14:tracePt t="12058" x="7980363" y="4151313"/>
          <p14:tracePt t="12059" x="7964488" y="4151313"/>
          <p14:tracePt t="12060" x="7951788" y="4156075"/>
          <p14:tracePt t="12061" x="7943850" y="4159250"/>
          <p14:tracePt t="12062" x="7923213" y="4164013"/>
          <p14:tracePt t="12063" x="7912100" y="4167188"/>
          <p14:tracePt t="12064" x="7899400" y="4171950"/>
          <p14:tracePt t="12065" x="7883525" y="4171950"/>
          <p14:tracePt t="12066" x="7875588" y="4179888"/>
          <p14:tracePt t="12067" x="7864475" y="4183063"/>
          <p14:tracePt t="12068" x="7847013" y="4187825"/>
          <p14:tracePt t="12069" x="7835900" y="4191000"/>
          <p14:tracePt t="12070" x="7827963" y="4195763"/>
          <p14:tracePt t="12071" x="7812088" y="4198938"/>
          <p14:tracePt t="12072" x="7799388" y="4203700"/>
          <p14:tracePt t="12073" x="7788275" y="4211638"/>
          <p14:tracePt t="12074" x="7780338" y="4216400"/>
          <p14:tracePt t="12075" x="7767638" y="4219575"/>
          <p14:tracePt t="12077" x="7743825" y="4227513"/>
          <p14:tracePt t="12078" x="7727950" y="4232275"/>
          <p14:tracePt t="12080" x="7712075" y="4240213"/>
          <p14:tracePt t="12081" x="7704138" y="4240213"/>
          <p14:tracePt t="12082" x="7688263" y="4251325"/>
          <p14:tracePt t="12083" x="7680325" y="4256088"/>
          <p14:tracePt t="12084" x="7670800" y="4259263"/>
          <p14:tracePt t="12085" x="7662863" y="4264025"/>
          <p14:tracePt t="12086" x="7646988" y="4267200"/>
          <p14:tracePt t="12087" x="7639050" y="4271963"/>
          <p14:tracePt t="12088" x="7631113" y="4275138"/>
          <p14:tracePt t="12089" x="7623175" y="4283075"/>
          <p14:tracePt t="12090" x="7615238" y="4287838"/>
          <p14:tracePt t="12091" x="7604125" y="4291013"/>
          <p14:tracePt t="12093" x="7583488" y="4303713"/>
          <p14:tracePt t="12094" x="7570788" y="4308475"/>
          <p14:tracePt t="12095" x="7562850" y="4311650"/>
          <p14:tracePt t="12097" x="7546975" y="4327525"/>
          <p14:tracePt t="12098" x="7539038" y="4332288"/>
          <p14:tracePt t="12099" x="7527925" y="4335463"/>
          <p14:tracePt t="12100" x="7519988" y="4340225"/>
          <p14:tracePt t="12101" x="7507288" y="4343400"/>
          <p14:tracePt t="12102" x="7494588" y="4356100"/>
          <p14:tracePt t="12103" x="7486650" y="4359275"/>
          <p14:tracePt t="12104" x="7483475" y="4364038"/>
          <p14:tracePt t="12105" x="7475538" y="4367213"/>
          <p14:tracePt t="12106" x="7462838" y="4375150"/>
          <p14:tracePt t="12107" x="7454900" y="4379913"/>
          <p14:tracePt t="12108" x="7443788" y="4383088"/>
          <p14:tracePt t="12109" x="7435850" y="4387850"/>
          <p14:tracePt t="12110" x="7427913" y="4395788"/>
          <p14:tracePt t="12111" x="7419975" y="4403725"/>
          <p14:tracePt t="12113" x="7402513" y="4416425"/>
          <p14:tracePt t="12114" x="7394575" y="4419600"/>
          <p14:tracePt t="12115" x="7391400" y="4427538"/>
          <p14:tracePt t="12116" x="7378700" y="4440238"/>
          <p14:tracePt t="12117" x="7375525" y="4440238"/>
          <p14:tracePt t="12118" x="7367588" y="4443413"/>
          <p14:tracePt t="12119" x="7354888" y="4456113"/>
          <p14:tracePt t="12120" x="7346950" y="4464050"/>
          <p14:tracePt t="12121" x="7339013" y="4467225"/>
          <p14:tracePt t="12122" x="7331075" y="4471988"/>
          <p14:tracePt t="12123" x="7327900" y="4479925"/>
          <p14:tracePt t="12124" x="7315200" y="4484688"/>
          <p14:tracePt t="12125" x="7307263" y="4495800"/>
          <p14:tracePt t="12126" x="7299325" y="4503738"/>
          <p14:tracePt t="12127" x="7294563" y="4508500"/>
          <p14:tracePt t="12128" x="7286625" y="4516438"/>
          <p14:tracePt t="12130" x="7275513" y="4527550"/>
          <p14:tracePt t="12131" x="7270750" y="4535488"/>
          <p14:tracePt t="12132" x="7262813" y="4540250"/>
          <p14:tracePt t="12133" x="7259638" y="4548188"/>
          <p14:tracePt t="12134" x="7246938" y="4551363"/>
          <p14:tracePt t="12135" x="7243763" y="4564063"/>
          <p14:tracePt t="12136" x="7235825" y="4572000"/>
          <p14:tracePt t="12137" x="7231063" y="4576763"/>
          <p14:tracePt t="12138" x="7227888" y="4584700"/>
          <p14:tracePt t="12139" x="7223125" y="4587875"/>
          <p14:tracePt t="12140" x="7218363" y="4600575"/>
          <p14:tracePt t="12141" x="7215188" y="4603750"/>
          <p14:tracePt t="12142" x="7207250" y="4616450"/>
          <p14:tracePt t="12144" x="7202488" y="4627563"/>
          <p14:tracePt t="12146" x="7194550" y="4640263"/>
          <p14:tracePt t="12147" x="7194550" y="4643438"/>
          <p14:tracePt t="12148" x="7191375" y="4651375"/>
          <p14:tracePt t="12149" x="7191375" y="4656138"/>
          <p14:tracePt t="12150" x="7183438" y="4668838"/>
          <p14:tracePt t="12151" x="7183438" y="4672013"/>
          <p14:tracePt t="12152" x="7183438" y="4679950"/>
          <p14:tracePt t="12153" x="7175500" y="4687888"/>
          <p14:tracePt t="12154" x="7175500" y="4695825"/>
          <p14:tracePt t="12155" x="7170738" y="4703763"/>
          <p14:tracePt t="12156" x="7170738" y="4711700"/>
          <p14:tracePt t="12157" x="7170738" y="4716463"/>
          <p14:tracePt t="12158" x="7167563" y="4724400"/>
          <p14:tracePt t="12159" x="7167563" y="4732338"/>
          <p14:tracePt t="12160" x="7167563" y="4740275"/>
          <p14:tracePt t="12162" x="7167563" y="4756150"/>
          <p14:tracePt t="12163" x="7167563" y="4760913"/>
          <p14:tracePt t="12164" x="7167563" y="4768850"/>
          <p14:tracePt t="12165" x="7167563" y="4776788"/>
          <p14:tracePt t="12166" x="7167563" y="4784725"/>
          <p14:tracePt t="12167" x="7167563" y="4787900"/>
          <p14:tracePt t="12168" x="7167563" y="4795838"/>
          <p14:tracePt t="12169" x="7167563" y="4803775"/>
          <p14:tracePt t="12170" x="7167563" y="4811713"/>
          <p14:tracePt t="12171" x="7167563" y="4816475"/>
          <p14:tracePt t="12172" x="7167563" y="4824413"/>
          <p14:tracePt t="12173" x="7167563" y="4827588"/>
          <p14:tracePt t="12174" x="7170738" y="4835525"/>
          <p14:tracePt t="12175" x="7170738" y="4843463"/>
          <p14:tracePt t="12176" x="7170738" y="4848225"/>
          <p14:tracePt t="12177" x="7175500" y="4856163"/>
          <p14:tracePt t="12178" x="7175500" y="4860925"/>
          <p14:tracePt t="12179" x="7178675" y="4868863"/>
          <p14:tracePt t="12180" x="7183438" y="4872038"/>
          <p14:tracePt t="12181" x="7183438" y="4876800"/>
          <p14:tracePt t="12182" x="7186613" y="4879975"/>
          <p14:tracePt t="12183" x="7191375" y="4887913"/>
          <p14:tracePt t="12184" x="7191375" y="4892675"/>
          <p14:tracePt t="12185" x="7194550" y="4895850"/>
          <p14:tracePt t="12186" x="7199313" y="4900613"/>
          <p14:tracePt t="12187" x="7199313" y="4908550"/>
          <p14:tracePt t="12188" x="7202488" y="4911725"/>
          <p14:tracePt t="12189" x="7207250" y="4916488"/>
          <p14:tracePt t="12190" x="7210425" y="4919663"/>
          <p14:tracePt t="12191" x="7215188" y="4927600"/>
          <p14:tracePt t="12193" x="7218363" y="4935538"/>
          <p14:tracePt t="12194" x="7223125" y="4940300"/>
          <p14:tracePt t="12196" x="7227888" y="4945063"/>
          <p14:tracePt t="12197" x="7231063" y="4948238"/>
          <p14:tracePt t="12198" x="7239000" y="4956175"/>
          <p14:tracePt t="12199" x="7243763" y="4960938"/>
          <p14:tracePt t="12200" x="7246938" y="4964113"/>
          <p14:tracePt t="12201" x="7251700" y="4968875"/>
          <p14:tracePt t="12202" x="7254875" y="4972050"/>
          <p14:tracePt t="12203" x="7259638" y="4976813"/>
          <p14:tracePt t="12204" x="7267575" y="4979988"/>
          <p14:tracePt t="12205" x="7270750" y="4984750"/>
          <p14:tracePt t="12206" x="7275513" y="4987925"/>
          <p14:tracePt t="12207" x="7283450" y="4992688"/>
          <p14:tracePt t="12208" x="7286625" y="4995863"/>
          <p14:tracePt t="12209" x="7294563" y="5000625"/>
          <p14:tracePt t="12210" x="7294563" y="5003800"/>
          <p14:tracePt t="12211" x="7302500" y="5008563"/>
          <p14:tracePt t="12213" x="7323138" y="5016500"/>
          <p14:tracePt t="12214" x="7327900" y="5019675"/>
          <p14:tracePt t="12215" x="7335838" y="5024438"/>
          <p14:tracePt t="12216" x="7339013" y="5024438"/>
          <p14:tracePt t="12217" x="7351713" y="5027613"/>
          <p14:tracePt t="12218" x="7354888" y="5032375"/>
          <p14:tracePt t="12219" x="7362825" y="5037138"/>
          <p14:tracePt t="12220" x="7370763" y="5040313"/>
          <p14:tracePt t="12221" x="7378700" y="5045075"/>
          <p14:tracePt t="12222" x="7391400" y="5045075"/>
          <p14:tracePt t="12223" x="7402513" y="5048250"/>
          <p14:tracePt t="12224" x="7412038" y="5053013"/>
          <p14:tracePt t="12225" x="7423150" y="5053013"/>
          <p14:tracePt t="12226" x="7439025" y="5056188"/>
          <p14:tracePt t="12227" x="7446963" y="5060950"/>
          <p14:tracePt t="12228" x="7454900" y="5064125"/>
          <p14:tracePt t="12230" x="7478713" y="5068888"/>
          <p14:tracePt t="12231" x="7491413" y="5076825"/>
          <p14:tracePt t="12232" x="7507288" y="5080000"/>
          <p14:tracePt t="12233" x="7519988" y="5084763"/>
          <p14:tracePt t="12234" x="7535863" y="5084763"/>
          <p14:tracePt t="12235" x="7546975" y="5087938"/>
          <p14:tracePt t="12236" x="7567613" y="5092700"/>
          <p14:tracePt t="12237" x="7583488" y="5100638"/>
          <p14:tracePt t="12238" x="7596188" y="5103813"/>
          <p14:tracePt t="12238" x="7612063" y="5108575"/>
          <p14:tracePt t="12240" x="7623175" y="5108575"/>
          <p14:tracePt t="12241" x="7643813" y="5111750"/>
          <p14:tracePt t="12243" x="7675563" y="5124450"/>
          <p14:tracePt t="12244" x="7691438" y="5124450"/>
          <p14:tracePt t="12246" x="7731125" y="5129213"/>
          <p14:tracePt t="12247" x="7743825" y="5132388"/>
          <p14:tracePt t="12248" x="7759700" y="5132388"/>
          <p14:tracePt t="12249" x="7780338" y="5137150"/>
          <p14:tracePt t="12250" x="7807325" y="5140325"/>
          <p14:tracePt t="12251" x="7820025" y="5140325"/>
          <p14:tracePt t="12252" x="7839075" y="5148263"/>
          <p14:tracePt t="12253" x="7851775" y="5148263"/>
          <p14:tracePt t="12254" x="7872413" y="5153025"/>
          <p14:tracePt t="12255" x="7888288" y="5156200"/>
          <p14:tracePt t="12256" x="7912100" y="5156200"/>
          <p14:tracePt t="12257" x="7931150" y="5156200"/>
          <p14:tracePt t="12258" x="7951788" y="5160963"/>
          <p14:tracePt t="12259" x="7964488" y="5160963"/>
          <p14:tracePt t="12260" x="7991475" y="5168900"/>
          <p14:tracePt t="12262" x="8027988" y="5172075"/>
          <p14:tracePt t="12263" x="8048625" y="5172075"/>
          <p14:tracePt t="12263" x="8067675" y="5176838"/>
          <p14:tracePt t="12265" x="8088313" y="5176838"/>
          <p14:tracePt t="12266" x="8115300" y="5180013"/>
          <p14:tracePt t="12267" x="8132763" y="5180013"/>
          <p14:tracePt t="12268" x="8151813" y="5180013"/>
          <p14:tracePt t="12269" x="8172450" y="5187950"/>
          <p14:tracePt t="12270" x="8199438" y="5187950"/>
          <p14:tracePt t="12271" x="8220075" y="5192713"/>
          <p14:tracePt t="12272" x="8235950" y="5192713"/>
          <p14:tracePt t="12273" x="8264525" y="5192713"/>
          <p14:tracePt t="12274" x="8283575" y="5195888"/>
          <p14:tracePt t="12275" x="8316913" y="5195888"/>
          <p14:tracePt t="12276" x="8335963" y="5200650"/>
          <p14:tracePt t="12277" x="8356600" y="5200650"/>
          <p14:tracePt t="12279" x="8401050" y="5208588"/>
          <p14:tracePt t="12280" x="8428038" y="5208588"/>
          <p14:tracePt t="12281" x="8456613" y="5208588"/>
          <p14:tracePt t="12282" x="8472488" y="5208588"/>
          <p14:tracePt t="12283" x="8493125" y="5213350"/>
          <p14:tracePt t="12284" x="8528050" y="5213350"/>
          <p14:tracePt t="12285" x="8548688" y="5213350"/>
          <p14:tracePt t="12286" x="8567738" y="5213350"/>
          <p14:tracePt t="12287" x="8593138" y="5213350"/>
          <p14:tracePt t="12288" x="8612188" y="5213350"/>
          <p14:tracePt t="12289" x="8632825" y="5216525"/>
          <p14:tracePt t="12290" x="8664575" y="5216525"/>
          <p14:tracePt t="12291" x="8685213" y="5216525"/>
          <p14:tracePt t="12293" x="8728075" y="5216525"/>
          <p14:tracePt t="12294" x="8756650" y="5216525"/>
          <p14:tracePt t="12295" x="8780463" y="5216525"/>
          <p14:tracePt t="12297" x="8820150" y="5216525"/>
          <p14:tracePt t="12298" x="8843963" y="5216525"/>
          <p14:tracePt t="12299" x="8872538" y="5216525"/>
          <p14:tracePt t="12300" x="8901113" y="5224463"/>
          <p14:tracePt t="12301" x="8920163" y="5224463"/>
          <p14:tracePt t="12302" x="8940800" y="5224463"/>
          <p14:tracePt t="12303" x="8964613" y="5224463"/>
          <p14:tracePt t="12304" x="9001125" y="5224463"/>
          <p14:tracePt t="12305" x="9017000" y="5224463"/>
          <p14:tracePt t="12306" x="9045575" y="5224463"/>
          <p14:tracePt t="12307" x="9064625" y="5224463"/>
          <p14:tracePt t="12308" x="9096375" y="5224463"/>
          <p14:tracePt t="12309" x="9120188" y="5224463"/>
          <p14:tracePt t="12311" x="9164638" y="5224463"/>
          <p14:tracePt t="12312" x="9185275" y="5224463"/>
          <p14:tracePt t="12313" x="9213850" y="5224463"/>
          <p14:tracePt t="12314" x="9248775" y="5229225"/>
          <p14:tracePt t="12315" x="9264650" y="5229225"/>
          <p14:tracePt t="12316" x="9293225" y="5229225"/>
          <p14:tracePt t="12317" x="9317038" y="5229225"/>
          <p14:tracePt t="12318" x="9353550" y="5229225"/>
          <p14:tracePt t="12319" x="9372600" y="5229225"/>
          <p14:tracePt t="12320" x="9398000" y="5229225"/>
          <p14:tracePt t="12321" x="9417050" y="5229225"/>
          <p14:tracePt t="12322" x="9440863" y="5229225"/>
          <p14:tracePt t="12323" x="9477375" y="5229225"/>
          <p14:tracePt t="12324" x="9498013" y="5229225"/>
          <p14:tracePt t="12325" x="9521825" y="5229225"/>
          <p14:tracePt t="12326" x="9540875" y="5229225"/>
          <p14:tracePt t="12328" x="9593263" y="5229225"/>
          <p14:tracePt t="12329" x="9621838" y="5229225"/>
          <p14:tracePt t="12330" x="9637713" y="5229225"/>
          <p14:tracePt t="12331" x="9666288" y="5221288"/>
          <p14:tracePt t="12332" x="9693275" y="5221288"/>
          <p14:tracePt t="12333" x="9717088" y="5221288"/>
          <p14:tracePt t="12334" x="9737725" y="5216525"/>
          <p14:tracePt t="12335" x="9758363" y="5216525"/>
          <p14:tracePt t="12336" x="9782175" y="5216525"/>
          <p14:tracePt t="12337" x="9801225" y="5213350"/>
          <p14:tracePt t="12338" x="9837738" y="5213350"/>
          <p14:tracePt t="12339" x="9858375" y="5208588"/>
          <p14:tracePt t="12340" x="9877425" y="5208588"/>
          <p14:tracePt t="12341" x="9893300" y="5208588"/>
          <p14:tracePt t="12342" x="9929813" y="5200650"/>
          <p14:tracePt t="12344" x="9966325" y="5195888"/>
          <p14:tracePt t="12345" x="9985375" y="5192713"/>
          <p14:tracePt t="12346" x="10006013" y="5192713"/>
          <p14:tracePt t="12347" x="10026650" y="5187950"/>
          <p14:tracePt t="12348" x="10053638" y="5187950"/>
          <p14:tracePt t="12349" x="10074275" y="5180013"/>
          <p14:tracePt t="12350" x="10090150" y="5176838"/>
          <p14:tracePt t="12351" x="10109200" y="5176838"/>
          <p14:tracePt t="12352" x="10137775" y="5172075"/>
          <p14:tracePt t="12353" x="10158413" y="5168900"/>
          <p14:tracePt t="12354" x="10169525" y="5168900"/>
          <p14:tracePt t="12355" x="10190163" y="5160963"/>
          <p14:tracePt t="12356" x="10210800" y="5160963"/>
          <p14:tracePt t="12357" x="10234613" y="5156200"/>
          <p14:tracePt t="12358" x="10250488" y="5153025"/>
          <p14:tracePt t="12359" x="10269538" y="5148263"/>
          <p14:tracePt t="12360" x="10282238" y="5148263"/>
          <p14:tracePt t="12361" x="10298113" y="5140325"/>
          <p14:tracePt t="12362" x="10318750" y="5137150"/>
          <p14:tracePt t="12363" x="10329863" y="5137150"/>
          <p14:tracePt t="12364" x="10345738" y="5132388"/>
          <p14:tracePt t="12365" x="10353675" y="5132388"/>
          <p14:tracePt t="12366" x="10374313" y="5129213"/>
          <p14:tracePt t="12367" x="10382250" y="5124450"/>
          <p14:tracePt t="12368" x="10394950" y="5119688"/>
          <p14:tracePt t="12369" x="10402888" y="5119688"/>
          <p14:tracePt t="12370" x="10418763" y="5111750"/>
          <p14:tracePt t="12371" x="10426700" y="5111750"/>
          <p14:tracePt t="12372" x="10437813" y="5108575"/>
          <p14:tracePt t="12373" x="10450513" y="5103813"/>
          <p14:tracePt t="12373" x="10458450" y="5100638"/>
          <p14:tracePt t="12375" x="10461625" y="5100638"/>
          <p14:tracePt t="12376" x="10474325" y="5095875"/>
          <p14:tracePt t="12377" x="10482263" y="5092700"/>
          <p14:tracePt t="12378" x="10487025" y="5092700"/>
          <p14:tracePt t="12379" x="10494963" y="5087938"/>
          <p14:tracePt t="12380" x="10498138" y="5087938"/>
          <p14:tracePt t="12381" x="10506075" y="5084763"/>
          <p14:tracePt t="12382" x="10510838" y="5080000"/>
          <p14:tracePt t="12383" x="10514013" y="5080000"/>
          <p14:tracePt t="12384" x="10518775" y="5076825"/>
          <p14:tracePt t="12386" x="10521950" y="5072063"/>
          <p14:tracePt t="12387" x="10526713" y="5072063"/>
          <p14:tracePt t="12388" x="10529888" y="5068888"/>
          <p14:tracePt t="12390" x="10534650" y="5064125"/>
          <p14:tracePt t="12391" x="10537825" y="5064125"/>
          <p14:tracePt t="12393" x="10542588" y="5060950"/>
          <p14:tracePt t="12395" x="10545763" y="5056188"/>
          <p14:tracePt t="12397" x="10550525" y="5056188"/>
          <p14:tracePt t="12403" x="10553700" y="5053013"/>
          <p14:tracePt t="12409" x="10553700" y="5048250"/>
          <p14:tracePt t="12410" x="10558463" y="5048250"/>
          <p14:tracePt t="12415" x="10561638" y="5048250"/>
          <p14:tracePt t="12419" x="10561638" y="5045075"/>
          <p14:tracePt t="12424" x="10566400" y="5040313"/>
          <p14:tracePt t="12426" x="10571163" y="5040313"/>
          <p14:tracePt t="12427" x="10571163" y="5037138"/>
          <p14:tracePt t="12428" x="10574338" y="5037138"/>
          <p14:tracePt t="12429" x="10579100" y="5037138"/>
          <p14:tracePt t="12430" x="10582275" y="5032375"/>
          <p14:tracePt t="12432" x="10587038" y="5032375"/>
          <p14:tracePt t="12433" x="10587038" y="5027613"/>
          <p14:tracePt t="12434" x="10590213" y="5027613"/>
          <p14:tracePt t="12435" x="10598150" y="5024438"/>
          <p14:tracePt t="12438" x="10602913" y="5024438"/>
          <p14:tracePt t="12439" x="10602913" y="5019675"/>
          <p14:tracePt t="12440" x="10606088" y="5019675"/>
          <p14:tracePt t="12441" x="10610850" y="5016500"/>
          <p14:tracePt t="12443" x="10618788" y="5016500"/>
          <p14:tracePt t="12444" x="10626725" y="5016500"/>
          <p14:tracePt t="12445" x="10629900" y="5011738"/>
          <p14:tracePt t="12446" x="10634663" y="5011738"/>
          <p14:tracePt t="12447" x="10637838" y="5011738"/>
          <p14:tracePt t="12448" x="10642600" y="5008563"/>
          <p14:tracePt t="12449" x="10645775" y="5008563"/>
          <p14:tracePt t="12450" x="10653713" y="5003800"/>
          <p14:tracePt t="12452" x="10663238" y="5000625"/>
          <p14:tracePt t="12453" x="10666413" y="5000625"/>
          <p14:tracePt t="12454" x="10674350" y="4995863"/>
          <p14:tracePt t="12455" x="10679113" y="4995863"/>
          <p14:tracePt t="12456" x="10687050" y="4992688"/>
          <p14:tracePt t="12457" x="10690225" y="4992688"/>
          <p14:tracePt t="12458" x="10702925" y="4992688"/>
          <p14:tracePt t="12459" x="10706100" y="4987925"/>
          <p14:tracePt t="12460" x="10714038" y="4987925"/>
          <p14:tracePt t="12461" x="10721975" y="4984750"/>
          <p14:tracePt t="12462" x="10729913" y="4979988"/>
          <p14:tracePt t="12463" x="10742613" y="4979988"/>
          <p14:tracePt t="12464" x="10750550" y="4976813"/>
          <p14:tracePt t="12465" x="10758488" y="4976813"/>
          <p14:tracePt t="12466" x="10766425" y="4968875"/>
          <p14:tracePt t="12467" x="10774363" y="4968875"/>
          <p14:tracePt t="12468" x="10782300" y="4964113"/>
          <p14:tracePt t="12469" x="10790238" y="4960938"/>
          <p14:tracePt t="12470" x="10798175" y="4960938"/>
          <p14:tracePt t="12471" x="10810875" y="4956175"/>
          <p14:tracePt t="12472" x="10821988" y="4956175"/>
          <p14:tracePt t="12473" x="10829925" y="4953000"/>
          <p14:tracePt t="12474" x="10839450" y="4948238"/>
          <p14:tracePt t="12475" x="10847388" y="4948238"/>
          <p14:tracePt t="12476" x="10858500" y="4945063"/>
          <p14:tracePt t="12477" x="10866438" y="4945063"/>
          <p14:tracePt t="12479" x="10895013" y="4940300"/>
          <p14:tracePt t="12480" x="10902950" y="4935538"/>
          <p14:tracePt t="12481" x="10910888" y="4932363"/>
          <p14:tracePt t="12482" x="10922000" y="4932363"/>
          <p14:tracePt t="12483" x="10934700" y="4924425"/>
          <p14:tracePt t="12484" x="10947400" y="4924425"/>
          <p14:tracePt t="12485" x="10955338" y="4919663"/>
          <p14:tracePt t="12486" x="10963275" y="4919663"/>
          <p14:tracePt t="12487" x="10979150" y="4916488"/>
          <p14:tracePt t="12488" x="10990263" y="4916488"/>
          <p14:tracePt t="12489" x="10998200" y="4911725"/>
          <p14:tracePt t="12490" x="11014075" y="4911725"/>
          <p14:tracePt t="12491" x="11023600" y="4908550"/>
          <p14:tracePt t="12493" x="11050588" y="4903788"/>
          <p14:tracePt t="12494" x="11058525" y="4900613"/>
          <p14:tracePt t="12496" x="11082338" y="4895850"/>
          <p14:tracePt t="12497" x="11095038" y="4887913"/>
          <p14:tracePt t="12498" x="11102975" y="4887913"/>
          <p14:tracePt t="12499" x="11118850" y="4884738"/>
          <p14:tracePt t="12500" x="11126788" y="4884738"/>
          <p14:tracePt t="12501" x="11139488" y="4884738"/>
          <p14:tracePt t="12502" x="11155363" y="4879975"/>
          <p14:tracePt t="12503" x="11163300" y="4876800"/>
          <p14:tracePt t="12504" x="11171238" y="4876800"/>
          <p14:tracePt t="12505" x="11182350" y="4876800"/>
          <p14:tracePt t="12506" x="11195050" y="4872038"/>
          <p14:tracePt t="12507" x="11207750" y="4872038"/>
          <p14:tracePt t="12508" x="11215688" y="4868863"/>
          <p14:tracePt t="12510" x="11239500" y="4864100"/>
          <p14:tracePt t="12511" x="11247438" y="4864100"/>
          <p14:tracePt t="12512" x="11266488" y="4856163"/>
          <p14:tracePt t="12513" x="11274425" y="4852988"/>
          <p14:tracePt t="12514" x="11287125" y="4852988"/>
          <p14:tracePt t="12515" x="11295063" y="4848225"/>
          <p14:tracePt t="12516" x="11315700" y="4848225"/>
          <p14:tracePt t="12517" x="11331575" y="4843463"/>
          <p14:tracePt t="12518" x="11339513" y="4843463"/>
          <p14:tracePt t="12519" x="11350625" y="4840288"/>
          <p14:tracePt t="12520" x="11358563" y="4840288"/>
          <p14:tracePt t="12521" x="11379200" y="4835525"/>
          <p14:tracePt t="12522" x="11395075" y="4835525"/>
          <p14:tracePt t="12523" x="11407775" y="4832350"/>
          <p14:tracePt t="12524" x="11423650" y="4832350"/>
          <p14:tracePt t="12525" x="11434763" y="4824413"/>
          <p14:tracePt t="12526" x="11455400" y="4824413"/>
          <p14:tracePt t="12527" x="11466513" y="4819650"/>
          <p14:tracePt t="12529" x="11491913" y="4819650"/>
          <p14:tracePt t="12531" x="11523663" y="4816475"/>
          <p14:tracePt t="12532" x="11539538" y="4816475"/>
          <p14:tracePt t="12533" x="11550650" y="4816475"/>
          <p14:tracePt t="12534" x="11568113" y="4816475"/>
          <p14:tracePt t="12535" x="11579225" y="4816475"/>
          <p14:tracePt t="12536" x="11599863" y="4811713"/>
          <p14:tracePt t="12537" x="11607800" y="4811713"/>
          <p14:tracePt t="12538" x="11618913" y="4808538"/>
          <p14:tracePt t="12539" x="11634788" y="4808538"/>
          <p14:tracePt t="12540" x="11655425" y="4808538"/>
          <p14:tracePt t="12541" x="11668125" y="4800600"/>
          <p14:tracePt t="12543" x="11699875" y="4800600"/>
          <p14:tracePt t="12544" x="11715750" y="4800600"/>
          <p14:tracePt t="12545" x="11734800" y="4795838"/>
          <p14:tracePt t="12546" x="11747500" y="4795838"/>
          <p14:tracePt t="12547" x="11760200" y="4795838"/>
          <p14:tracePt t="12548" x="11771313" y="4792663"/>
          <p14:tracePt t="12549" x="11784013" y="4792663"/>
          <p14:tracePt t="12550" x="11803063" y="4792663"/>
          <p14:tracePt t="12551" x="11815763" y="4787900"/>
          <p14:tracePt t="12552" x="11831638" y="4787900"/>
          <p14:tracePt t="12553" x="11844338" y="4787900"/>
          <p14:tracePt t="12554" x="11860213" y="4784725"/>
          <p14:tracePt t="12555" x="11879263" y="4784725"/>
          <p14:tracePt t="12556" x="11887200" y="4784725"/>
          <p14:tracePt t="12557" x="11899900" y="4779963"/>
          <p14:tracePt t="12558" x="11911013" y="4779963"/>
          <p14:tracePt t="12559" x="11928475" y="4779963"/>
          <p14:tracePt t="12561" x="11955463" y="4772025"/>
          <p14:tracePt t="12562" x="11968163" y="4772025"/>
          <p14:tracePt t="12562" x="11984038" y="4772025"/>
          <p14:tracePt t="12564" x="12003088" y="4768850"/>
          <p14:tracePt t="12565" x="12015788" y="4768850"/>
          <p14:tracePt t="12566" x="12028488" y="4768850"/>
          <p14:tracePt t="12567" x="12044363" y="4764088"/>
          <p14:tracePt t="12568" x="12055475" y="4764088"/>
          <p14:tracePt t="12569" x="12071350" y="4764088"/>
          <p14:tracePt t="12570" x="12091988" y="4764088"/>
          <p14:tracePt t="12571" x="12104688" y="4760913"/>
          <p14:tracePt t="12572" x="12120563" y="4760913"/>
          <p14:tracePt t="12573" x="12131675" y="4760913"/>
          <p14:tracePt t="12574" x="12152313" y="4756150"/>
          <p14:tracePt t="12575" x="12163425" y="4756150"/>
          <p14:tracePt t="12576" x="12171363" y="4751388"/>
          <p14:tracePt t="12577" x="12187238" y="4751388"/>
        </p14:tracePtLst>
      </p14:laserTraceLst>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767678" y="1420170"/>
            <a:ext cx="5357812" cy="920750"/>
          </a:xfrm>
        </p:spPr>
        <p:txBody>
          <a:bodyPr anchor="ctr">
            <a:noAutofit/>
          </a:bodyPr>
          <a:lstStyle/>
          <a:p>
            <a:r>
              <a:rPr lang="en-US" sz="6600" dirty="0"/>
              <a:t>Thank You !</a:t>
            </a:r>
          </a:p>
        </p:txBody>
      </p:sp>
      <p:sp>
        <p:nvSpPr>
          <p:cNvPr id="5" name="Content Placeholder 4"/>
          <p:cNvSpPr>
            <a:spLocks noGrp="1"/>
          </p:cNvSpPr>
          <p:nvPr>
            <p:ph sz="quarter" idx="4294967295"/>
          </p:nvPr>
        </p:nvSpPr>
        <p:spPr>
          <a:xfrm>
            <a:off x="816145" y="4396275"/>
            <a:ext cx="6309107" cy="1500944"/>
          </a:xfrm>
        </p:spPr>
        <p:txBody>
          <a:bodyPr>
            <a:normAutofit/>
          </a:bodyPr>
          <a:lstStyle/>
          <a:p>
            <a:pPr marL="0" indent="0">
              <a:spcBef>
                <a:spcPts val="0"/>
              </a:spcBef>
              <a:buNone/>
            </a:pPr>
            <a:r>
              <a:rPr lang="en-GB" sz="2400" b="1" dirty="0"/>
              <a:t>Passive Components News</a:t>
            </a:r>
          </a:p>
          <a:p>
            <a:pPr marL="0" indent="0">
              <a:spcBef>
                <a:spcPts val="0"/>
              </a:spcBef>
              <a:buNone/>
            </a:pPr>
            <a:r>
              <a:rPr lang="en-GB" sz="1800" dirty="0"/>
              <a:t>Educational and Information Blog on Passive Components</a:t>
            </a:r>
          </a:p>
          <a:p>
            <a:pPr marL="0" indent="0">
              <a:spcBef>
                <a:spcPts val="0"/>
              </a:spcBef>
              <a:buNone/>
            </a:pPr>
            <a:endParaRPr lang="en-GB" sz="2400" b="1" dirty="0"/>
          </a:p>
          <a:p>
            <a:pPr marL="0" indent="0">
              <a:spcBef>
                <a:spcPts val="0"/>
              </a:spcBef>
              <a:buNone/>
            </a:pPr>
            <a:r>
              <a:rPr lang="en-GB" sz="2400" b="1" dirty="0">
                <a:solidFill>
                  <a:srgbClr val="0070C0"/>
                </a:solidFill>
              </a:rPr>
              <a:t>www.passive-components.eu</a:t>
            </a:r>
            <a:endParaRPr lang="en-GB" sz="2400" dirty="0">
              <a:solidFill>
                <a:srgbClr val="0070C0"/>
              </a:solidFill>
            </a:endParaRPr>
          </a:p>
        </p:txBody>
      </p:sp>
      <p:cxnSp>
        <p:nvCxnSpPr>
          <p:cNvPr id="10" name="Straight Connector 9"/>
          <p:cNvCxnSpPr/>
          <p:nvPr/>
        </p:nvCxnSpPr>
        <p:spPr>
          <a:xfrm>
            <a:off x="908910" y="4021425"/>
            <a:ext cx="4137893"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6" name="Straight Connector 9">
            <a:extLst>
              <a:ext uri="{FF2B5EF4-FFF2-40B4-BE49-F238E27FC236}">
                <a16:creationId xmlns:a16="http://schemas.microsoft.com/office/drawing/2014/main" id="{0CE30A0A-85D8-458A-A262-2AAF533E3E58}"/>
              </a:ext>
            </a:extLst>
          </p:cNvPr>
          <p:cNvCxnSpPr/>
          <p:nvPr/>
        </p:nvCxnSpPr>
        <p:spPr>
          <a:xfrm>
            <a:off x="7446994" y="1354737"/>
            <a:ext cx="4137893"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03FC2EE0-9E47-4768-9E20-A915B67A1B15}"/>
              </a:ext>
            </a:extLst>
          </p:cNvPr>
          <p:cNvSpPr txBox="1">
            <a:spLocks/>
          </p:cNvSpPr>
          <p:nvPr/>
        </p:nvSpPr>
        <p:spPr>
          <a:xfrm>
            <a:off x="7352548" y="1725667"/>
            <a:ext cx="4298887" cy="14565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GB" sz="2400" b="1" dirty="0"/>
              <a:t>EPCI Academy</a:t>
            </a:r>
          </a:p>
          <a:p>
            <a:pPr marL="0" indent="0">
              <a:lnSpc>
                <a:spcPct val="100000"/>
              </a:lnSpc>
              <a:spcBef>
                <a:spcPts val="0"/>
              </a:spcBef>
              <a:buFont typeface="Arial" panose="020B0604020202020204" pitchFamily="34" charset="0"/>
              <a:buNone/>
            </a:pPr>
            <a:r>
              <a:rPr lang="en-GB" sz="1800" dirty="0"/>
              <a:t>Passive Components e-learning Courses</a:t>
            </a:r>
            <a:endParaRPr lang="cs-CZ" sz="1800" dirty="0"/>
          </a:p>
          <a:p>
            <a:pPr marL="0" indent="0">
              <a:lnSpc>
                <a:spcPct val="100000"/>
              </a:lnSpc>
              <a:spcBef>
                <a:spcPts val="0"/>
              </a:spcBef>
              <a:buFont typeface="Arial" panose="020B0604020202020204" pitchFamily="34" charset="0"/>
              <a:buNone/>
            </a:pPr>
            <a:endParaRPr lang="en-GB" sz="2400" dirty="0"/>
          </a:p>
          <a:p>
            <a:pPr marL="0" indent="0">
              <a:lnSpc>
                <a:spcPct val="100000"/>
              </a:lnSpc>
              <a:spcBef>
                <a:spcPts val="0"/>
              </a:spcBef>
              <a:buFont typeface="Arial" panose="020B0604020202020204" pitchFamily="34" charset="0"/>
              <a:buNone/>
            </a:pPr>
            <a:r>
              <a:rPr lang="en-GB" sz="2400" b="1" dirty="0">
                <a:solidFill>
                  <a:schemeClr val="accent2"/>
                </a:solidFill>
              </a:rPr>
              <a:t>www.epci-academy.com</a:t>
            </a:r>
          </a:p>
        </p:txBody>
      </p:sp>
      <p:grpSp>
        <p:nvGrpSpPr>
          <p:cNvPr id="8" name="Gruppieren 7">
            <a:extLst>
              <a:ext uri="{FF2B5EF4-FFF2-40B4-BE49-F238E27FC236}">
                <a16:creationId xmlns:a16="http://schemas.microsoft.com/office/drawing/2014/main" id="{35149C65-93A7-4A53-A404-68855452CE86}"/>
              </a:ext>
            </a:extLst>
          </p:cNvPr>
          <p:cNvGrpSpPr/>
          <p:nvPr/>
        </p:nvGrpSpPr>
        <p:grpSpPr>
          <a:xfrm flipV="1">
            <a:off x="5286720" y="658146"/>
            <a:ext cx="5076181" cy="248403"/>
            <a:chOff x="-15876" y="2994005"/>
            <a:chExt cx="12891701" cy="766736"/>
          </a:xfrm>
          <a:solidFill>
            <a:schemeClr val="accent1"/>
          </a:solidFill>
        </p:grpSpPr>
        <p:sp>
          <p:nvSpPr>
            <p:cNvPr id="9" name="Freeform 7">
              <a:extLst>
                <a:ext uri="{FF2B5EF4-FFF2-40B4-BE49-F238E27FC236}">
                  <a16:creationId xmlns:a16="http://schemas.microsoft.com/office/drawing/2014/main" id="{4A0CF412-DDE7-4B0D-A04B-8CFB1F445111}"/>
                </a:ext>
              </a:extLst>
            </p:cNvPr>
            <p:cNvSpPr>
              <a:spLocks/>
            </p:cNvSpPr>
            <p:nvPr/>
          </p:nvSpPr>
          <p:spPr bwMode="auto">
            <a:xfrm>
              <a:off x="-15876" y="3140102"/>
              <a:ext cx="9767637" cy="474541"/>
            </a:xfrm>
            <a:custGeom>
              <a:avLst/>
              <a:gdLst>
                <a:gd name="T0" fmla="*/ 0 w 2212"/>
                <a:gd name="T1" fmla="*/ 46 h 207"/>
                <a:gd name="T2" fmla="*/ 0 w 2212"/>
                <a:gd name="T3" fmla="*/ 58 h 207"/>
                <a:gd name="T4" fmla="*/ 281 w 2212"/>
                <a:gd name="T5" fmla="*/ 32 h 207"/>
                <a:gd name="T6" fmla="*/ 738 w 2212"/>
                <a:gd name="T7" fmla="*/ 110 h 207"/>
                <a:gd name="T8" fmla="*/ 1095 w 2212"/>
                <a:gd name="T9" fmla="*/ 179 h 207"/>
                <a:gd name="T10" fmla="*/ 1460 w 2212"/>
                <a:gd name="T11" fmla="*/ 202 h 207"/>
                <a:gd name="T12" fmla="*/ 1924 w 2212"/>
                <a:gd name="T13" fmla="*/ 137 h 207"/>
                <a:gd name="T14" fmla="*/ 2212 w 2212"/>
                <a:gd name="T15" fmla="*/ 30 h 207"/>
                <a:gd name="T16" fmla="*/ 1916 w 2212"/>
                <a:gd name="T17" fmla="*/ 107 h 207"/>
                <a:gd name="T18" fmla="*/ 1459 w 2212"/>
                <a:gd name="T19" fmla="*/ 171 h 207"/>
                <a:gd name="T20" fmla="*/ 1100 w 2212"/>
                <a:gd name="T21" fmla="*/ 148 h 207"/>
                <a:gd name="T22" fmla="*/ 744 w 2212"/>
                <a:gd name="T23" fmla="*/ 80 h 207"/>
                <a:gd name="T24" fmla="*/ 282 w 2212"/>
                <a:gd name="T25" fmla="*/ 1 h 207"/>
                <a:gd name="T26" fmla="*/ 0 w 2212"/>
                <a:gd name="T27" fmla="*/ 46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2" h="207">
                  <a:moveTo>
                    <a:pt x="0" y="46"/>
                  </a:moveTo>
                  <a:cubicBezTo>
                    <a:pt x="0" y="58"/>
                    <a:pt x="0" y="58"/>
                    <a:pt x="0" y="58"/>
                  </a:cubicBezTo>
                  <a:cubicBezTo>
                    <a:pt x="105" y="39"/>
                    <a:pt x="156" y="30"/>
                    <a:pt x="281" y="32"/>
                  </a:cubicBezTo>
                  <a:cubicBezTo>
                    <a:pt x="416" y="40"/>
                    <a:pt x="551" y="73"/>
                    <a:pt x="738" y="110"/>
                  </a:cubicBezTo>
                  <a:cubicBezTo>
                    <a:pt x="924" y="149"/>
                    <a:pt x="1095" y="179"/>
                    <a:pt x="1095" y="179"/>
                  </a:cubicBezTo>
                  <a:cubicBezTo>
                    <a:pt x="1095" y="179"/>
                    <a:pt x="1268" y="207"/>
                    <a:pt x="1460" y="202"/>
                  </a:cubicBezTo>
                  <a:cubicBezTo>
                    <a:pt x="1652" y="202"/>
                    <a:pt x="1858" y="156"/>
                    <a:pt x="1924" y="137"/>
                  </a:cubicBezTo>
                  <a:cubicBezTo>
                    <a:pt x="2048" y="104"/>
                    <a:pt x="2115" y="76"/>
                    <a:pt x="2212" y="30"/>
                  </a:cubicBezTo>
                  <a:cubicBezTo>
                    <a:pt x="2108" y="57"/>
                    <a:pt x="2039" y="75"/>
                    <a:pt x="1916" y="107"/>
                  </a:cubicBezTo>
                  <a:cubicBezTo>
                    <a:pt x="1850" y="126"/>
                    <a:pt x="1648" y="171"/>
                    <a:pt x="1459" y="171"/>
                  </a:cubicBezTo>
                  <a:cubicBezTo>
                    <a:pt x="1270" y="176"/>
                    <a:pt x="1099" y="148"/>
                    <a:pt x="1100" y="148"/>
                  </a:cubicBezTo>
                  <a:cubicBezTo>
                    <a:pt x="1100" y="148"/>
                    <a:pt x="930" y="118"/>
                    <a:pt x="744" y="80"/>
                  </a:cubicBezTo>
                  <a:cubicBezTo>
                    <a:pt x="558" y="43"/>
                    <a:pt x="388" y="6"/>
                    <a:pt x="282" y="1"/>
                  </a:cubicBezTo>
                  <a:cubicBezTo>
                    <a:pt x="189" y="0"/>
                    <a:pt x="75" y="9"/>
                    <a:pt x="0"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78" tIns="34290" rIns="68578" bIns="34290"/>
            <a:lstStyle/>
            <a:p>
              <a:pPr>
                <a:defRPr/>
              </a:pPr>
              <a:endParaRPr lang="en-US" sz="1351" dirty="0">
                <a:solidFill>
                  <a:prstClr val="black"/>
                </a:solidFill>
              </a:endParaRPr>
            </a:p>
          </p:txBody>
        </p:sp>
        <p:sp>
          <p:nvSpPr>
            <p:cNvPr id="11" name="Freeform 8">
              <a:extLst>
                <a:ext uri="{FF2B5EF4-FFF2-40B4-BE49-F238E27FC236}">
                  <a16:creationId xmlns:a16="http://schemas.microsoft.com/office/drawing/2014/main" id="{2F29B8A7-6C73-4BCB-967F-D3FB70FC075B}"/>
                </a:ext>
              </a:extLst>
            </p:cNvPr>
            <p:cNvSpPr>
              <a:spLocks/>
            </p:cNvSpPr>
            <p:nvPr/>
          </p:nvSpPr>
          <p:spPr bwMode="auto">
            <a:xfrm>
              <a:off x="-15875" y="2994005"/>
              <a:ext cx="12891700" cy="766736"/>
            </a:xfrm>
            <a:custGeom>
              <a:avLst/>
              <a:gdLst>
                <a:gd name="T0" fmla="*/ 0 w 3260"/>
                <a:gd name="T1" fmla="*/ 181 h 257"/>
                <a:gd name="T2" fmla="*/ 0 w 3260"/>
                <a:gd name="T3" fmla="*/ 195 h 257"/>
                <a:gd name="T4" fmla="*/ 441 w 3260"/>
                <a:gd name="T5" fmla="*/ 134 h 257"/>
                <a:gd name="T6" fmla="*/ 1106 w 3260"/>
                <a:gd name="T7" fmla="*/ 44 h 257"/>
                <a:gd name="T8" fmla="*/ 1629 w 3260"/>
                <a:gd name="T9" fmla="*/ 64 h 257"/>
                <a:gd name="T10" fmla="*/ 2148 w 3260"/>
                <a:gd name="T11" fmla="*/ 136 h 257"/>
                <a:gd name="T12" fmla="*/ 2816 w 3260"/>
                <a:gd name="T13" fmla="*/ 240 h 257"/>
                <a:gd name="T14" fmla="*/ 3260 w 3260"/>
                <a:gd name="T15" fmla="*/ 221 h 257"/>
                <a:gd name="T16" fmla="*/ 2819 w 3260"/>
                <a:gd name="T17" fmla="*/ 209 h 257"/>
                <a:gd name="T18" fmla="*/ 2153 w 3260"/>
                <a:gd name="T19" fmla="*/ 105 h 257"/>
                <a:gd name="T20" fmla="*/ 1632 w 3260"/>
                <a:gd name="T21" fmla="*/ 33 h 257"/>
                <a:gd name="T22" fmla="*/ 1105 w 3260"/>
                <a:gd name="T23" fmla="*/ 12 h 257"/>
                <a:gd name="T24" fmla="*/ 434 w 3260"/>
                <a:gd name="T25" fmla="*/ 104 h 257"/>
                <a:gd name="T26" fmla="*/ 0 w 3260"/>
                <a:gd name="T27" fmla="*/ 181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60" h="257">
                  <a:moveTo>
                    <a:pt x="0" y="181"/>
                  </a:moveTo>
                  <a:cubicBezTo>
                    <a:pt x="0" y="195"/>
                    <a:pt x="0" y="195"/>
                    <a:pt x="0" y="195"/>
                  </a:cubicBezTo>
                  <a:cubicBezTo>
                    <a:pt x="114" y="194"/>
                    <a:pt x="295" y="166"/>
                    <a:pt x="441" y="134"/>
                  </a:cubicBezTo>
                  <a:cubicBezTo>
                    <a:pt x="538" y="110"/>
                    <a:pt x="832" y="51"/>
                    <a:pt x="1106" y="44"/>
                  </a:cubicBezTo>
                  <a:cubicBezTo>
                    <a:pt x="1380" y="32"/>
                    <a:pt x="1629" y="65"/>
                    <a:pt x="1629" y="64"/>
                  </a:cubicBezTo>
                  <a:cubicBezTo>
                    <a:pt x="1629" y="63"/>
                    <a:pt x="1877" y="91"/>
                    <a:pt x="2148" y="136"/>
                  </a:cubicBezTo>
                  <a:cubicBezTo>
                    <a:pt x="2420" y="177"/>
                    <a:pt x="2715" y="233"/>
                    <a:pt x="2816" y="240"/>
                  </a:cubicBezTo>
                  <a:cubicBezTo>
                    <a:pt x="3001" y="257"/>
                    <a:pt x="3108" y="250"/>
                    <a:pt x="3260" y="221"/>
                  </a:cubicBezTo>
                  <a:cubicBezTo>
                    <a:pt x="3106" y="230"/>
                    <a:pt x="3002" y="226"/>
                    <a:pt x="2819" y="209"/>
                  </a:cubicBezTo>
                  <a:cubicBezTo>
                    <a:pt x="2720" y="202"/>
                    <a:pt x="2426" y="147"/>
                    <a:pt x="2153" y="105"/>
                  </a:cubicBezTo>
                  <a:cubicBezTo>
                    <a:pt x="1882" y="60"/>
                    <a:pt x="1632" y="32"/>
                    <a:pt x="1632" y="33"/>
                  </a:cubicBezTo>
                  <a:cubicBezTo>
                    <a:pt x="1632" y="34"/>
                    <a:pt x="1382" y="0"/>
                    <a:pt x="1105" y="12"/>
                  </a:cubicBezTo>
                  <a:cubicBezTo>
                    <a:pt x="828" y="19"/>
                    <a:pt x="531" y="79"/>
                    <a:pt x="434" y="104"/>
                  </a:cubicBezTo>
                  <a:cubicBezTo>
                    <a:pt x="255" y="143"/>
                    <a:pt x="154" y="169"/>
                    <a:pt x="0" y="181"/>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78" tIns="34290" rIns="68578" bIns="34290"/>
            <a:lstStyle/>
            <a:p>
              <a:pPr>
                <a:defRPr/>
              </a:pPr>
              <a:endParaRPr lang="en-US" sz="1351" dirty="0">
                <a:solidFill>
                  <a:prstClr val="black"/>
                </a:solidFill>
              </a:endParaRPr>
            </a:p>
          </p:txBody>
        </p:sp>
      </p:grpSp>
      <p:sp>
        <p:nvSpPr>
          <p:cNvPr id="12" name="Titel 1">
            <a:extLst>
              <a:ext uri="{FF2B5EF4-FFF2-40B4-BE49-F238E27FC236}">
                <a16:creationId xmlns:a16="http://schemas.microsoft.com/office/drawing/2014/main" id="{06A350ED-2448-4060-9DD9-1B6AB3D8BE75}"/>
              </a:ext>
            </a:extLst>
          </p:cNvPr>
          <p:cNvSpPr txBox="1">
            <a:spLocks/>
          </p:cNvSpPr>
          <p:nvPr/>
        </p:nvSpPr>
        <p:spPr>
          <a:xfrm>
            <a:off x="5537318" y="106631"/>
            <a:ext cx="6452991" cy="46232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cs-CZ" altLang="en-US" sz="2400" dirty="0"/>
              <a:t>EPCI </a:t>
            </a:r>
            <a:r>
              <a:rPr lang="en-GB" altLang="en-US" sz="2400" dirty="0"/>
              <a:t>European Passive Components </a:t>
            </a:r>
            <a:r>
              <a:rPr lang="cs-CZ" altLang="en-US" sz="2400" dirty="0"/>
              <a:t>Institut</a:t>
            </a:r>
            <a:r>
              <a:rPr lang="en-GB" altLang="en-US" sz="2400" dirty="0"/>
              <a:t>e</a:t>
            </a:r>
          </a:p>
        </p:txBody>
      </p:sp>
      <p:pic>
        <p:nvPicPr>
          <p:cNvPr id="13" name="Obrázek 12">
            <a:extLst>
              <a:ext uri="{FF2B5EF4-FFF2-40B4-BE49-F238E27FC236}">
                <a16:creationId xmlns:a16="http://schemas.microsoft.com/office/drawing/2014/main" id="{C897A48B-0BEC-41C0-9C9D-C1DEA50F09EF}"/>
              </a:ext>
            </a:extLst>
          </p:cNvPr>
          <p:cNvPicPr>
            <a:picLocks noChangeAspect="1"/>
          </p:cNvPicPr>
          <p:nvPr/>
        </p:nvPicPr>
        <p:blipFill>
          <a:blip r:embed="rId4"/>
          <a:stretch>
            <a:fillRect/>
          </a:stretch>
        </p:blipFill>
        <p:spPr>
          <a:xfrm>
            <a:off x="11153167" y="65287"/>
            <a:ext cx="837142" cy="837142"/>
          </a:xfrm>
          <a:prstGeom prst="rect">
            <a:avLst/>
          </a:prstGeom>
        </p:spPr>
      </p:pic>
      <p:pic>
        <p:nvPicPr>
          <p:cNvPr id="14" name="Picture 15">
            <a:extLst>
              <a:ext uri="{FF2B5EF4-FFF2-40B4-BE49-F238E27FC236}">
                <a16:creationId xmlns:a16="http://schemas.microsoft.com/office/drawing/2014/main" id="{FA27F81C-8666-4B1F-873E-A30B82A7BD05}"/>
              </a:ext>
            </a:extLst>
          </p:cNvPr>
          <p:cNvPicPr>
            <a:picLocks noChangeAspect="1"/>
          </p:cNvPicPr>
          <p:nvPr/>
        </p:nvPicPr>
        <p:blipFill>
          <a:blip r:embed="rId5" cstate="hqprint">
            <a:extLst>
              <a:ext uri="{28A0092B-C50C-407E-A947-70E740481C1C}">
                <a14:useLocalDpi xmlns:a14="http://schemas.microsoft.com/office/drawing/2010/main" val="0"/>
              </a:ext>
            </a:extLst>
          </a:blip>
          <a:srcRect b="51009"/>
          <a:stretch>
            <a:fillRect/>
          </a:stretch>
        </p:blipFill>
        <p:spPr bwMode="auto">
          <a:xfrm>
            <a:off x="2910763" y="213773"/>
            <a:ext cx="640386" cy="298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ovéPole 14">
            <a:extLst>
              <a:ext uri="{FF2B5EF4-FFF2-40B4-BE49-F238E27FC236}">
                <a16:creationId xmlns:a16="http://schemas.microsoft.com/office/drawing/2014/main" id="{15AA3B29-8E9F-46DD-9AE5-DC22005C78DC}"/>
              </a:ext>
            </a:extLst>
          </p:cNvPr>
          <p:cNvSpPr txBox="1"/>
          <p:nvPr/>
        </p:nvSpPr>
        <p:spPr>
          <a:xfrm>
            <a:off x="2811635" y="531972"/>
            <a:ext cx="1269899" cy="253916"/>
          </a:xfrm>
          <a:prstGeom prst="rect">
            <a:avLst/>
          </a:prstGeom>
          <a:noFill/>
        </p:spPr>
        <p:txBody>
          <a:bodyPr wrap="none" rtlCol="0">
            <a:spAutoFit/>
          </a:bodyPr>
          <a:lstStyle/>
          <a:p>
            <a:r>
              <a:rPr lang="en-GB" sz="1050" dirty="0"/>
              <a:t>EPCI Gold Members</a:t>
            </a:r>
          </a:p>
        </p:txBody>
      </p:sp>
      <p:pic>
        <p:nvPicPr>
          <p:cNvPr id="16" name="Obrázek 15">
            <a:extLst>
              <a:ext uri="{FF2B5EF4-FFF2-40B4-BE49-F238E27FC236}">
                <a16:creationId xmlns:a16="http://schemas.microsoft.com/office/drawing/2014/main" id="{3A838265-F0D4-4845-81B2-BBCD6FA4D74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95324" y="241566"/>
            <a:ext cx="607025" cy="273305"/>
          </a:xfrm>
          <a:prstGeom prst="rect">
            <a:avLst/>
          </a:prstGeom>
        </p:spPr>
      </p:pic>
      <p:cxnSp>
        <p:nvCxnSpPr>
          <p:cNvPr id="17" name="Přímá spojnice 16">
            <a:extLst>
              <a:ext uri="{FF2B5EF4-FFF2-40B4-BE49-F238E27FC236}">
                <a16:creationId xmlns:a16="http://schemas.microsoft.com/office/drawing/2014/main" id="{27D077BF-47A1-49E9-986D-D84A3415D1A6}"/>
              </a:ext>
            </a:extLst>
          </p:cNvPr>
          <p:cNvCxnSpPr/>
          <p:nvPr/>
        </p:nvCxnSpPr>
        <p:spPr>
          <a:xfrm>
            <a:off x="2901035" y="568958"/>
            <a:ext cx="219158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8" name="Obrázek 17">
            <a:extLst>
              <a:ext uri="{FF2B5EF4-FFF2-40B4-BE49-F238E27FC236}">
                <a16:creationId xmlns:a16="http://schemas.microsoft.com/office/drawing/2014/main" id="{BD7309ED-28DC-4BF4-BF7C-7A1AC474E8B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29240" y="232980"/>
            <a:ext cx="725054" cy="307947"/>
          </a:xfrm>
          <a:prstGeom prst="rect">
            <a:avLst/>
          </a:prstGeom>
        </p:spPr>
      </p:pic>
      <p:sp>
        <p:nvSpPr>
          <p:cNvPr id="19" name="Zástupný symbol pro číslo snímku 18">
            <a:extLst>
              <a:ext uri="{FF2B5EF4-FFF2-40B4-BE49-F238E27FC236}">
                <a16:creationId xmlns:a16="http://schemas.microsoft.com/office/drawing/2014/main" id="{428299A4-5109-4863-A547-3CB558167D8A}"/>
              </a:ext>
            </a:extLst>
          </p:cNvPr>
          <p:cNvSpPr>
            <a:spLocks noGrp="1"/>
          </p:cNvSpPr>
          <p:nvPr>
            <p:ph type="sldNum" sz="quarter" idx="12"/>
          </p:nvPr>
        </p:nvSpPr>
        <p:spPr/>
        <p:txBody>
          <a:bodyPr/>
          <a:lstStyle/>
          <a:p>
            <a:fld id="{87170177-53BE-4EA4-8CC9-5D64EAB74717}" type="slidenum">
              <a:rPr lang="cs-CZ" sz="900" smtClean="0"/>
              <a:t>24</a:t>
            </a:fld>
            <a:endParaRPr lang="cs-CZ" sz="900" dirty="0"/>
          </a:p>
        </p:txBody>
      </p:sp>
      <p:cxnSp>
        <p:nvCxnSpPr>
          <p:cNvPr id="20" name="Straight Connector 9">
            <a:extLst>
              <a:ext uri="{FF2B5EF4-FFF2-40B4-BE49-F238E27FC236}">
                <a16:creationId xmlns:a16="http://schemas.microsoft.com/office/drawing/2014/main" id="{540FDEAD-93E9-4D75-B59F-DD9356272470}"/>
              </a:ext>
            </a:extLst>
          </p:cNvPr>
          <p:cNvCxnSpPr/>
          <p:nvPr/>
        </p:nvCxnSpPr>
        <p:spPr>
          <a:xfrm>
            <a:off x="6813273" y="4010887"/>
            <a:ext cx="4137893" cy="0"/>
          </a:xfrm>
          <a:prstGeom prst="line">
            <a:avLst/>
          </a:prstGeom>
          <a:ln w="571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4">
            <a:extLst>
              <a:ext uri="{FF2B5EF4-FFF2-40B4-BE49-F238E27FC236}">
                <a16:creationId xmlns:a16="http://schemas.microsoft.com/office/drawing/2014/main" id="{9A4B123D-33E1-4336-8AFD-2E390A9C7E55}"/>
              </a:ext>
            </a:extLst>
          </p:cNvPr>
          <p:cNvSpPr txBox="1">
            <a:spLocks/>
          </p:cNvSpPr>
          <p:nvPr/>
        </p:nvSpPr>
        <p:spPr>
          <a:xfrm>
            <a:off x="6740292" y="4338887"/>
            <a:ext cx="4923674" cy="14565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GB" sz="2400" b="1" dirty="0"/>
              <a:t>PCNS</a:t>
            </a:r>
          </a:p>
          <a:p>
            <a:pPr marL="0" indent="0">
              <a:lnSpc>
                <a:spcPct val="100000"/>
              </a:lnSpc>
              <a:spcBef>
                <a:spcPts val="0"/>
              </a:spcBef>
              <a:buFont typeface="Arial" panose="020B0604020202020204" pitchFamily="34" charset="0"/>
              <a:buNone/>
            </a:pPr>
            <a:r>
              <a:rPr lang="en-GB" sz="1800" dirty="0"/>
              <a:t>Passive Components Networking Symposium</a:t>
            </a:r>
            <a:endParaRPr lang="cs-CZ" sz="1800" dirty="0"/>
          </a:p>
          <a:p>
            <a:pPr marL="0" indent="0">
              <a:lnSpc>
                <a:spcPct val="100000"/>
              </a:lnSpc>
              <a:spcBef>
                <a:spcPts val="0"/>
              </a:spcBef>
              <a:buFont typeface="Arial" panose="020B0604020202020204" pitchFamily="34" charset="0"/>
              <a:buNone/>
            </a:pPr>
            <a:endParaRPr lang="en-GB" sz="2400" dirty="0"/>
          </a:p>
          <a:p>
            <a:pPr marL="0" indent="0">
              <a:lnSpc>
                <a:spcPct val="100000"/>
              </a:lnSpc>
              <a:spcBef>
                <a:spcPts val="0"/>
              </a:spcBef>
              <a:buFont typeface="Arial" panose="020B0604020202020204" pitchFamily="34" charset="0"/>
              <a:buNone/>
            </a:pPr>
            <a:r>
              <a:rPr lang="en-GB" sz="2400" b="1" dirty="0">
                <a:solidFill>
                  <a:schemeClr val="accent6">
                    <a:lumMod val="75000"/>
                  </a:schemeClr>
                </a:solidFill>
              </a:rPr>
              <a:t>www.pcns.events</a:t>
            </a:r>
          </a:p>
        </p:txBody>
      </p:sp>
      <p:sp>
        <p:nvSpPr>
          <p:cNvPr id="2" name="TextovéPole 1">
            <a:extLst>
              <a:ext uri="{FF2B5EF4-FFF2-40B4-BE49-F238E27FC236}">
                <a16:creationId xmlns:a16="http://schemas.microsoft.com/office/drawing/2014/main" id="{E8D6FA2D-122E-49C0-A650-90E823F70991}"/>
              </a:ext>
            </a:extLst>
          </p:cNvPr>
          <p:cNvSpPr txBox="1"/>
          <p:nvPr/>
        </p:nvSpPr>
        <p:spPr>
          <a:xfrm>
            <a:off x="854298" y="3330194"/>
            <a:ext cx="6898783" cy="461665"/>
          </a:xfrm>
          <a:prstGeom prst="rect">
            <a:avLst/>
          </a:prstGeom>
          <a:noFill/>
        </p:spPr>
        <p:txBody>
          <a:bodyPr wrap="square" rtlCol="0">
            <a:spAutoFit/>
          </a:bodyPr>
          <a:lstStyle/>
          <a:p>
            <a:r>
              <a:rPr lang="cs-CZ" sz="1200" dirty="0">
                <a:hlinkClick r:id="rId8"/>
              </a:rPr>
              <a:t>https://passive-components.eu/cots-automotive-capacitors-procurement-and-evaluation-case-study-for-sme-space-hardware-manufacturer-esa-esccon-2021-epci-report/</a:t>
            </a:r>
            <a:endParaRPr lang="cs-CZ" sz="1200" dirty="0"/>
          </a:p>
        </p:txBody>
      </p:sp>
      <p:sp>
        <p:nvSpPr>
          <p:cNvPr id="22" name="TextovéPole 21">
            <a:extLst>
              <a:ext uri="{FF2B5EF4-FFF2-40B4-BE49-F238E27FC236}">
                <a16:creationId xmlns:a16="http://schemas.microsoft.com/office/drawing/2014/main" id="{E547AA33-E137-4259-A459-21F55CB6F786}"/>
              </a:ext>
            </a:extLst>
          </p:cNvPr>
          <p:cNvSpPr txBox="1"/>
          <p:nvPr/>
        </p:nvSpPr>
        <p:spPr>
          <a:xfrm>
            <a:off x="816145" y="2770679"/>
            <a:ext cx="3395481" cy="553998"/>
          </a:xfrm>
          <a:prstGeom prst="rect">
            <a:avLst/>
          </a:prstGeom>
          <a:noFill/>
        </p:spPr>
        <p:txBody>
          <a:bodyPr wrap="none" rtlCol="0">
            <a:spAutoFit/>
          </a:bodyPr>
          <a:lstStyle/>
          <a:p>
            <a:r>
              <a:rPr lang="en-GB" dirty="0"/>
              <a:t>pdf report available for download:</a:t>
            </a:r>
          </a:p>
          <a:p>
            <a:r>
              <a:rPr lang="en-GB" sz="1200" dirty="0"/>
              <a:t>(published on 11</a:t>
            </a:r>
            <a:r>
              <a:rPr lang="en-GB" sz="1200" baseline="30000" dirty="0"/>
              <a:t>th</a:t>
            </a:r>
            <a:r>
              <a:rPr lang="en-GB" sz="1200" dirty="0"/>
              <a:t> March 2021)</a:t>
            </a:r>
            <a:endParaRPr lang="cs-CZ" dirty="0"/>
          </a:p>
        </p:txBody>
      </p:sp>
      <p:pic>
        <p:nvPicPr>
          <p:cNvPr id="24" name="Obrázek 23">
            <a:extLst>
              <a:ext uri="{FF2B5EF4-FFF2-40B4-BE49-F238E27FC236}">
                <a16:creationId xmlns:a16="http://schemas.microsoft.com/office/drawing/2014/main" id="{5FE030BD-2730-4A81-8B45-BAFC82E077B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663893" y="2535680"/>
            <a:ext cx="765820" cy="765820"/>
          </a:xfrm>
          <a:prstGeom prst="rect">
            <a:avLst/>
          </a:prstGeom>
        </p:spPr>
      </p:pic>
      <p:sp>
        <p:nvSpPr>
          <p:cNvPr id="25" name="Zástupný symbol pro zápatí 2">
            <a:extLst>
              <a:ext uri="{FF2B5EF4-FFF2-40B4-BE49-F238E27FC236}">
                <a16:creationId xmlns:a16="http://schemas.microsoft.com/office/drawing/2014/main" id="{6F2221A2-8D3E-4EA5-AB81-BB324C587D3E}"/>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23" name="Zvuk 22">
            <a:hlinkClick r:id="" action="ppaction://media"/>
            <a:extLst>
              <a:ext uri="{FF2B5EF4-FFF2-40B4-BE49-F238E27FC236}">
                <a16:creationId xmlns:a16="http://schemas.microsoft.com/office/drawing/2014/main" id="{8D54F7F7-8EBE-4981-931A-01F34CE86B4A}"/>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647299480"/>
      </p:ext>
    </p:extLst>
  </p:cSld>
  <p:clrMapOvr>
    <a:masterClrMapping/>
  </p:clrMapOvr>
  <mc:AlternateContent xmlns:mc="http://schemas.openxmlformats.org/markup-compatibility/2006">
    <mc:Choice xmlns:p14="http://schemas.microsoft.com/office/powerpoint/2010/main" Requires="p14">
      <p:transition spd="slow" p14:dur="2000" advTm="17822"/>
    </mc:Choice>
    <mc:Fallback>
      <p:transition spd="slow" advTm="1782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3"/>
                </p:tgtEl>
              </p:cMediaNode>
            </p:audio>
          </p:childTnLst>
        </p:cTn>
      </p:par>
    </p:tnLst>
  </p:timing>
  <p:extLst>
    <p:ext uri="{3A86A75C-4F4B-4683-9AE1-C65F6400EC91}">
      <p14:laserTraceLst xmlns:p14="http://schemas.microsoft.com/office/powerpoint/2010/main">
        <p14:tracePtLst>
          <p14:tracePt t="14771" x="12131675" y="2265363"/>
          <p14:tracePt t="14772" x="12076113" y="2201863"/>
          <p14:tracePt t="14773" x="12044363" y="2178050"/>
          <p14:tracePt t="14775" x="11971338" y="2106613"/>
          <p14:tracePt t="14776" x="11939588" y="2073275"/>
          <p14:tracePt t="14777" x="11907838" y="2041525"/>
          <p14:tracePt t="14778" x="11868150" y="2001838"/>
          <p14:tracePt t="14779" x="11836400" y="1973263"/>
          <p14:tracePt t="14780" x="11807825" y="1946275"/>
          <p14:tracePt t="14781" x="11776075" y="1917700"/>
          <p14:tracePt t="14782" x="11744325" y="1889125"/>
          <p14:tracePt t="14783" x="11710988" y="1862138"/>
          <p14:tracePt t="14784" x="11663363" y="1817688"/>
          <p14:tracePt t="14785" x="11634788" y="1793875"/>
          <p14:tracePt t="14786" x="11603038" y="1762125"/>
          <p14:tracePt t="14787" x="11571288" y="1738313"/>
          <p14:tracePt t="14788" x="11531600" y="1697038"/>
          <p14:tracePt t="14789" x="11503025" y="1673225"/>
          <p14:tracePt t="14790" x="11471275" y="1649413"/>
          <p14:tracePt t="14791" x="11439525" y="1625600"/>
          <p14:tracePt t="14792" x="11410950" y="1601788"/>
          <p14:tracePt t="14793" x="11379200" y="1577975"/>
          <p14:tracePt t="14794" x="11331575" y="1533525"/>
          <p14:tracePt t="14795" x="11299825" y="1509713"/>
          <p14:tracePt t="14796" x="11271250" y="1485900"/>
          <p14:tracePt t="14797" x="11231563" y="1460500"/>
          <p14:tracePt t="14798" x="11182350" y="1425575"/>
          <p14:tracePt t="14799" x="11155363" y="1401763"/>
          <p14:tracePt t="14800" x="11123613" y="1377950"/>
          <p14:tracePt t="14801" x="11082338" y="1349375"/>
          <p14:tracePt t="14802" x="11055350" y="1325563"/>
          <p14:tracePt t="14803" x="11006138" y="1293813"/>
          <p14:tracePt t="14804" x="10974388" y="1268413"/>
          <p14:tracePt t="14806" x="10947400" y="1249363"/>
          <p14:tracePt t="14807" x="10906125" y="1225550"/>
          <p14:tracePt t="14807" x="10874375" y="1204913"/>
          <p14:tracePt t="14808" x="10829925" y="1173163"/>
          <p14:tracePt t="14809" x="10798175" y="1157288"/>
          <p14:tracePt t="14810" x="10771188" y="1136650"/>
          <p14:tracePt t="14811" x="10737850" y="1120775"/>
          <p14:tracePt t="14812" x="10694988" y="1092200"/>
          <p14:tracePt t="14813" x="10663238" y="1073150"/>
          <p14:tracePt t="14814" x="10634663" y="1057275"/>
          <p14:tracePt t="14815" x="10610850" y="1041400"/>
          <p14:tracePt t="14816" x="10582275" y="1020763"/>
          <p14:tracePt t="14817" x="10550525" y="1004888"/>
          <p14:tracePt t="14819" x="10514013" y="984250"/>
          <p14:tracePt t="14820" x="10490200" y="968375"/>
          <p14:tracePt t="14820" x="10469563" y="957263"/>
          <p14:tracePt t="14821" x="10445750" y="941388"/>
          <p14:tracePt t="14822" x="10418763" y="925513"/>
          <p14:tracePt t="14823" x="10398125" y="912813"/>
          <p14:tracePt t="14824" x="10382250" y="904875"/>
          <p14:tracePt t="14825" x="10361613" y="892175"/>
          <p14:tracePt t="14826" x="10345738" y="884238"/>
          <p14:tracePt t="14827" x="10321925" y="873125"/>
          <p14:tracePt t="14828" x="10306050" y="865188"/>
          <p14:tracePt t="14829" x="10293350" y="857250"/>
          <p14:tracePt t="14830" x="10277475" y="849313"/>
          <p14:tracePt t="14831" x="10269538" y="844550"/>
          <p14:tracePt t="14832" x="10250488" y="833438"/>
          <p14:tracePt t="14833" x="10234613" y="828675"/>
          <p14:tracePt t="14834" x="10226675" y="825500"/>
          <p14:tracePt t="14835" x="10218738" y="820738"/>
          <p14:tracePt t="14837" x="10201275" y="815975"/>
          <p14:tracePt t="14837" x="10193338" y="812800"/>
          <p14:tracePt t="14838" x="10185400" y="808038"/>
          <p14:tracePt t="14839" x="10177463" y="808038"/>
          <p14:tracePt t="14842" x="10158413" y="800100"/>
          <p14:tracePt t="14844" x="10153650" y="800100"/>
          <p14:tracePt t="14844" x="10150475" y="800100"/>
          <p14:tracePt t="14845" x="10145713" y="800100"/>
          <p14:tracePt t="14846" x="10142538" y="800100"/>
          <p14:tracePt t="14847" x="10134600" y="800100"/>
          <p14:tracePt t="14849" x="10129838" y="800100"/>
          <p14:tracePt t="14850" x="10126663" y="800100"/>
          <p14:tracePt t="14852" x="10121900" y="800100"/>
          <p14:tracePt t="14859" x="10118725" y="800100"/>
          <p14:tracePt t="14861" x="10113963" y="800100"/>
          <p14:tracePt t="14868" x="10113963" y="804863"/>
          <p14:tracePt t="14870" x="10113963" y="808038"/>
          <p14:tracePt t="14872" x="10109200" y="812800"/>
          <p14:tracePt t="14874" x="10109200" y="815975"/>
          <p14:tracePt t="14876" x="10109200" y="820738"/>
          <p14:tracePt t="14877" x="10109200" y="825500"/>
          <p14:tracePt t="14879" x="10109200" y="828675"/>
          <p14:tracePt t="14880" x="10109200" y="833438"/>
          <p14:tracePt t="14882" x="10109200" y="836613"/>
          <p14:tracePt t="14883" x="10109200" y="841375"/>
          <p14:tracePt t="14885" x="10109200" y="844550"/>
          <p14:tracePt t="14887" x="10109200" y="849313"/>
          <p14:tracePt t="14888" x="10109200" y="852488"/>
          <p14:tracePt t="14888" x="10109200" y="857250"/>
          <p14:tracePt t="14889" x="10109200" y="860425"/>
          <p14:tracePt t="14890" x="10109200" y="865188"/>
          <p14:tracePt t="14891" x="10109200" y="868363"/>
          <p14:tracePt t="14892" x="10109200" y="876300"/>
          <p14:tracePt t="14893" x="10109200" y="881063"/>
          <p14:tracePt t="14894" x="10109200" y="889000"/>
          <p14:tracePt t="14895" x="10109200" y="896938"/>
          <p14:tracePt t="14896" x="10109200" y="900113"/>
          <p14:tracePt t="14897" x="10109200" y="904875"/>
          <p14:tracePt t="14898" x="10106025" y="917575"/>
          <p14:tracePt t="14899" x="10106025" y="920750"/>
          <p14:tracePt t="14904" x="10106025" y="976313"/>
          <p14:tracePt t="14905" x="10106025" y="984250"/>
          <p14:tracePt t="14906" x="10106025" y="996950"/>
          <p14:tracePt t="14907" x="10106025" y="1004888"/>
          <p14:tracePt t="14908" x="10106025" y="1020763"/>
          <p14:tracePt t="14909" x="10106025" y="1028700"/>
          <p14:tracePt t="14910" x="10106025" y="1044575"/>
          <p14:tracePt t="14911" x="10106025" y="1057275"/>
          <p14:tracePt t="14912" x="10109200" y="1068388"/>
          <p14:tracePt t="14913" x="10113963" y="1084263"/>
          <p14:tracePt t="14914" x="10118725" y="1096963"/>
          <p14:tracePt t="14915" x="10126663" y="1112838"/>
          <p14:tracePt t="14916" x="10129838" y="1125538"/>
          <p14:tracePt t="14917" x="10134600" y="1133475"/>
          <p14:tracePt t="14918" x="10137775" y="1149350"/>
          <p14:tracePt t="14920" x="10153650" y="1176338"/>
          <p14:tracePt t="14922" x="10158413" y="1193800"/>
          <p14:tracePt t="14923" x="10166350" y="1204913"/>
          <p14:tracePt t="14923" x="10169525" y="1212850"/>
          <p14:tracePt t="14924" x="10182225" y="1233488"/>
          <p14:tracePt t="14925" x="10190163" y="1249363"/>
          <p14:tracePt t="14926" x="10198100" y="1265238"/>
          <p14:tracePt t="14928" x="10206038" y="1276350"/>
          <p14:tracePt t="14928" x="10213975" y="1293813"/>
          <p14:tracePt t="14929" x="10226675" y="1304925"/>
          <p14:tracePt t="14930" x="10234613" y="1320800"/>
          <p14:tracePt t="14931" x="10237788" y="1333500"/>
          <p14:tracePt t="14932" x="10250488" y="1344613"/>
          <p14:tracePt t="14933" x="10258425" y="1357313"/>
          <p14:tracePt t="14934" x="10266363" y="1377950"/>
          <p14:tracePt t="14935" x="10274300" y="1389063"/>
          <p14:tracePt t="14936" x="10277475" y="1401763"/>
          <p14:tracePt t="14937" x="10285413" y="1409700"/>
          <p14:tracePt t="14939" x="10290175" y="1425575"/>
          <p14:tracePt t="14940" x="10306050" y="1449388"/>
          <p14:tracePt t="14941" x="10310813" y="1457325"/>
          <p14:tracePt t="14942" x="10313988" y="1465263"/>
          <p14:tracePt t="14943" x="10318750" y="1473200"/>
          <p14:tracePt t="14944" x="10321925" y="1489075"/>
          <p14:tracePt t="14945" x="10329863" y="1497013"/>
          <p14:tracePt t="14946" x="10334625" y="1504950"/>
          <p14:tracePt t="14947" x="10342563" y="1512888"/>
          <p14:tracePt t="14948" x="10345738" y="1528763"/>
          <p14:tracePt t="14949" x="10350500" y="1536700"/>
          <p14:tracePt t="14950" x="10353675" y="1544638"/>
          <p14:tracePt t="14951" x="10358438" y="1562100"/>
          <p14:tracePt t="14952" x="10361613" y="1570038"/>
          <p14:tracePt t="14953" x="10366375" y="1585913"/>
          <p14:tracePt t="14954" x="10369550" y="1593850"/>
          <p14:tracePt t="14955" x="10377488" y="1601788"/>
          <p14:tracePt t="14956" x="10382250" y="1609725"/>
          <p14:tracePt t="14957" x="10387013" y="1617663"/>
          <p14:tracePt t="14958" x="10394950" y="1628775"/>
          <p14:tracePt t="14959" x="10394950" y="1636713"/>
          <p14:tracePt t="14960" x="10398125" y="1644650"/>
          <p14:tracePt t="14961" x="10402888" y="1654175"/>
          <p14:tracePt t="14962" x="10406063" y="1670050"/>
          <p14:tracePt t="14963" x="10410825" y="1677988"/>
          <p14:tracePt t="14964" x="10418763" y="1685925"/>
          <p14:tracePt t="14965" x="10418763" y="1693863"/>
          <p14:tracePt t="14966" x="10421938" y="1701800"/>
          <p14:tracePt t="14967" x="10421938" y="1709738"/>
          <p14:tracePt t="14968" x="10426700" y="1725613"/>
          <p14:tracePt t="14970" x="10429875" y="1746250"/>
          <p14:tracePt t="14971" x="10434638" y="1754188"/>
          <p14:tracePt t="14973" x="10442575" y="1789113"/>
          <p14:tracePt t="14976" x="10450513" y="1809750"/>
          <p14:tracePt t="14977" x="10453688" y="1825625"/>
          <p14:tracePt t="14977" x="10458450" y="1846263"/>
          <p14:tracePt t="14978" x="10458450" y="1857375"/>
          <p14:tracePt t="14979" x="10461625" y="1873250"/>
          <p14:tracePt t="14980" x="10461625" y="1885950"/>
          <p14:tracePt t="14981" x="10466388" y="1901825"/>
          <p14:tracePt t="14982" x="10474325" y="1925638"/>
          <p14:tracePt t="14983" x="10479088" y="1941513"/>
          <p14:tracePt t="14984" x="10479088" y="1954213"/>
          <p14:tracePt t="14985" x="10482263" y="1973263"/>
          <p14:tracePt t="14987" x="10482263" y="2001838"/>
          <p14:tracePt t="14987" x="10487025" y="2014538"/>
          <p14:tracePt t="14988" x="10487025" y="2033588"/>
          <p14:tracePt t="14990" x="10490200" y="2054225"/>
          <p14:tracePt t="14992" x="10498138" y="2093913"/>
          <p14:tracePt t="14992" x="10498138" y="2117725"/>
          <p14:tracePt t="14993" x="10498138" y="2138363"/>
          <p14:tracePt t="14994" x="10498138" y="2157413"/>
          <p14:tracePt t="14995" x="10498138" y="2178050"/>
          <p14:tracePt t="14996" x="10498138" y="2209800"/>
          <p14:tracePt t="14997" x="10498138" y="2225675"/>
          <p14:tracePt t="14998" x="10498138" y="2246313"/>
          <p14:tracePt t="14999" x="10498138" y="2265363"/>
          <p14:tracePt t="15000" x="10498138" y="2290763"/>
          <p14:tracePt t="15001" x="10498138" y="2309813"/>
          <p14:tracePt t="15002" x="10498138" y="2341563"/>
          <p14:tracePt t="15003" x="10498138" y="2370138"/>
          <p14:tracePt t="15004" x="10498138" y="2390775"/>
          <p14:tracePt t="15006" x="10494963" y="2449513"/>
          <p14:tracePt t="15007" x="10490200" y="2478088"/>
          <p14:tracePt t="15008" x="10487025" y="2498725"/>
          <p14:tracePt t="15009" x="10487025" y="2525713"/>
          <p14:tracePt t="15010" x="10479088" y="2549525"/>
          <p14:tracePt t="15011" x="10474325" y="2586038"/>
          <p14:tracePt t="15012" x="10466388" y="2614613"/>
          <p14:tracePt t="15013" x="10461625" y="2641600"/>
          <p14:tracePt t="15014" x="10453688" y="2670175"/>
          <p14:tracePt t="15015" x="10450513" y="2690813"/>
          <p14:tracePt t="15016" x="10437813" y="2733675"/>
          <p14:tracePt t="15017" x="10434638" y="2762250"/>
          <p14:tracePt t="15018" x="10426700" y="2790825"/>
          <p14:tracePt t="15020" x="10410825" y="2867025"/>
          <p14:tracePt t="15022" x="10398125" y="2927350"/>
          <p14:tracePt t="15023" x="10390188" y="2954338"/>
          <p14:tracePt t="15024" x="10387013" y="2982913"/>
          <p14:tracePt t="15025" x="10374313" y="3030538"/>
          <p14:tracePt t="15026" x="10366375" y="3067050"/>
          <p14:tracePt t="15027" x="10361613" y="3101975"/>
          <p14:tracePt t="15028" x="10350500" y="3130550"/>
          <p14:tracePt t="15029" x="10342563" y="3167063"/>
          <p14:tracePt t="15030" x="10329863" y="3211513"/>
          <p14:tracePt t="15031" x="10326688" y="3246438"/>
          <p14:tracePt t="15032" x="10318750" y="3282950"/>
          <p14:tracePt t="15033" x="10306050" y="3311525"/>
          <p14:tracePt t="15034" x="10302875" y="3346450"/>
          <p14:tracePt t="15035" x="10290175" y="3398838"/>
          <p14:tracePt t="15037" x="10282238" y="3435350"/>
          <p14:tracePt t="15037" x="10277475" y="3470275"/>
          <p14:tracePt t="15038" x="10266363" y="3503613"/>
          <p14:tracePt t="15041" x="10245725" y="3590925"/>
          <p14:tracePt t="15041" x="10237788" y="3619500"/>
          <p14:tracePt t="15042" x="10226675" y="3654425"/>
          <p14:tracePt t="15043" x="10221913" y="3690938"/>
          <p14:tracePt t="15044" x="10213975" y="3719513"/>
          <p14:tracePt t="15045" x="10201275" y="3771900"/>
          <p14:tracePt t="15046" x="10198100" y="3798888"/>
          <p14:tracePt t="15047" x="10185400" y="3835400"/>
          <p14:tracePt t="15048" x="10177463" y="3863975"/>
          <p14:tracePt t="15049" x="10174288" y="3898900"/>
          <p14:tracePt t="15050" x="10161588" y="3943350"/>
          <p14:tracePt t="15051" x="10153650" y="3971925"/>
          <p14:tracePt t="15052" x="10150475" y="3998913"/>
          <p14:tracePt t="15053" x="10142538" y="4035425"/>
          <p14:tracePt t="15054" x="10129838" y="4075113"/>
          <p14:tracePt t="15055" x="10126663" y="4103688"/>
          <p14:tracePt t="15057" x="10113963" y="4156075"/>
          <p14:tracePt t="15058" x="10109200" y="4183063"/>
          <p14:tracePt t="15059" x="10101263" y="4203700"/>
          <p14:tracePt t="15060" x="10090150" y="4251325"/>
          <p14:tracePt t="15061" x="10090150" y="4275138"/>
          <p14:tracePt t="15062" x="10085388" y="4295775"/>
          <p14:tracePt t="15063" x="10082213" y="4324350"/>
          <p14:tracePt t="15064" x="10074275" y="4359275"/>
          <p14:tracePt t="15065" x="10069513" y="4379913"/>
          <p14:tracePt t="15066" x="10066338" y="4400550"/>
          <p14:tracePt t="15067" x="10058400" y="4419600"/>
          <p14:tracePt t="15068" x="10053638" y="4440238"/>
          <p14:tracePt t="15069" x="10042525" y="4475163"/>
          <p14:tracePt t="15070" x="10042525" y="4487863"/>
          <p14:tracePt t="15071" x="10037763" y="4508500"/>
          <p14:tracePt t="15072" x="10034588" y="4527550"/>
          <p14:tracePt t="15074" x="10021888" y="4564063"/>
          <p14:tracePt t="15075" x="10017125" y="4576763"/>
          <p14:tracePt t="15076" x="10013950" y="4595813"/>
          <p14:tracePt t="15077" x="10013950" y="4608513"/>
          <p14:tracePt t="15078" x="10009188" y="4624388"/>
          <p14:tracePt t="15079" x="10006013" y="4640263"/>
          <p14:tracePt t="15080" x="9998075" y="4648200"/>
          <p14:tracePt t="15081" x="9998075" y="4656138"/>
          <p14:tracePt t="15082" x="9993313" y="4664075"/>
          <p14:tracePt t="15083" x="9990138" y="4676775"/>
          <p14:tracePt t="15084" x="9985375" y="4692650"/>
          <p14:tracePt t="15085" x="9985375" y="4700588"/>
          <p14:tracePt t="15086" x="9982200" y="4708525"/>
          <p14:tracePt t="15087" x="9977438" y="4716463"/>
          <p14:tracePt t="15088" x="9974263" y="4732338"/>
          <p14:tracePt t="15090" x="9974263" y="4735513"/>
          <p14:tracePt t="15090" x="9969500" y="4743450"/>
          <p14:tracePt t="15091" x="9966325" y="4751388"/>
          <p14:tracePt t="15092" x="9966325" y="4760913"/>
          <p14:tracePt t="15093" x="9958388" y="4768850"/>
          <p14:tracePt t="15094" x="9953625" y="4776788"/>
          <p14:tracePt t="15095" x="9950450" y="4779963"/>
          <p14:tracePt t="15096" x="9945688" y="4787900"/>
          <p14:tracePt t="15097" x="9942513" y="4800600"/>
          <p14:tracePt t="15098" x="9937750" y="4808538"/>
          <p14:tracePt t="15099" x="9937750" y="4816475"/>
          <p14:tracePt t="15100" x="9932988" y="4819650"/>
          <p14:tracePt t="15101" x="9929813" y="4827588"/>
          <p14:tracePt t="15102" x="9925050" y="4832350"/>
          <p14:tracePt t="15104" x="9921875" y="4843463"/>
          <p14:tracePt t="15104" x="9917113" y="4848225"/>
          <p14:tracePt t="15105" x="9913938" y="4856163"/>
          <p14:tracePt t="15107" x="9913938" y="4864100"/>
          <p14:tracePt t="15108" x="9909175" y="4872038"/>
          <p14:tracePt t="15108" x="9906000" y="4879975"/>
          <p14:tracePt t="15109" x="9901238" y="4887913"/>
          <p14:tracePt t="15110" x="9901238" y="4895850"/>
          <p14:tracePt t="15111" x="9898063" y="4900613"/>
          <p14:tracePt t="15112" x="9893300" y="4911725"/>
          <p14:tracePt t="15113" x="9890125" y="4919663"/>
          <p14:tracePt t="15114" x="9890125" y="4932363"/>
          <p14:tracePt t="15115" x="9885363" y="4932363"/>
          <p14:tracePt t="15116" x="9882188" y="4940300"/>
          <p14:tracePt t="15117" x="9882188" y="4948238"/>
          <p14:tracePt t="15118" x="9877425" y="4964113"/>
          <p14:tracePt t="15120" x="9874250" y="4979988"/>
          <p14:tracePt t="15121" x="9869488" y="4987925"/>
          <p14:tracePt t="15123" x="9869488" y="5003800"/>
          <p14:tracePt t="15123" x="9866313" y="5011738"/>
          <p14:tracePt t="15124" x="9866313" y="5019675"/>
          <p14:tracePt t="15125" x="9861550" y="5027613"/>
          <p14:tracePt t="15126" x="9861550" y="5037138"/>
          <p14:tracePt t="15127" x="9858375" y="5053013"/>
          <p14:tracePt t="15128" x="9858375" y="5060950"/>
          <p14:tracePt t="15129" x="9850438" y="5072063"/>
          <p14:tracePt t="15130" x="9850438" y="5080000"/>
          <p14:tracePt t="15131" x="9845675" y="5092700"/>
          <p14:tracePt t="15132" x="9845675" y="5103813"/>
          <p14:tracePt t="15133" x="9840913" y="5111750"/>
          <p14:tracePt t="15134" x="9840913" y="5129213"/>
          <p14:tracePt t="15135" x="9837738" y="5137150"/>
          <p14:tracePt t="15136" x="9832975" y="5148263"/>
          <p14:tracePt t="15137" x="9832975" y="5164138"/>
          <p14:tracePt t="15138" x="9829800" y="5172075"/>
          <p14:tracePt t="15139" x="9825038" y="5184775"/>
          <p14:tracePt t="15140" x="9821863" y="5195888"/>
          <p14:tracePt t="15141" x="9821863" y="5208588"/>
          <p14:tracePt t="15142" x="9813925" y="5224463"/>
          <p14:tracePt t="15143" x="9809163" y="5237163"/>
          <p14:tracePt t="15144" x="9805988" y="5253038"/>
          <p14:tracePt t="15145" x="9801225" y="5260975"/>
          <p14:tracePt t="15146" x="9798050" y="5280025"/>
          <p14:tracePt t="15147" x="9793288" y="5292725"/>
          <p14:tracePt t="15148" x="9785350" y="5300663"/>
          <p14:tracePt t="15149" x="9782175" y="5316538"/>
          <p14:tracePt t="15150" x="9777413" y="5329238"/>
          <p14:tracePt t="15151" x="9774238" y="5345113"/>
          <p14:tracePt t="15152" x="9769475" y="5356225"/>
          <p14:tracePt t="15153" x="9766300" y="5372100"/>
          <p14:tracePt t="15154" x="9758363" y="5380038"/>
          <p14:tracePt t="15156" x="9748838" y="5397500"/>
          <p14:tracePt t="15157" x="9740900" y="5424488"/>
          <p14:tracePt t="15158" x="9737725" y="5432425"/>
          <p14:tracePt t="15159" x="9725025" y="5448300"/>
          <p14:tracePt t="15160" x="9721850" y="5456238"/>
          <p14:tracePt t="15161" x="9713913" y="5468938"/>
          <p14:tracePt t="15162" x="9709150" y="5484813"/>
          <p14:tracePt t="15163" x="9698038" y="5492750"/>
          <p14:tracePt t="15164" x="9693275" y="5508625"/>
          <p14:tracePt t="15165" x="9690100" y="5516563"/>
          <p14:tracePt t="15166" x="9682163" y="5529263"/>
          <p14:tracePt t="15167" x="9669463" y="5540375"/>
          <p14:tracePt t="15168" x="9666288" y="5553075"/>
          <p14:tracePt t="15170" x="9653588" y="5576888"/>
          <p14:tracePt t="15171" x="9640888" y="5584825"/>
          <p14:tracePt t="15172" x="9637713" y="5592763"/>
          <p14:tracePt t="15174" x="9625013" y="5616575"/>
          <p14:tracePt t="15175" x="9617075" y="5629275"/>
          <p14:tracePt t="15176" x="9605963" y="5637213"/>
          <p14:tracePt t="15177" x="9601200" y="5645150"/>
          <p14:tracePt t="15178" x="9593263" y="5653088"/>
          <p14:tracePt t="15179" x="9590088" y="5661025"/>
          <p14:tracePt t="15180" x="9582150" y="5676900"/>
          <p14:tracePt t="15181" x="9569450" y="5684838"/>
          <p14:tracePt t="15182" x="9564688" y="5697538"/>
          <p14:tracePt t="15183" x="9556750" y="5705475"/>
          <p14:tracePt t="15184" x="9553575" y="5713413"/>
          <p14:tracePt t="15185" x="9540875" y="5721350"/>
          <p14:tracePt t="15186" x="9537700" y="5729288"/>
          <p14:tracePt t="15187" x="9529763" y="5740400"/>
          <p14:tracePt t="15188" x="9525000" y="5745163"/>
          <p14:tracePt t="15190" x="9521825" y="5753100"/>
          <p14:tracePt t="15190" x="9517063" y="5761038"/>
          <p14:tracePt t="15191" x="9513888" y="5768975"/>
          <p14:tracePt t="15192" x="9509125" y="5773738"/>
          <p14:tracePt t="15193" x="9505950" y="5781675"/>
          <p14:tracePt t="15194" x="9501188" y="5789613"/>
          <p14:tracePt t="15195" x="9498013" y="5792788"/>
          <p14:tracePt t="15196" x="9493250" y="5800725"/>
          <p14:tracePt t="15197" x="9490075" y="5805488"/>
          <p14:tracePt t="15198" x="9490075" y="5813425"/>
          <p14:tracePt t="15199" x="9490075" y="5816600"/>
          <p14:tracePt t="15200" x="9485313" y="5821363"/>
          <p14:tracePt t="15201" x="9480550" y="5824538"/>
          <p14:tracePt t="15202" x="9480550" y="5829300"/>
          <p14:tracePt t="15203" x="9477375" y="5829300"/>
          <p14:tracePt t="15204" x="9477375" y="5832475"/>
          <p14:tracePt t="15205" x="9477375" y="5837238"/>
          <p14:tracePt t="15207" x="9477375" y="5840413"/>
          <p14:tracePt t="15208" x="9477375" y="5848350"/>
          <p14:tracePt t="15209" x="9477375" y="5853113"/>
          <p14:tracePt t="15211" x="9477375" y="5857875"/>
          <p14:tracePt t="15213" x="9477375" y="5861050"/>
          <p14:tracePt t="15215" x="9477375" y="5865813"/>
          <p14:tracePt t="15217" x="9477375" y="5868988"/>
          <p14:tracePt t="15223" x="9477375" y="5873750"/>
          <p14:tracePt t="15224" x="9480550" y="5876925"/>
          <p14:tracePt t="15225" x="9485313" y="5876925"/>
          <p14:tracePt t="15226" x="9485313" y="5881688"/>
          <p14:tracePt t="15227" x="9490075" y="5881688"/>
          <p14:tracePt t="15228" x="9493250" y="5881688"/>
          <p14:tracePt t="15229" x="9501188" y="5884863"/>
          <p14:tracePt t="15230" x="9505950" y="5889625"/>
          <p14:tracePt t="15231" x="9509125" y="5889625"/>
          <p14:tracePt t="15232" x="9517063" y="5889625"/>
          <p14:tracePt t="15233" x="9521825" y="5892800"/>
          <p14:tracePt t="15234" x="9529763" y="5892800"/>
          <p14:tracePt t="15235" x="9537700" y="5892800"/>
          <p14:tracePt t="15236" x="9545638" y="5897563"/>
          <p14:tracePt t="15238" x="9553575" y="5897563"/>
          <p14:tracePt t="15238" x="9564688" y="5900738"/>
          <p14:tracePt t="15239" x="9574213" y="5900738"/>
          <p14:tracePt t="15240" x="9590088" y="5900738"/>
          <p14:tracePt t="15241" x="9598025" y="5905500"/>
          <p14:tracePt t="15242" x="9605963" y="5905500"/>
          <p14:tracePt t="15243" x="9625013" y="5905500"/>
          <p14:tracePt t="15244" x="9637713" y="5905500"/>
          <p14:tracePt t="15245" x="9645650" y="5905500"/>
          <p14:tracePt t="15246" x="9661525" y="5905500"/>
          <p14:tracePt t="15247" x="9674225" y="5913438"/>
          <p14:tracePt t="15248" x="9693275" y="5913438"/>
          <p14:tracePt t="15249" x="9705975" y="5913438"/>
          <p14:tracePt t="15250" x="9721850" y="5913438"/>
          <p14:tracePt t="15251" x="9740900" y="5913438"/>
          <p14:tracePt t="15252" x="9753600" y="5913438"/>
          <p14:tracePt t="15254" x="9774238" y="5913438"/>
          <p14:tracePt t="15256" x="9825038" y="5913438"/>
          <p14:tracePt t="15257" x="9845675" y="5913438"/>
          <p14:tracePt t="15258" x="9861550" y="5913438"/>
          <p14:tracePt t="15259" x="9882188" y="5913438"/>
          <p14:tracePt t="15260" x="9898063" y="5913438"/>
          <p14:tracePt t="15261" x="9913938" y="5913438"/>
          <p14:tracePt t="15262" x="9942513" y="5908675"/>
          <p14:tracePt t="15263" x="9961563" y="5908675"/>
          <p14:tracePt t="15264" x="9982200" y="5905500"/>
          <p14:tracePt t="15265" x="10001250" y="5905500"/>
          <p14:tracePt t="15266" x="10017125" y="5900738"/>
          <p14:tracePt t="15267" x="10037763" y="5900738"/>
          <p14:tracePt t="15268" x="10069513" y="5892800"/>
          <p14:tracePt t="15269" x="10098088" y="5892800"/>
          <p14:tracePt t="15270" x="10118725" y="5889625"/>
          <p14:tracePt t="15272" x="10169525" y="5884863"/>
          <p14:tracePt t="15273" x="10198100" y="5876925"/>
          <p14:tracePt t="15274" x="10226675" y="5873750"/>
          <p14:tracePt t="15275" x="10253663" y="5868988"/>
          <p14:tracePt t="15276" x="10282238" y="5861050"/>
          <p14:tracePt t="15277" x="10326688" y="5857875"/>
          <p14:tracePt t="15278" x="10353675" y="5848350"/>
          <p14:tracePt t="15279" x="10390188" y="5845175"/>
          <p14:tracePt t="15280" x="10418763" y="5837238"/>
          <p14:tracePt t="15281" x="10453688" y="5832475"/>
          <p14:tracePt t="15282" x="10506075" y="5821363"/>
          <p14:tracePt t="15283" x="10542588" y="5813425"/>
          <p14:tracePt t="15284" x="10579100" y="5808663"/>
          <p14:tracePt t="15285" x="10614025" y="5792788"/>
          <p14:tracePt t="15286" x="10674350" y="5781675"/>
          <p14:tracePt t="15287" x="10710863" y="5776913"/>
          <p14:tracePt t="15289" x="10802938" y="5748338"/>
          <p14:tracePt t="15290" x="10839450" y="5737225"/>
          <p14:tracePt t="15291" x="10882313" y="5732463"/>
          <p14:tracePt t="15292" x="10955338" y="5708650"/>
          <p14:tracePt t="15293" x="11006138" y="5697538"/>
          <p14:tracePt t="15294" x="11050588" y="5684838"/>
          <p14:tracePt t="15295" x="11102975" y="5668963"/>
          <p14:tracePt t="15296" x="11182350" y="5648325"/>
          <p14:tracePt t="15297" x="11234738" y="5637213"/>
          <p14:tracePt t="15298" x="11279188" y="5624513"/>
          <p14:tracePt t="15299" x="11342688" y="5600700"/>
          <p14:tracePt t="15300" x="11395075" y="5589588"/>
          <p14:tracePt t="15301" x="11476038" y="5568950"/>
          <p14:tracePt t="15302" x="11534775" y="5548313"/>
          <p14:tracePt t="15303" x="11595100" y="5532438"/>
          <p14:tracePt t="15304" x="11660188" y="5513388"/>
          <p14:tracePt t="15305" x="11718925" y="5492750"/>
          <p14:tracePt t="15306" x="11811000" y="5464175"/>
          <p14:tracePt t="15307" x="11871325" y="5440363"/>
          <p14:tracePt t="15308" x="11939588" y="5421313"/>
          <p14:tracePt t="15309" x="12003088" y="5400675"/>
          <p14:tracePt t="15310" x="12091988" y="5372100"/>
          <p14:tracePt t="15311" x="12163425" y="5348288"/>
          <p14:tracePt t="16647" x="11939588" y="1917700"/>
          <p14:tracePt t="16648" x="11868150" y="1909763"/>
          <p14:tracePt t="16649" x="11791950" y="1897063"/>
          <p14:tracePt t="16650" x="11684000" y="1881188"/>
          <p14:tracePt t="16651" x="11603038" y="1865313"/>
          <p14:tracePt t="16652" x="11526838" y="1846263"/>
          <p14:tracePt t="16653" x="11450638" y="1830388"/>
          <p14:tracePt t="16654" x="11371263" y="1817688"/>
          <p14:tracePt t="16655" x="11247438" y="1793875"/>
          <p14:tracePt t="16657" x="11163300" y="1778000"/>
          <p14:tracePt t="16658" x="10998200" y="1741488"/>
          <p14:tracePt t="16659" x="10910888" y="1720850"/>
          <p14:tracePt t="16660" x="10774363" y="1685925"/>
          <p14:tracePt t="16662" x="10671175" y="1662113"/>
          <p14:tracePt t="16662" x="10587038" y="1641475"/>
          <p14:tracePt t="16663" x="10487025" y="1617663"/>
          <p14:tracePt t="16664" x="10313988" y="1577975"/>
          <p14:tracePt t="16665" x="10213975" y="1552575"/>
          <p14:tracePt t="16666" x="10106025" y="1520825"/>
          <p14:tracePt t="16667" x="10006013" y="1497013"/>
          <p14:tracePt t="16668" x="9885363" y="1473200"/>
          <p14:tracePt t="16669" x="9766300" y="1444625"/>
          <p14:tracePt t="16670" x="9556750" y="1393825"/>
          <p14:tracePt t="16671" x="9440863" y="1365250"/>
          <p14:tracePt t="16674" x="9180513" y="1304925"/>
          <p14:tracePt t="16675" x="8961438" y="1260475"/>
          <p14:tracePt t="16675" x="8836025" y="1225550"/>
          <p14:tracePt t="16676" x="8704263" y="1196975"/>
          <p14:tracePt t="16678" x="8412163" y="1133475"/>
          <p14:tracePt t="16679" x="8172450" y="1076325"/>
          <p14:tracePt t="16680" x="8031163" y="1036638"/>
          <p14:tracePt t="16681" x="7880350" y="1000125"/>
          <p14:tracePt t="16682" x="7727950" y="973138"/>
          <p14:tracePt t="16683" x="7588250" y="933450"/>
          <p14:tracePt t="16684" x="7346950" y="876300"/>
          <p14:tracePt t="16685" x="7191375" y="836613"/>
          <p14:tracePt t="16687" x="7034213" y="800100"/>
          <p14:tracePt t="16687" x="6867525" y="760413"/>
          <p14:tracePt t="16688" x="6710363" y="720725"/>
          <p14:tracePt t="16691" x="6278563" y="608013"/>
          <p14:tracePt t="16692" x="5953125" y="528638"/>
          <p14:tracePt t="16693" x="5781675" y="488950"/>
          <p14:tracePt t="16694" x="5521325" y="420688"/>
          <p14:tracePt t="16695" x="5349875" y="376238"/>
          <p14:tracePt t="16696" x="5176838" y="336550"/>
          <p14:tracePt t="16697" x="5005388" y="296863"/>
          <p14:tracePt t="16698" x="4732338" y="236538"/>
          <p14:tracePt t="16699" x="4564063" y="207963"/>
          <p14:tracePt t="16700" x="4392613" y="168275"/>
          <p14:tracePt t="16701" x="4219575" y="128588"/>
          <p14:tracePt t="16702" x="4048125" y="87313"/>
          <p14:tracePt t="16703" x="3775075" y="28575"/>
          <p14:tracePt t="16704" x="3624263" y="0"/>
        </p14:tracePtLst>
      </p14:laserTraceLst>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rázek 1"/>
          <p:cNvPicPr>
            <a:picLocks noChangeAspect="1"/>
          </p:cNvPicPr>
          <p:nvPr/>
        </p:nvPicPr>
        <p:blipFill rotWithShape="1">
          <a:blip r:embed="rId4"/>
          <a:srcRect l="6216" t="16675" r="10253" b="68247"/>
          <a:stretch/>
        </p:blipFill>
        <p:spPr>
          <a:xfrm>
            <a:off x="3798405" y="1943115"/>
            <a:ext cx="3946009" cy="1024054"/>
          </a:xfrm>
          <a:prstGeom prst="rect">
            <a:avLst/>
          </a:prstGeom>
        </p:spPr>
      </p:pic>
      <p:sp>
        <p:nvSpPr>
          <p:cNvPr id="14" name="TextovéPole 13"/>
          <p:cNvSpPr txBox="1"/>
          <p:nvPr/>
        </p:nvSpPr>
        <p:spPr>
          <a:xfrm>
            <a:off x="8413082" y="2504360"/>
            <a:ext cx="4140797" cy="1384995"/>
          </a:xfrm>
          <a:prstGeom prst="rect">
            <a:avLst/>
          </a:prstGeom>
          <a:noFill/>
        </p:spPr>
        <p:txBody>
          <a:bodyPr wrap="square" rtlCol="0">
            <a:spAutoFit/>
          </a:bodyPr>
          <a:lstStyle/>
          <a:p>
            <a:pPr marL="285738" indent="-285738">
              <a:buFont typeface="Arial" panose="020B0604020202020204" pitchFamily="34" charset="0"/>
              <a:buChar char="•"/>
            </a:pPr>
            <a:r>
              <a:rPr lang="en-US" sz="1400" b="1" dirty="0"/>
              <a:t>One of few </a:t>
            </a:r>
            <a:r>
              <a:rPr lang="cs-CZ" sz="1400" b="1" dirty="0" err="1"/>
              <a:t>educational</a:t>
            </a:r>
            <a:r>
              <a:rPr lang="cs-CZ" sz="1400" b="1" dirty="0"/>
              <a:t> and </a:t>
            </a:r>
            <a:r>
              <a:rPr lang="cs-CZ" sz="1400" b="1" dirty="0" err="1"/>
              <a:t>information</a:t>
            </a:r>
            <a:r>
              <a:rPr lang="cs-CZ" sz="1400" b="1" dirty="0"/>
              <a:t> </a:t>
            </a:r>
            <a:r>
              <a:rPr lang="en-US" sz="1400" b="1" dirty="0"/>
              <a:t>resources dedicated solely to passive components</a:t>
            </a:r>
          </a:p>
          <a:p>
            <a:pPr marL="285738" indent="-285738">
              <a:buFont typeface="Arial" panose="020B0604020202020204" pitchFamily="34" charset="0"/>
              <a:buChar char="•"/>
            </a:pPr>
            <a:r>
              <a:rPr lang="cs-CZ" sz="1400" dirty="0" err="1"/>
              <a:t>Established</a:t>
            </a:r>
            <a:r>
              <a:rPr lang="cs-CZ" sz="1400" dirty="0"/>
              <a:t> 2015, Elektra 2016 </a:t>
            </a:r>
            <a:r>
              <a:rPr lang="cs-CZ" sz="1400" dirty="0" err="1"/>
              <a:t>Finalist</a:t>
            </a:r>
            <a:endParaRPr lang="cs-CZ" sz="1400" dirty="0"/>
          </a:p>
          <a:p>
            <a:pPr marL="285738" indent="-285738">
              <a:buFont typeface="Arial" panose="020B0604020202020204" pitchFamily="34" charset="0"/>
              <a:buChar char="•"/>
            </a:pPr>
            <a:r>
              <a:rPr lang="cs-CZ" sz="1400" dirty="0"/>
              <a:t>EPCI </a:t>
            </a:r>
            <a:r>
              <a:rPr lang="en-GB" sz="1400" dirty="0"/>
              <a:t>among the top 15 best rated global component blogs since 2018</a:t>
            </a:r>
            <a:endParaRPr lang="cs-CZ" sz="1400" dirty="0"/>
          </a:p>
        </p:txBody>
      </p:sp>
      <p:sp>
        <p:nvSpPr>
          <p:cNvPr id="15" name="TextovéPole 14"/>
          <p:cNvSpPr txBox="1"/>
          <p:nvPr/>
        </p:nvSpPr>
        <p:spPr>
          <a:xfrm>
            <a:off x="2154708" y="5032911"/>
            <a:ext cx="5849062" cy="1323439"/>
          </a:xfrm>
          <a:prstGeom prst="rect">
            <a:avLst/>
          </a:prstGeom>
          <a:noFill/>
        </p:spPr>
        <p:txBody>
          <a:bodyPr wrap="square" rtlCol="0">
            <a:spAutoFit/>
          </a:bodyPr>
          <a:lstStyle/>
          <a:p>
            <a:r>
              <a:rPr lang="cs-CZ" sz="1600" b="1" dirty="0">
                <a:solidFill>
                  <a:schemeClr val="tx1">
                    <a:lumMod val="75000"/>
                    <a:lumOff val="25000"/>
                  </a:schemeClr>
                </a:solidFill>
              </a:rPr>
              <a:t>202</a:t>
            </a:r>
            <a:r>
              <a:rPr lang="en-GB" sz="1600" b="1" dirty="0">
                <a:solidFill>
                  <a:schemeClr val="tx1">
                    <a:lumMod val="75000"/>
                    <a:lumOff val="25000"/>
                  </a:schemeClr>
                </a:solidFill>
              </a:rPr>
              <a:t>1</a:t>
            </a:r>
            <a:r>
              <a:rPr lang="cs-CZ" sz="1600" b="1" dirty="0">
                <a:solidFill>
                  <a:schemeClr val="tx1">
                    <a:lumMod val="75000"/>
                    <a:lumOff val="25000"/>
                  </a:schemeClr>
                </a:solidFill>
              </a:rPr>
              <a:t> passive-components.eu web </a:t>
            </a:r>
            <a:r>
              <a:rPr lang="en-GB" sz="1600" b="1" u="sng" dirty="0">
                <a:solidFill>
                  <a:schemeClr val="tx1">
                    <a:lumMod val="75000"/>
                    <a:lumOff val="25000"/>
                  </a:schemeClr>
                </a:solidFill>
              </a:rPr>
              <a:t>Mar 2021 </a:t>
            </a:r>
            <a:r>
              <a:rPr lang="cs-CZ" sz="1600" b="1" dirty="0">
                <a:solidFill>
                  <a:schemeClr val="tx1">
                    <a:lumMod val="75000"/>
                    <a:lumOff val="25000"/>
                  </a:schemeClr>
                </a:solidFill>
              </a:rPr>
              <a:t>profile:</a:t>
            </a:r>
          </a:p>
          <a:p>
            <a:endParaRPr lang="cs-CZ" sz="400" dirty="0">
              <a:solidFill>
                <a:schemeClr val="tx1">
                  <a:lumMod val="75000"/>
                  <a:lumOff val="25000"/>
                </a:schemeClr>
              </a:solidFill>
            </a:endParaRPr>
          </a:p>
          <a:p>
            <a:r>
              <a:rPr lang="en-GB" sz="1200" dirty="0">
                <a:solidFill>
                  <a:schemeClr val="tx1">
                    <a:lumMod val="75000"/>
                    <a:lumOff val="25000"/>
                  </a:schemeClr>
                </a:solidFill>
              </a:rPr>
              <a:t>	</a:t>
            </a:r>
            <a:r>
              <a:rPr lang="cs-CZ" sz="1200" dirty="0" err="1">
                <a:solidFill>
                  <a:schemeClr val="tx1">
                    <a:lumMod val="75000"/>
                    <a:lumOff val="25000"/>
                  </a:schemeClr>
                </a:solidFill>
              </a:rPr>
              <a:t>Active</a:t>
            </a:r>
            <a:r>
              <a:rPr lang="cs-CZ" sz="1200" dirty="0">
                <a:solidFill>
                  <a:schemeClr val="tx1">
                    <a:lumMod val="75000"/>
                    <a:lumOff val="25000"/>
                  </a:schemeClr>
                </a:solidFill>
              </a:rPr>
              <a:t> </a:t>
            </a:r>
            <a:r>
              <a:rPr lang="cs-CZ" sz="1200" dirty="0" err="1">
                <a:solidFill>
                  <a:schemeClr val="tx1">
                    <a:lumMod val="75000"/>
                    <a:lumOff val="25000"/>
                  </a:schemeClr>
                </a:solidFill>
              </a:rPr>
              <a:t>visitors</a:t>
            </a:r>
            <a:r>
              <a:rPr lang="cs-CZ" sz="1200" dirty="0">
                <a:solidFill>
                  <a:schemeClr val="tx1">
                    <a:lumMod val="75000"/>
                    <a:lumOff val="25000"/>
                  </a:schemeClr>
                </a:solidFill>
              </a:rPr>
              <a:t>: </a:t>
            </a:r>
            <a:r>
              <a:rPr lang="en-GB" sz="1200" dirty="0">
                <a:solidFill>
                  <a:schemeClr val="tx1">
                    <a:lumMod val="75000"/>
                    <a:lumOff val="25000"/>
                  </a:schemeClr>
                </a:solidFill>
              </a:rPr>
              <a:t>&gt;</a:t>
            </a:r>
            <a:r>
              <a:rPr lang="en-GB" sz="1200" b="1" dirty="0">
                <a:solidFill>
                  <a:schemeClr val="tx1">
                    <a:lumMod val="75000"/>
                    <a:lumOff val="25000"/>
                  </a:schemeClr>
                </a:solidFill>
              </a:rPr>
              <a:t>40K/month</a:t>
            </a:r>
            <a:endParaRPr lang="en-GB" sz="1200" dirty="0">
              <a:solidFill>
                <a:schemeClr val="tx1">
                  <a:lumMod val="75000"/>
                  <a:lumOff val="25000"/>
                </a:schemeClr>
              </a:solidFill>
            </a:endParaRPr>
          </a:p>
          <a:p>
            <a:r>
              <a:rPr lang="en-GB" sz="1200" dirty="0">
                <a:solidFill>
                  <a:schemeClr val="tx1">
                    <a:lumMod val="75000"/>
                    <a:lumOff val="25000"/>
                  </a:schemeClr>
                </a:solidFill>
              </a:rPr>
              <a:t>	</a:t>
            </a:r>
            <a:r>
              <a:rPr lang="cs-CZ" sz="1200" dirty="0">
                <a:solidFill>
                  <a:schemeClr val="tx1">
                    <a:lumMod val="75000"/>
                    <a:lumOff val="25000"/>
                  </a:schemeClr>
                </a:solidFill>
              </a:rPr>
              <a:t>Google </a:t>
            </a:r>
            <a:r>
              <a:rPr lang="cs-CZ" sz="1200" dirty="0" err="1">
                <a:solidFill>
                  <a:schemeClr val="tx1">
                    <a:lumMod val="75000"/>
                    <a:lumOff val="25000"/>
                  </a:schemeClr>
                </a:solidFill>
              </a:rPr>
              <a:t>Search</a:t>
            </a:r>
            <a:r>
              <a:rPr lang="en-GB" sz="1200" dirty="0">
                <a:solidFill>
                  <a:schemeClr val="tx1">
                    <a:lumMod val="75000"/>
                    <a:lumOff val="25000"/>
                  </a:schemeClr>
                </a:solidFill>
              </a:rPr>
              <a:t> </a:t>
            </a:r>
            <a:r>
              <a:rPr lang="cs-CZ" sz="1200" dirty="0" err="1">
                <a:solidFill>
                  <a:schemeClr val="tx1">
                    <a:lumMod val="75000"/>
                    <a:lumOff val="25000"/>
                  </a:schemeClr>
                </a:solidFill>
              </a:rPr>
              <a:t>views</a:t>
            </a:r>
            <a:r>
              <a:rPr lang="cs-CZ" sz="1200" dirty="0">
                <a:solidFill>
                  <a:schemeClr val="tx1">
                    <a:lumMod val="75000"/>
                    <a:lumOff val="25000"/>
                  </a:schemeClr>
                </a:solidFill>
              </a:rPr>
              <a:t>:  </a:t>
            </a:r>
            <a:r>
              <a:rPr lang="en-GB" sz="1200" b="1" dirty="0">
                <a:solidFill>
                  <a:schemeClr val="tx1">
                    <a:lumMod val="75000"/>
                    <a:lumOff val="25000"/>
                  </a:schemeClr>
                </a:solidFill>
              </a:rPr>
              <a:t>1.8 million views /month</a:t>
            </a:r>
            <a:endParaRPr lang="cs-CZ" sz="1200" b="1" dirty="0">
              <a:solidFill>
                <a:schemeClr val="tx1">
                  <a:lumMod val="75000"/>
                  <a:lumOff val="25000"/>
                </a:schemeClr>
              </a:solidFill>
            </a:endParaRPr>
          </a:p>
          <a:p>
            <a:r>
              <a:rPr lang="en-GB" sz="1200" dirty="0">
                <a:solidFill>
                  <a:schemeClr val="tx1">
                    <a:lumMod val="75000"/>
                    <a:lumOff val="25000"/>
                  </a:schemeClr>
                </a:solidFill>
              </a:rPr>
              <a:t>	G</a:t>
            </a:r>
            <a:r>
              <a:rPr lang="cs-CZ" sz="1200" dirty="0" err="1">
                <a:solidFill>
                  <a:schemeClr val="tx1">
                    <a:lumMod val="75000"/>
                    <a:lumOff val="25000"/>
                  </a:schemeClr>
                </a:solidFill>
              </a:rPr>
              <a:t>oogle</a:t>
            </a:r>
            <a:r>
              <a:rPr lang="cs-CZ" sz="1200" dirty="0">
                <a:solidFill>
                  <a:schemeClr val="tx1">
                    <a:lumMod val="75000"/>
                    <a:lumOff val="25000"/>
                  </a:schemeClr>
                </a:solidFill>
              </a:rPr>
              <a:t> </a:t>
            </a:r>
            <a:r>
              <a:rPr lang="cs-CZ" sz="1200" dirty="0" err="1">
                <a:solidFill>
                  <a:schemeClr val="tx1">
                    <a:lumMod val="75000"/>
                    <a:lumOff val="25000"/>
                  </a:schemeClr>
                </a:solidFill>
              </a:rPr>
              <a:t>Search</a:t>
            </a:r>
            <a:r>
              <a:rPr lang="en-GB" sz="1200" dirty="0">
                <a:solidFill>
                  <a:schemeClr val="tx1">
                    <a:lumMod val="75000"/>
                    <a:lumOff val="25000"/>
                  </a:schemeClr>
                </a:solidFill>
              </a:rPr>
              <a:t> clicks</a:t>
            </a:r>
            <a:r>
              <a:rPr lang="cs-CZ" sz="1200" dirty="0">
                <a:solidFill>
                  <a:schemeClr val="tx1">
                    <a:lumMod val="75000"/>
                    <a:lumOff val="25000"/>
                  </a:schemeClr>
                </a:solidFill>
              </a:rPr>
              <a:t>: </a:t>
            </a:r>
            <a:r>
              <a:rPr lang="en-GB" sz="1200" b="1" dirty="0">
                <a:solidFill>
                  <a:schemeClr val="tx1">
                    <a:lumMod val="75000"/>
                    <a:lumOff val="25000"/>
                  </a:schemeClr>
                </a:solidFill>
              </a:rPr>
              <a:t>35 thousands clicks / month</a:t>
            </a:r>
            <a:endParaRPr lang="cs-CZ" sz="1200" b="1" dirty="0">
              <a:solidFill>
                <a:schemeClr val="tx1">
                  <a:lumMod val="75000"/>
                  <a:lumOff val="25000"/>
                </a:schemeClr>
              </a:solidFill>
            </a:endParaRPr>
          </a:p>
          <a:p>
            <a:r>
              <a:rPr lang="en-GB" sz="1200" dirty="0">
                <a:solidFill>
                  <a:schemeClr val="tx1">
                    <a:lumMod val="75000"/>
                    <a:lumOff val="25000"/>
                  </a:schemeClr>
                </a:solidFill>
              </a:rPr>
              <a:t>	</a:t>
            </a:r>
            <a:r>
              <a:rPr lang="cs-CZ" sz="1200" dirty="0">
                <a:solidFill>
                  <a:schemeClr val="tx1">
                    <a:lumMod val="75000"/>
                    <a:lumOff val="25000"/>
                  </a:schemeClr>
                </a:solidFill>
              </a:rPr>
              <a:t>Newsletter: </a:t>
            </a:r>
            <a:r>
              <a:rPr lang="en-GB" sz="1200" dirty="0">
                <a:solidFill>
                  <a:schemeClr val="tx1">
                    <a:lumMod val="75000"/>
                    <a:lumOff val="25000"/>
                  </a:schemeClr>
                </a:solidFill>
              </a:rPr>
              <a:t>&gt; </a:t>
            </a:r>
            <a:r>
              <a:rPr lang="en-GB" sz="1200" b="1" dirty="0">
                <a:solidFill>
                  <a:schemeClr val="tx1">
                    <a:lumMod val="75000"/>
                    <a:lumOff val="25000"/>
                  </a:schemeClr>
                </a:solidFill>
              </a:rPr>
              <a:t>65</a:t>
            </a:r>
            <a:r>
              <a:rPr lang="cs-CZ" sz="1200" b="1" dirty="0">
                <a:solidFill>
                  <a:schemeClr val="tx1">
                    <a:lumMod val="75000"/>
                    <a:lumOff val="25000"/>
                  </a:schemeClr>
                </a:solidFill>
              </a:rPr>
              <a:t>0</a:t>
            </a:r>
            <a:r>
              <a:rPr lang="cs-CZ" sz="1200" dirty="0">
                <a:solidFill>
                  <a:schemeClr val="tx1">
                    <a:lumMod val="75000"/>
                    <a:lumOff val="25000"/>
                  </a:schemeClr>
                </a:solidFill>
              </a:rPr>
              <a:t> </a:t>
            </a:r>
            <a:r>
              <a:rPr lang="en-GB" sz="1200" dirty="0">
                <a:solidFill>
                  <a:schemeClr val="tx1">
                    <a:lumMod val="75000"/>
                    <a:lumOff val="25000"/>
                  </a:schemeClr>
                </a:solidFill>
              </a:rPr>
              <a:t>subscribers related to passive components</a:t>
            </a:r>
          </a:p>
          <a:p>
            <a:r>
              <a:rPr lang="en-GB" sz="1200" dirty="0">
                <a:solidFill>
                  <a:schemeClr val="tx1">
                    <a:lumMod val="75000"/>
                    <a:lumOff val="25000"/>
                  </a:schemeClr>
                </a:solidFill>
              </a:rPr>
              <a:t>	Top countries: </a:t>
            </a:r>
            <a:r>
              <a:rPr lang="en-GB" sz="1100" dirty="0">
                <a:solidFill>
                  <a:schemeClr val="tx1">
                    <a:lumMod val="75000"/>
                    <a:lumOff val="25000"/>
                  </a:schemeClr>
                </a:solidFill>
              </a:rPr>
              <a:t>USA, India, Germany, </a:t>
            </a:r>
            <a:r>
              <a:rPr lang="cs-CZ" sz="1100" dirty="0">
                <a:solidFill>
                  <a:schemeClr val="tx1">
                    <a:lumMod val="75000"/>
                    <a:lumOff val="25000"/>
                  </a:schemeClr>
                </a:solidFill>
              </a:rPr>
              <a:t>UK, </a:t>
            </a:r>
            <a:r>
              <a:rPr lang="cs-CZ" sz="1100" dirty="0" err="1">
                <a:solidFill>
                  <a:schemeClr val="tx1">
                    <a:lumMod val="75000"/>
                    <a:lumOff val="25000"/>
                  </a:schemeClr>
                </a:solidFill>
              </a:rPr>
              <a:t>Canada</a:t>
            </a:r>
            <a:r>
              <a:rPr lang="cs-CZ" sz="1100" dirty="0">
                <a:solidFill>
                  <a:schemeClr val="tx1">
                    <a:lumMod val="75000"/>
                    <a:lumOff val="25000"/>
                  </a:schemeClr>
                </a:solidFill>
              </a:rPr>
              <a:t>, </a:t>
            </a:r>
            <a:r>
              <a:rPr lang="en-GB" sz="1100" dirty="0">
                <a:solidFill>
                  <a:schemeClr val="tx1">
                    <a:lumMod val="75000"/>
                    <a:lumOff val="25000"/>
                  </a:schemeClr>
                </a:solidFill>
              </a:rPr>
              <a:t>France</a:t>
            </a:r>
            <a:r>
              <a:rPr lang="cs-CZ" sz="1100" dirty="0">
                <a:solidFill>
                  <a:schemeClr val="tx1">
                    <a:lumMod val="75000"/>
                    <a:lumOff val="25000"/>
                  </a:schemeClr>
                </a:solidFill>
              </a:rPr>
              <a:t>, </a:t>
            </a:r>
            <a:r>
              <a:rPr lang="cs-CZ" sz="1100" dirty="0" err="1">
                <a:solidFill>
                  <a:schemeClr val="tx1">
                    <a:lumMod val="75000"/>
                    <a:lumOff val="25000"/>
                  </a:schemeClr>
                </a:solidFill>
              </a:rPr>
              <a:t>Sweden</a:t>
            </a:r>
            <a:endParaRPr lang="en-GB" sz="1100" dirty="0">
              <a:solidFill>
                <a:schemeClr val="tx1">
                  <a:lumMod val="75000"/>
                  <a:lumOff val="25000"/>
                </a:schemeClr>
              </a:solidFill>
            </a:endParaRPr>
          </a:p>
        </p:txBody>
      </p:sp>
      <p:pic>
        <p:nvPicPr>
          <p:cNvPr id="16" name="Picture 3" descr="Europ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20910438">
            <a:off x="7867816" y="4997868"/>
            <a:ext cx="841310" cy="82321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America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20910438">
            <a:off x="9247620" y="4974082"/>
            <a:ext cx="841310" cy="84131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 descr="Asia"/>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20910438">
            <a:off x="10681356" y="4943165"/>
            <a:ext cx="841310" cy="850356"/>
          </a:xfrm>
          <a:prstGeom prst="rect">
            <a:avLst/>
          </a:prstGeom>
          <a:noFill/>
          <a:extLst>
            <a:ext uri="{909E8E84-426E-40DD-AFC4-6F175D3DCCD1}">
              <a14:hiddenFill xmlns:a14="http://schemas.microsoft.com/office/drawing/2010/main">
                <a:solidFill>
                  <a:srgbClr val="FFFFFF"/>
                </a:solidFill>
              </a14:hiddenFill>
            </a:ext>
          </a:extLst>
        </p:spPr>
      </p:pic>
      <p:sp>
        <p:nvSpPr>
          <p:cNvPr id="19" name="TextovéPole 18"/>
          <p:cNvSpPr txBox="1"/>
          <p:nvPr/>
        </p:nvSpPr>
        <p:spPr>
          <a:xfrm rot="20910438">
            <a:off x="7899857" y="5785838"/>
            <a:ext cx="814176" cy="430887"/>
          </a:xfrm>
          <a:prstGeom prst="rect">
            <a:avLst/>
          </a:prstGeom>
          <a:noFill/>
        </p:spPr>
        <p:txBody>
          <a:bodyPr wrap="square" rtlCol="0">
            <a:spAutoFit/>
          </a:bodyPr>
          <a:lstStyle/>
          <a:p>
            <a:r>
              <a:rPr lang="en-GB" sz="1100" dirty="0"/>
              <a:t>Europe 3</a:t>
            </a:r>
            <a:r>
              <a:rPr lang="cs-CZ" sz="1100" dirty="0"/>
              <a:t>0</a:t>
            </a:r>
            <a:r>
              <a:rPr lang="en-GB" sz="1100" dirty="0"/>
              <a:t>%</a:t>
            </a:r>
            <a:endParaRPr lang="cs-CZ" sz="1100" dirty="0"/>
          </a:p>
        </p:txBody>
      </p:sp>
      <p:sp>
        <p:nvSpPr>
          <p:cNvPr id="20" name="TextovéPole 19"/>
          <p:cNvSpPr txBox="1"/>
          <p:nvPr/>
        </p:nvSpPr>
        <p:spPr>
          <a:xfrm rot="20910438">
            <a:off x="9335170" y="5780466"/>
            <a:ext cx="923389" cy="430887"/>
          </a:xfrm>
          <a:prstGeom prst="rect">
            <a:avLst/>
          </a:prstGeom>
          <a:noFill/>
        </p:spPr>
        <p:txBody>
          <a:bodyPr wrap="square" rtlCol="0">
            <a:spAutoFit/>
          </a:bodyPr>
          <a:lstStyle/>
          <a:p>
            <a:r>
              <a:rPr lang="en-GB" sz="1100" dirty="0"/>
              <a:t>Americas 3</a:t>
            </a:r>
            <a:r>
              <a:rPr lang="cs-CZ" sz="1100" dirty="0"/>
              <a:t>2</a:t>
            </a:r>
            <a:r>
              <a:rPr lang="en-GB" sz="1100" dirty="0"/>
              <a:t>%</a:t>
            </a:r>
            <a:endParaRPr lang="cs-CZ" sz="1100" dirty="0"/>
          </a:p>
        </p:txBody>
      </p:sp>
      <p:sp>
        <p:nvSpPr>
          <p:cNvPr id="21" name="TextovéPole 20"/>
          <p:cNvSpPr txBox="1"/>
          <p:nvPr/>
        </p:nvSpPr>
        <p:spPr>
          <a:xfrm rot="20910438">
            <a:off x="10935801" y="5750269"/>
            <a:ext cx="651101" cy="430887"/>
          </a:xfrm>
          <a:prstGeom prst="rect">
            <a:avLst/>
          </a:prstGeom>
          <a:noFill/>
        </p:spPr>
        <p:txBody>
          <a:bodyPr wrap="square" rtlCol="0">
            <a:spAutoFit/>
          </a:bodyPr>
          <a:lstStyle/>
          <a:p>
            <a:r>
              <a:rPr lang="en-GB" sz="1100" dirty="0"/>
              <a:t>Asia </a:t>
            </a:r>
            <a:r>
              <a:rPr lang="cs-CZ" sz="1100" dirty="0"/>
              <a:t>31</a:t>
            </a:r>
            <a:r>
              <a:rPr lang="en-GB" sz="1100" dirty="0"/>
              <a:t>%</a:t>
            </a:r>
            <a:endParaRPr lang="cs-CZ" sz="1100" dirty="0"/>
          </a:p>
        </p:txBody>
      </p:sp>
      <p:sp>
        <p:nvSpPr>
          <p:cNvPr id="23" name="TextovéPole 22"/>
          <p:cNvSpPr txBox="1"/>
          <p:nvPr/>
        </p:nvSpPr>
        <p:spPr>
          <a:xfrm>
            <a:off x="1395725" y="930550"/>
            <a:ext cx="8751370" cy="1107996"/>
          </a:xfrm>
          <a:prstGeom prst="rect">
            <a:avLst/>
          </a:prstGeom>
          <a:noFill/>
        </p:spPr>
        <p:txBody>
          <a:bodyPr wrap="none" rtlCol="0">
            <a:spAutoFit/>
          </a:bodyPr>
          <a:lstStyle/>
          <a:p>
            <a:r>
              <a:rPr lang="cs-CZ" sz="6600" b="1" dirty="0">
                <a:solidFill>
                  <a:srgbClr val="0070C0"/>
                </a:solidFill>
              </a:rPr>
              <a:t>EPCI </a:t>
            </a:r>
            <a:r>
              <a:rPr lang="cs-CZ" sz="3200" b="1" dirty="0" err="1">
                <a:solidFill>
                  <a:schemeClr val="tx1">
                    <a:lumMod val="50000"/>
                    <a:lumOff val="50000"/>
                  </a:schemeClr>
                </a:solidFill>
              </a:rPr>
              <a:t>European</a:t>
            </a:r>
            <a:r>
              <a:rPr lang="cs-CZ" sz="3200" b="1" dirty="0">
                <a:solidFill>
                  <a:schemeClr val="tx1">
                    <a:lumMod val="50000"/>
                    <a:lumOff val="50000"/>
                  </a:schemeClr>
                </a:solidFill>
              </a:rPr>
              <a:t> </a:t>
            </a:r>
            <a:r>
              <a:rPr lang="cs-CZ" sz="3200" b="1" dirty="0" err="1">
                <a:solidFill>
                  <a:schemeClr val="tx1">
                    <a:lumMod val="50000"/>
                    <a:lumOff val="50000"/>
                  </a:schemeClr>
                </a:solidFill>
              </a:rPr>
              <a:t>Passive</a:t>
            </a:r>
            <a:r>
              <a:rPr lang="cs-CZ" sz="3200" b="1" dirty="0">
                <a:solidFill>
                  <a:schemeClr val="tx1">
                    <a:lumMod val="50000"/>
                    <a:lumOff val="50000"/>
                  </a:schemeClr>
                </a:solidFill>
              </a:rPr>
              <a:t> </a:t>
            </a:r>
            <a:r>
              <a:rPr lang="cs-CZ" sz="3200" b="1" dirty="0" err="1">
                <a:solidFill>
                  <a:schemeClr val="tx1">
                    <a:lumMod val="50000"/>
                    <a:lumOff val="50000"/>
                  </a:schemeClr>
                </a:solidFill>
              </a:rPr>
              <a:t>Components</a:t>
            </a:r>
            <a:r>
              <a:rPr lang="cs-CZ" sz="3200" b="1" dirty="0">
                <a:solidFill>
                  <a:schemeClr val="tx1">
                    <a:lumMod val="50000"/>
                    <a:lumOff val="50000"/>
                  </a:schemeClr>
                </a:solidFill>
              </a:rPr>
              <a:t> Institute </a:t>
            </a:r>
            <a:endParaRPr lang="cs-CZ" sz="6600" b="1" dirty="0">
              <a:solidFill>
                <a:schemeClr val="tx1">
                  <a:lumMod val="50000"/>
                  <a:lumOff val="50000"/>
                </a:schemeClr>
              </a:solidFill>
            </a:endParaRPr>
          </a:p>
        </p:txBody>
      </p:sp>
      <p:sp>
        <p:nvSpPr>
          <p:cNvPr id="9" name="TextovéPole 8">
            <a:extLst>
              <a:ext uri="{FF2B5EF4-FFF2-40B4-BE49-F238E27FC236}">
                <a16:creationId xmlns:a16="http://schemas.microsoft.com/office/drawing/2014/main" id="{3E0D3C89-33F7-4BDD-89B9-783A69975812}"/>
              </a:ext>
            </a:extLst>
          </p:cNvPr>
          <p:cNvSpPr txBox="1"/>
          <p:nvPr/>
        </p:nvSpPr>
        <p:spPr>
          <a:xfrm rot="21143390">
            <a:off x="7989875" y="1915203"/>
            <a:ext cx="3884397" cy="461665"/>
          </a:xfrm>
          <a:prstGeom prst="rect">
            <a:avLst/>
          </a:prstGeom>
          <a:noFill/>
        </p:spPr>
        <p:txBody>
          <a:bodyPr wrap="none" rtlCol="0">
            <a:spAutoFit/>
          </a:bodyPr>
          <a:lstStyle/>
          <a:p>
            <a:r>
              <a:rPr lang="cs-CZ" sz="2400" b="1" dirty="0" err="1">
                <a:solidFill>
                  <a:srgbClr val="0070C0"/>
                </a:solidFill>
                <a:latin typeface="Segoe Print" panose="02000600000000000000" pitchFamily="2" charset="0"/>
              </a:rPr>
              <a:t>be</a:t>
            </a:r>
            <a:r>
              <a:rPr lang="cs-CZ" sz="2400" b="1" dirty="0">
                <a:solidFill>
                  <a:srgbClr val="0070C0"/>
                </a:solidFill>
                <a:latin typeface="Segoe Print" panose="02000600000000000000" pitchFamily="2" charset="0"/>
              </a:rPr>
              <a:t> </a:t>
            </a:r>
            <a:r>
              <a:rPr lang="cs-CZ" sz="2400" b="1" dirty="0" err="1">
                <a:solidFill>
                  <a:srgbClr val="0070C0"/>
                </a:solidFill>
                <a:latin typeface="Segoe Print" panose="02000600000000000000" pitchFamily="2" charset="0"/>
              </a:rPr>
              <a:t>active</a:t>
            </a:r>
            <a:r>
              <a:rPr lang="cs-CZ" sz="2400" b="1" dirty="0">
                <a:solidFill>
                  <a:srgbClr val="0070C0"/>
                </a:solidFill>
                <a:latin typeface="Segoe Print" panose="02000600000000000000" pitchFamily="2" charset="0"/>
              </a:rPr>
              <a:t> </a:t>
            </a:r>
            <a:r>
              <a:rPr lang="cs-CZ" sz="2400" b="1" dirty="0" err="1">
                <a:solidFill>
                  <a:srgbClr val="0070C0"/>
                </a:solidFill>
                <a:latin typeface="Segoe Print" panose="02000600000000000000" pitchFamily="2" charset="0"/>
              </a:rPr>
              <a:t>with</a:t>
            </a:r>
            <a:r>
              <a:rPr lang="cs-CZ" sz="2400" b="1" dirty="0">
                <a:solidFill>
                  <a:srgbClr val="0070C0"/>
                </a:solidFill>
                <a:latin typeface="Segoe Print" panose="02000600000000000000" pitchFamily="2" charset="0"/>
              </a:rPr>
              <a:t> </a:t>
            </a:r>
            <a:r>
              <a:rPr lang="cs-CZ" sz="2400" b="1" dirty="0" err="1">
                <a:solidFill>
                  <a:srgbClr val="0070C0"/>
                </a:solidFill>
                <a:latin typeface="Segoe Print" panose="02000600000000000000" pitchFamily="2" charset="0"/>
              </a:rPr>
              <a:t>passives</a:t>
            </a:r>
            <a:r>
              <a:rPr lang="cs-CZ" sz="2400" b="1" dirty="0">
                <a:solidFill>
                  <a:srgbClr val="0070C0"/>
                </a:solidFill>
                <a:latin typeface="Segoe Print" panose="02000600000000000000" pitchFamily="2" charset="0"/>
              </a:rPr>
              <a:t> !</a:t>
            </a:r>
          </a:p>
        </p:txBody>
      </p:sp>
      <p:sp>
        <p:nvSpPr>
          <p:cNvPr id="10" name="Rectangle 94">
            <a:extLst>
              <a:ext uri="{FF2B5EF4-FFF2-40B4-BE49-F238E27FC236}">
                <a16:creationId xmlns:a16="http://schemas.microsoft.com/office/drawing/2014/main" id="{FA449620-F434-4744-A240-B56B6254FA31}"/>
              </a:ext>
            </a:extLst>
          </p:cNvPr>
          <p:cNvSpPr/>
          <p:nvPr/>
        </p:nvSpPr>
        <p:spPr>
          <a:xfrm>
            <a:off x="0" y="-17702"/>
            <a:ext cx="12192001" cy="10800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82">
            <a:extLst>
              <a:ext uri="{FF2B5EF4-FFF2-40B4-BE49-F238E27FC236}">
                <a16:creationId xmlns:a16="http://schemas.microsoft.com/office/drawing/2014/main" id="{C3234875-DD94-4524-8019-1D51FDC538D3}"/>
              </a:ext>
            </a:extLst>
          </p:cNvPr>
          <p:cNvSpPr txBox="1"/>
          <p:nvPr/>
        </p:nvSpPr>
        <p:spPr>
          <a:xfrm>
            <a:off x="304263" y="200887"/>
            <a:ext cx="11583472" cy="584775"/>
          </a:xfrm>
          <a:prstGeom prst="rect">
            <a:avLst/>
          </a:prstGeom>
          <a:noFill/>
        </p:spPr>
        <p:txBody>
          <a:bodyPr wrap="square" rtlCol="0">
            <a:spAutoFit/>
          </a:bodyPr>
          <a:lstStyle/>
          <a:p>
            <a:r>
              <a:rPr lang="cs-CZ" sz="3200" b="1" dirty="0" err="1">
                <a:solidFill>
                  <a:schemeClr val="bg2"/>
                </a:solidFill>
                <a:latin typeface="+mj-lt"/>
              </a:rPr>
              <a:t>Introduction</a:t>
            </a:r>
            <a:r>
              <a:rPr lang="cs-CZ" sz="3200" b="1" dirty="0">
                <a:solidFill>
                  <a:schemeClr val="bg2"/>
                </a:solidFill>
                <a:latin typeface="+mj-lt"/>
              </a:rPr>
              <a:t> – EPCI</a:t>
            </a:r>
            <a:endParaRPr lang="en-US" sz="3200" dirty="0">
              <a:solidFill>
                <a:schemeClr val="tx2"/>
              </a:solidFill>
            </a:endParaRPr>
          </a:p>
        </p:txBody>
      </p:sp>
      <p:sp>
        <p:nvSpPr>
          <p:cNvPr id="12" name="TextovéPole 11">
            <a:extLst>
              <a:ext uri="{FF2B5EF4-FFF2-40B4-BE49-F238E27FC236}">
                <a16:creationId xmlns:a16="http://schemas.microsoft.com/office/drawing/2014/main" id="{8C002765-94B6-40BE-9547-8F27EFBE58FC}"/>
              </a:ext>
            </a:extLst>
          </p:cNvPr>
          <p:cNvSpPr txBox="1"/>
          <p:nvPr/>
        </p:nvSpPr>
        <p:spPr>
          <a:xfrm>
            <a:off x="3853821" y="3128918"/>
            <a:ext cx="2444900" cy="600164"/>
          </a:xfrm>
          <a:prstGeom prst="rect">
            <a:avLst/>
          </a:prstGeom>
          <a:noFill/>
        </p:spPr>
        <p:txBody>
          <a:bodyPr wrap="none" rtlCol="0">
            <a:spAutoFit/>
          </a:bodyPr>
          <a:lstStyle/>
          <a:p>
            <a:r>
              <a:rPr lang="en-GB" sz="1100" b="1" dirty="0">
                <a:solidFill>
                  <a:schemeClr val="tx1">
                    <a:lumMod val="75000"/>
                    <a:lumOff val="25000"/>
                  </a:schemeClr>
                </a:solidFill>
              </a:rPr>
              <a:t>WHO is WHO in Passives</a:t>
            </a:r>
          </a:p>
          <a:p>
            <a:r>
              <a:rPr lang="en-GB" sz="1100" dirty="0">
                <a:solidFill>
                  <a:schemeClr val="tx1">
                    <a:lumMod val="75000"/>
                    <a:lumOff val="25000"/>
                  </a:schemeClr>
                </a:solidFill>
              </a:rPr>
              <a:t>free online database of global passive</a:t>
            </a:r>
          </a:p>
          <a:p>
            <a:r>
              <a:rPr lang="en-GB" sz="1100" dirty="0">
                <a:solidFill>
                  <a:schemeClr val="tx1">
                    <a:lumMod val="75000"/>
                    <a:lumOff val="25000"/>
                  </a:schemeClr>
                </a:solidFill>
              </a:rPr>
              <a:t>components manufacturers &amp; suppliers</a:t>
            </a:r>
            <a:endParaRPr lang="cs-CZ" sz="1100" dirty="0">
              <a:solidFill>
                <a:schemeClr val="tx1">
                  <a:lumMod val="75000"/>
                  <a:lumOff val="25000"/>
                </a:schemeClr>
              </a:solidFill>
            </a:endParaRPr>
          </a:p>
        </p:txBody>
      </p:sp>
      <p:pic>
        <p:nvPicPr>
          <p:cNvPr id="34" name="Obrázek 33">
            <a:extLst>
              <a:ext uri="{FF2B5EF4-FFF2-40B4-BE49-F238E27FC236}">
                <a16:creationId xmlns:a16="http://schemas.microsoft.com/office/drawing/2014/main" id="{6E090AE7-5B1C-44ED-A494-5C3F52B0EB7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78918" y="2926825"/>
            <a:ext cx="1333399" cy="975934"/>
          </a:xfrm>
          <a:prstGeom prst="rect">
            <a:avLst/>
          </a:prstGeom>
        </p:spPr>
      </p:pic>
      <p:pic>
        <p:nvPicPr>
          <p:cNvPr id="40" name="Obrázek 39" descr="Obsah obrázku text&#10;&#10;Popis byl vytvořen automaticky">
            <a:extLst>
              <a:ext uri="{FF2B5EF4-FFF2-40B4-BE49-F238E27FC236}">
                <a16:creationId xmlns:a16="http://schemas.microsoft.com/office/drawing/2014/main" id="{9C4771F0-8287-4845-9159-FAF564D254C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929816" y="81407"/>
            <a:ext cx="5040568" cy="885918"/>
          </a:xfrm>
          <a:prstGeom prst="rect">
            <a:avLst/>
          </a:prstGeom>
        </p:spPr>
      </p:pic>
      <p:pic>
        <p:nvPicPr>
          <p:cNvPr id="24" name="Obrázek 2"/>
          <p:cNvPicPr>
            <a:picLocks noChangeAspect="1"/>
          </p:cNvPicPr>
          <p:nvPr/>
        </p:nvPicPr>
        <p:blipFill>
          <a:blip r:embed="rId10" cstate="print">
            <a:extLst>
              <a:ext uri="{28A0092B-C50C-407E-A947-70E740481C1C}">
                <a14:useLocalDpi xmlns:a14="http://schemas.microsoft.com/office/drawing/2010/main" val="0"/>
              </a:ext>
            </a:extLst>
          </a:blip>
          <a:srcRect t="29018" b="26924"/>
          <a:stretch>
            <a:fillRect/>
          </a:stretch>
        </p:blipFill>
        <p:spPr bwMode="auto">
          <a:xfrm>
            <a:off x="10147095" y="848634"/>
            <a:ext cx="888567" cy="40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Obrázek 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653642" y="102357"/>
            <a:ext cx="892386" cy="903046"/>
          </a:xfrm>
          <a:prstGeom prst="rect">
            <a:avLst/>
          </a:prstGeom>
        </p:spPr>
      </p:pic>
      <p:sp>
        <p:nvSpPr>
          <p:cNvPr id="41" name="TextovéPole 40">
            <a:extLst>
              <a:ext uri="{FF2B5EF4-FFF2-40B4-BE49-F238E27FC236}">
                <a16:creationId xmlns:a16="http://schemas.microsoft.com/office/drawing/2014/main" id="{1A107BFA-B7D0-45C3-83AA-B1038DC6BCF0}"/>
              </a:ext>
            </a:extLst>
          </p:cNvPr>
          <p:cNvSpPr txBox="1"/>
          <p:nvPr/>
        </p:nvSpPr>
        <p:spPr>
          <a:xfrm>
            <a:off x="5664151" y="4054978"/>
            <a:ext cx="5892898" cy="769441"/>
          </a:xfrm>
          <a:prstGeom prst="rect">
            <a:avLst/>
          </a:prstGeom>
          <a:noFill/>
        </p:spPr>
        <p:txBody>
          <a:bodyPr wrap="square" rtlCol="0">
            <a:spAutoFit/>
          </a:bodyPr>
          <a:lstStyle/>
          <a:p>
            <a:r>
              <a:rPr lang="en-GB" sz="2800" u="sng" dirty="0">
                <a:solidFill>
                  <a:srgbClr val="0070C0"/>
                </a:solidFill>
                <a:latin typeface="Arial Black" panose="020B0A04020102020204" pitchFamily="34" charset="0"/>
                <a:hlinkClick r:id="rId12"/>
              </a:rPr>
              <a:t>www.passive-components.eu</a:t>
            </a:r>
            <a:r>
              <a:rPr lang="en-GB" sz="2800" dirty="0">
                <a:solidFill>
                  <a:srgbClr val="0070C0"/>
                </a:solidFill>
                <a:latin typeface="Arial Black" panose="020B0A04020102020204" pitchFamily="34" charset="0"/>
              </a:rPr>
              <a:t> </a:t>
            </a:r>
            <a:r>
              <a:rPr lang="en-GB" sz="1600" dirty="0">
                <a:solidFill>
                  <a:srgbClr val="0070C0"/>
                </a:solidFill>
              </a:rPr>
              <a:t>| Passive Components Educational &amp; Information Blog </a:t>
            </a:r>
            <a:endParaRPr lang="cs-CZ" sz="2800" dirty="0">
              <a:solidFill>
                <a:srgbClr val="0070C0"/>
              </a:solidFill>
            </a:endParaRPr>
          </a:p>
        </p:txBody>
      </p:sp>
      <p:sp>
        <p:nvSpPr>
          <p:cNvPr id="25" name="TextovéPole 24">
            <a:extLst>
              <a:ext uri="{FF2B5EF4-FFF2-40B4-BE49-F238E27FC236}">
                <a16:creationId xmlns:a16="http://schemas.microsoft.com/office/drawing/2014/main" id="{779CA51E-3B74-4F76-BAE0-CF0C8C22D40D}"/>
              </a:ext>
            </a:extLst>
          </p:cNvPr>
          <p:cNvSpPr txBox="1"/>
          <p:nvPr/>
        </p:nvSpPr>
        <p:spPr>
          <a:xfrm>
            <a:off x="1812745" y="4272938"/>
            <a:ext cx="3090587" cy="600164"/>
          </a:xfrm>
          <a:prstGeom prst="rect">
            <a:avLst/>
          </a:prstGeom>
          <a:noFill/>
        </p:spPr>
        <p:txBody>
          <a:bodyPr wrap="square" rtlCol="0">
            <a:spAutoFit/>
          </a:bodyPr>
          <a:lstStyle/>
          <a:p>
            <a:r>
              <a:rPr lang="en-GB" sz="1100" b="1" dirty="0">
                <a:solidFill>
                  <a:schemeClr val="tx1">
                    <a:lumMod val="75000"/>
                    <a:lumOff val="25000"/>
                  </a:schemeClr>
                </a:solidFill>
              </a:rPr>
              <a:t>EPCI Academy</a:t>
            </a:r>
          </a:p>
          <a:p>
            <a:r>
              <a:rPr lang="en-GB" sz="1100" dirty="0">
                <a:solidFill>
                  <a:schemeClr val="tx1">
                    <a:lumMod val="75000"/>
                    <a:lumOff val="25000"/>
                  </a:schemeClr>
                </a:solidFill>
              </a:rPr>
              <a:t>from student level to professional certified online e-learning courses on passive components</a:t>
            </a:r>
            <a:endParaRPr lang="cs-CZ" sz="1100" dirty="0">
              <a:solidFill>
                <a:schemeClr val="tx1">
                  <a:lumMod val="75000"/>
                  <a:lumOff val="25000"/>
                </a:schemeClr>
              </a:solidFill>
            </a:endParaRPr>
          </a:p>
        </p:txBody>
      </p:sp>
      <p:pic>
        <p:nvPicPr>
          <p:cNvPr id="26" name="Obrázek 25">
            <a:extLst>
              <a:ext uri="{FF2B5EF4-FFF2-40B4-BE49-F238E27FC236}">
                <a16:creationId xmlns:a16="http://schemas.microsoft.com/office/drawing/2014/main" id="{9500A2DE-0C0A-4E5F-A112-91AAD8399D2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19515" y="3896978"/>
            <a:ext cx="1143002" cy="976124"/>
          </a:xfrm>
          <a:prstGeom prst="rect">
            <a:avLst/>
          </a:prstGeom>
        </p:spPr>
      </p:pic>
      <p:sp>
        <p:nvSpPr>
          <p:cNvPr id="27" name="TextovéPole 26">
            <a:extLst>
              <a:ext uri="{FF2B5EF4-FFF2-40B4-BE49-F238E27FC236}">
                <a16:creationId xmlns:a16="http://schemas.microsoft.com/office/drawing/2014/main" id="{B395BE5D-1D34-419B-818B-1CF5C1CA7FF7}"/>
              </a:ext>
            </a:extLst>
          </p:cNvPr>
          <p:cNvSpPr txBox="1"/>
          <p:nvPr/>
        </p:nvSpPr>
        <p:spPr>
          <a:xfrm>
            <a:off x="1771627" y="3839958"/>
            <a:ext cx="3492061" cy="369332"/>
          </a:xfrm>
          <a:prstGeom prst="rect">
            <a:avLst/>
          </a:prstGeom>
          <a:noFill/>
        </p:spPr>
        <p:txBody>
          <a:bodyPr wrap="square">
            <a:spAutoFit/>
          </a:bodyPr>
          <a:lstStyle/>
          <a:p>
            <a:r>
              <a:rPr lang="en-GB" sz="1800" u="sng" dirty="0">
                <a:solidFill>
                  <a:srgbClr val="0070C0"/>
                </a:solidFill>
                <a:latin typeface="Arial Black" panose="020B0A04020102020204" pitchFamily="34" charset="0"/>
                <a:hlinkClick r:id="rId12"/>
              </a:rPr>
              <a:t>www.epci-academy.</a:t>
            </a:r>
            <a:r>
              <a:rPr lang="en-GB" sz="1800" u="sng" dirty="0">
                <a:solidFill>
                  <a:srgbClr val="0070C0"/>
                </a:solidFill>
                <a:latin typeface="Arial Black" panose="020B0A04020102020204" pitchFamily="34" charset="0"/>
              </a:rPr>
              <a:t>com</a:t>
            </a:r>
            <a:r>
              <a:rPr lang="en-GB" sz="1800" dirty="0">
                <a:solidFill>
                  <a:srgbClr val="0070C0"/>
                </a:solidFill>
                <a:latin typeface="Arial Black" panose="020B0A04020102020204" pitchFamily="34" charset="0"/>
              </a:rPr>
              <a:t> </a:t>
            </a:r>
            <a:endParaRPr lang="cs-CZ" dirty="0"/>
          </a:p>
        </p:txBody>
      </p:sp>
      <p:sp>
        <p:nvSpPr>
          <p:cNvPr id="5" name="Zástupný symbol pro číslo snímku 4">
            <a:extLst>
              <a:ext uri="{FF2B5EF4-FFF2-40B4-BE49-F238E27FC236}">
                <a16:creationId xmlns:a16="http://schemas.microsoft.com/office/drawing/2014/main" id="{E2BEB5B8-2F82-41EB-8989-098F307E9EF4}"/>
              </a:ext>
            </a:extLst>
          </p:cNvPr>
          <p:cNvSpPr>
            <a:spLocks noGrp="1"/>
          </p:cNvSpPr>
          <p:nvPr>
            <p:ph type="sldNum" sz="quarter" idx="12"/>
          </p:nvPr>
        </p:nvSpPr>
        <p:spPr/>
        <p:txBody>
          <a:bodyPr/>
          <a:lstStyle/>
          <a:p>
            <a:fld id="{87170177-53BE-4EA4-8CC9-5D64EAB74717}" type="slidenum">
              <a:rPr lang="cs-CZ" sz="900" smtClean="0"/>
              <a:t>3</a:t>
            </a:fld>
            <a:endParaRPr lang="cs-CZ" sz="900" dirty="0"/>
          </a:p>
        </p:txBody>
      </p:sp>
      <p:pic>
        <p:nvPicPr>
          <p:cNvPr id="6" name="Obrázek 5">
            <a:extLst>
              <a:ext uri="{FF2B5EF4-FFF2-40B4-BE49-F238E27FC236}">
                <a16:creationId xmlns:a16="http://schemas.microsoft.com/office/drawing/2014/main" id="{8C3AF728-ACCB-4B6C-BE22-AE916DD7EE45}"/>
              </a:ext>
            </a:extLst>
          </p:cNvPr>
          <p:cNvPicPr>
            <a:picLocks noChangeAspect="1"/>
          </p:cNvPicPr>
          <p:nvPr/>
        </p:nvPicPr>
        <p:blipFill>
          <a:blip r:embed="rId14"/>
          <a:stretch>
            <a:fillRect/>
          </a:stretch>
        </p:blipFill>
        <p:spPr>
          <a:xfrm>
            <a:off x="360234" y="2038546"/>
            <a:ext cx="2987040" cy="1539240"/>
          </a:xfrm>
          <a:prstGeom prst="rect">
            <a:avLst/>
          </a:prstGeom>
        </p:spPr>
      </p:pic>
      <p:sp>
        <p:nvSpPr>
          <p:cNvPr id="28" name="Zástupný symbol pro zápatí 2">
            <a:extLst>
              <a:ext uri="{FF2B5EF4-FFF2-40B4-BE49-F238E27FC236}">
                <a16:creationId xmlns:a16="http://schemas.microsoft.com/office/drawing/2014/main" id="{DA5B28D9-6770-4270-B05C-F5E876C4CCDE}"/>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7" name="Zvuk 6">
            <a:hlinkClick r:id="" action="ppaction://media"/>
            <a:extLst>
              <a:ext uri="{FF2B5EF4-FFF2-40B4-BE49-F238E27FC236}">
                <a16:creationId xmlns:a16="http://schemas.microsoft.com/office/drawing/2014/main" id="{2D8DF81F-6FE5-43AD-9A2C-3EFBF286CCDF}"/>
              </a:ext>
            </a:extLst>
          </p:cNvPr>
          <p:cNvPicPr>
            <a:picLocks noChangeAspect="1"/>
          </p:cNvPicPr>
          <p:nvPr>
            <a:audioFile r:link="rId2"/>
            <p:extLst>
              <p:ext uri="{DAA4B4D4-6D71-4841-9C94-3DE7FCFB9230}">
                <p14:media xmlns:p14="http://schemas.microsoft.com/office/powerpoint/2010/main" r:embed="rId1"/>
              </p:ext>
            </p:extLst>
          </p:nvPr>
        </p:nvPicPr>
        <p:blipFill>
          <a:blip r:embed="rId15"/>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153099057"/>
      </p:ext>
    </p:extLst>
  </p:cSld>
  <p:clrMapOvr>
    <a:masterClrMapping/>
  </p:clrMapOvr>
  <mc:AlternateContent xmlns:mc="http://schemas.openxmlformats.org/markup-compatibility/2006">
    <mc:Choice xmlns:p14="http://schemas.microsoft.com/office/powerpoint/2010/main" Requires="p14">
      <p:transition spd="slow" p14:dur="2000" advTm="30242"/>
    </mc:Choice>
    <mc:Fallback>
      <p:transition spd="slow" advTm="3024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E87DDF46-B07A-4183-A6C4-5CFC46E95960}"/>
              </a:ext>
            </a:extLst>
          </p:cNvPr>
          <p:cNvSpPr>
            <a:spLocks noGrp="1"/>
          </p:cNvSpPr>
          <p:nvPr>
            <p:ph type="sldNum" sz="quarter" idx="12"/>
          </p:nvPr>
        </p:nvSpPr>
        <p:spPr/>
        <p:txBody>
          <a:bodyPr/>
          <a:lstStyle/>
          <a:p>
            <a:fld id="{87170177-53BE-4EA4-8CC9-5D64EAB74717}" type="slidenum">
              <a:rPr lang="cs-CZ" sz="900" smtClean="0"/>
              <a:t>4</a:t>
            </a:fld>
            <a:endParaRPr lang="cs-CZ" sz="900" dirty="0"/>
          </a:p>
        </p:txBody>
      </p:sp>
      <p:sp>
        <p:nvSpPr>
          <p:cNvPr id="4" name="Rectangle 94">
            <a:extLst>
              <a:ext uri="{FF2B5EF4-FFF2-40B4-BE49-F238E27FC236}">
                <a16:creationId xmlns:a16="http://schemas.microsoft.com/office/drawing/2014/main" id="{32C0964D-8390-4CE7-85AE-760E74072C20}"/>
              </a:ext>
            </a:extLst>
          </p:cNvPr>
          <p:cNvSpPr/>
          <p:nvPr/>
        </p:nvSpPr>
        <p:spPr>
          <a:xfrm>
            <a:off x="0" y="-17702"/>
            <a:ext cx="12192001" cy="10800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82">
            <a:extLst>
              <a:ext uri="{FF2B5EF4-FFF2-40B4-BE49-F238E27FC236}">
                <a16:creationId xmlns:a16="http://schemas.microsoft.com/office/drawing/2014/main" id="{D0E75087-D62C-461B-B63C-582B2042EDFC}"/>
              </a:ext>
            </a:extLst>
          </p:cNvPr>
          <p:cNvSpPr txBox="1"/>
          <p:nvPr/>
        </p:nvSpPr>
        <p:spPr>
          <a:xfrm>
            <a:off x="304263" y="200887"/>
            <a:ext cx="11583472" cy="584775"/>
          </a:xfrm>
          <a:prstGeom prst="rect">
            <a:avLst/>
          </a:prstGeom>
          <a:noFill/>
        </p:spPr>
        <p:txBody>
          <a:bodyPr wrap="square" rtlCol="0">
            <a:spAutoFit/>
          </a:bodyPr>
          <a:lstStyle/>
          <a:p>
            <a:r>
              <a:rPr lang="cs-CZ" sz="3200" b="1" dirty="0" err="1">
                <a:solidFill>
                  <a:schemeClr val="bg2"/>
                </a:solidFill>
                <a:latin typeface="+mj-lt"/>
              </a:rPr>
              <a:t>Introduction</a:t>
            </a:r>
            <a:endParaRPr lang="en-US" sz="3200" dirty="0">
              <a:solidFill>
                <a:schemeClr val="tx2"/>
              </a:solidFill>
            </a:endParaRPr>
          </a:p>
        </p:txBody>
      </p:sp>
      <p:sp>
        <p:nvSpPr>
          <p:cNvPr id="6" name="TextovéPole 5">
            <a:extLst>
              <a:ext uri="{FF2B5EF4-FFF2-40B4-BE49-F238E27FC236}">
                <a16:creationId xmlns:a16="http://schemas.microsoft.com/office/drawing/2014/main" id="{D2C4A842-A7E9-4F7F-8091-988FE5DE86E8}"/>
              </a:ext>
            </a:extLst>
          </p:cNvPr>
          <p:cNvSpPr txBox="1"/>
          <p:nvPr/>
        </p:nvSpPr>
        <p:spPr>
          <a:xfrm>
            <a:off x="240800" y="2158940"/>
            <a:ext cx="11519372" cy="1754326"/>
          </a:xfrm>
          <a:prstGeom prst="rect">
            <a:avLst/>
          </a:prstGeom>
          <a:noFill/>
        </p:spPr>
        <p:txBody>
          <a:bodyPr wrap="none" rtlCol="0">
            <a:spAutoFit/>
          </a:bodyPr>
          <a:lstStyle/>
          <a:p>
            <a:pPr marL="285750" indent="-285750">
              <a:buFont typeface="Arial" panose="020B0604020202020204" pitchFamily="34" charset="0"/>
              <a:buChar char="•"/>
            </a:pPr>
            <a:r>
              <a:rPr lang="en-GB" b="1" dirty="0"/>
              <a:t>Simulate Procurement of Automotive &amp; COTS Capacitors for Space Projects by a SME Space Hardware Manufacturer</a:t>
            </a:r>
          </a:p>
          <a:p>
            <a:pPr marL="285750" indent="-285750">
              <a:buFont typeface="Arial" panose="020B0604020202020204" pitchFamily="34" charset="0"/>
              <a:buChar char="•"/>
            </a:pPr>
            <a:r>
              <a:rPr lang="en-GB" dirty="0"/>
              <a:t>Monitor the Procurement Process &amp; Communication on </a:t>
            </a:r>
            <a:r>
              <a:rPr lang="en-GB" b="1" dirty="0"/>
              <a:t>Tantalum and MLCC Ceramic Capacitors</a:t>
            </a:r>
          </a:p>
          <a:p>
            <a:pPr marL="285750" indent="-285750">
              <a:buFont typeface="Arial" panose="020B0604020202020204" pitchFamily="34" charset="0"/>
              <a:buChar char="•"/>
            </a:pPr>
            <a:r>
              <a:rPr lang="en-GB" dirty="0"/>
              <a:t>Technical, Administrative and Document Support</a:t>
            </a:r>
          </a:p>
          <a:p>
            <a:pPr marL="285750" indent="-285750">
              <a:buFont typeface="Arial" panose="020B0604020202020204" pitchFamily="34" charset="0"/>
              <a:buChar char="•"/>
            </a:pPr>
            <a:r>
              <a:rPr lang="en-GB" dirty="0"/>
              <a:t>Compare Automotive AEC-Q200 and COTS+ Procurement Process</a:t>
            </a:r>
          </a:p>
          <a:p>
            <a:pPr marL="285750" indent="-285750">
              <a:buFont typeface="Arial" panose="020B0604020202020204" pitchFamily="34" charset="0"/>
              <a:buChar char="•"/>
            </a:pPr>
            <a:r>
              <a:rPr lang="en-GB" dirty="0"/>
              <a:t>Evaluate Tantalum &amp; MLCC AEC-Q200 vs COTS+ Performance under </a:t>
            </a:r>
            <a:r>
              <a:rPr lang="en-GB" b="1" dirty="0"/>
              <a:t>168h Ageing Test </a:t>
            </a:r>
            <a:r>
              <a:rPr lang="en-GB" dirty="0"/>
              <a:t> </a:t>
            </a:r>
          </a:p>
          <a:p>
            <a:pPr marL="285750" indent="-285750">
              <a:buFont typeface="Arial" panose="020B0604020202020204" pitchFamily="34" charset="0"/>
              <a:buChar char="•"/>
            </a:pPr>
            <a:endParaRPr lang="cs-CZ" dirty="0"/>
          </a:p>
        </p:txBody>
      </p:sp>
      <p:sp>
        <p:nvSpPr>
          <p:cNvPr id="8" name="TextovéPole 7">
            <a:extLst>
              <a:ext uri="{FF2B5EF4-FFF2-40B4-BE49-F238E27FC236}">
                <a16:creationId xmlns:a16="http://schemas.microsoft.com/office/drawing/2014/main" id="{397CB133-116A-4F39-A17A-5E6B44D40226}"/>
              </a:ext>
            </a:extLst>
          </p:cNvPr>
          <p:cNvSpPr txBox="1"/>
          <p:nvPr/>
        </p:nvSpPr>
        <p:spPr>
          <a:xfrm>
            <a:off x="8963696" y="1382735"/>
            <a:ext cx="2719206" cy="461665"/>
          </a:xfrm>
          <a:prstGeom prst="rect">
            <a:avLst/>
          </a:prstGeom>
          <a:noFill/>
        </p:spPr>
        <p:txBody>
          <a:bodyPr wrap="none" rtlCol="0">
            <a:spAutoFit/>
          </a:bodyPr>
          <a:lstStyle/>
          <a:p>
            <a:r>
              <a:rPr lang="en-GB" sz="2400" b="1" dirty="0">
                <a:solidFill>
                  <a:srgbClr val="0070C0"/>
                </a:solidFill>
                <a:latin typeface="+mj-lt"/>
              </a:rPr>
              <a:t>Purpose of the Study</a:t>
            </a:r>
            <a:endParaRPr lang="cs-CZ" sz="2400" dirty="0">
              <a:solidFill>
                <a:srgbClr val="0070C0"/>
              </a:solidFill>
            </a:endParaRPr>
          </a:p>
        </p:txBody>
      </p:sp>
      <p:pic>
        <p:nvPicPr>
          <p:cNvPr id="11" name="Picture 2">
            <a:extLst>
              <a:ext uri="{FF2B5EF4-FFF2-40B4-BE49-F238E27FC236}">
                <a16:creationId xmlns:a16="http://schemas.microsoft.com/office/drawing/2014/main" id="{8CE1556F-2BC5-47C1-8DB0-32963BED701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904" t="4690" r="3391" b="3042"/>
          <a:stretch/>
        </p:blipFill>
        <p:spPr>
          <a:xfrm>
            <a:off x="8193866" y="3494296"/>
            <a:ext cx="2933084" cy="2547514"/>
          </a:xfrm>
          <a:prstGeom prst="rect">
            <a:avLst/>
          </a:prstGeom>
        </p:spPr>
      </p:pic>
      <p:pic>
        <p:nvPicPr>
          <p:cNvPr id="14" name="Obrázek 13">
            <a:extLst>
              <a:ext uri="{FF2B5EF4-FFF2-40B4-BE49-F238E27FC236}">
                <a16:creationId xmlns:a16="http://schemas.microsoft.com/office/drawing/2014/main" id="{225BE73F-286E-42F7-B7BB-BE031B102A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4208490" y="4065431"/>
            <a:ext cx="2613484" cy="2170717"/>
          </a:xfrm>
          <a:prstGeom prst="rect">
            <a:avLst/>
          </a:prstGeom>
        </p:spPr>
      </p:pic>
      <p:sp>
        <p:nvSpPr>
          <p:cNvPr id="10" name="Zástupný symbol pro zápatí 2">
            <a:extLst>
              <a:ext uri="{FF2B5EF4-FFF2-40B4-BE49-F238E27FC236}">
                <a16:creationId xmlns:a16="http://schemas.microsoft.com/office/drawing/2014/main" id="{91A205AC-CCF5-48E9-B03D-F8413699B980}"/>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2" name="Zvuk 1">
            <a:hlinkClick r:id="" action="ppaction://media"/>
            <a:extLst>
              <a:ext uri="{FF2B5EF4-FFF2-40B4-BE49-F238E27FC236}">
                <a16:creationId xmlns:a16="http://schemas.microsoft.com/office/drawing/2014/main" id="{63B3DA4F-F2DF-495A-95D9-480F40BAE590}"/>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2774118595"/>
      </p:ext>
    </p:extLst>
  </p:cSld>
  <p:clrMapOvr>
    <a:masterClrMapping/>
  </p:clrMapOvr>
  <mc:AlternateContent xmlns:mc="http://schemas.openxmlformats.org/markup-compatibility/2006">
    <mc:Choice xmlns:p14="http://schemas.microsoft.com/office/powerpoint/2010/main" Requires="p14">
      <p:transition spd="slow" p14:dur="2000" advTm="12432"/>
    </mc:Choice>
    <mc:Fallback>
      <p:transition spd="slow" advTm="1243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E87DDF46-B07A-4183-A6C4-5CFC46E95960}"/>
              </a:ext>
            </a:extLst>
          </p:cNvPr>
          <p:cNvSpPr>
            <a:spLocks noGrp="1"/>
          </p:cNvSpPr>
          <p:nvPr>
            <p:ph type="sldNum" sz="quarter" idx="12"/>
          </p:nvPr>
        </p:nvSpPr>
        <p:spPr/>
        <p:txBody>
          <a:bodyPr/>
          <a:lstStyle/>
          <a:p>
            <a:fld id="{87170177-53BE-4EA4-8CC9-5D64EAB74717}" type="slidenum">
              <a:rPr lang="cs-CZ" sz="900" smtClean="0"/>
              <a:t>5</a:t>
            </a:fld>
            <a:endParaRPr lang="cs-CZ" sz="900" dirty="0"/>
          </a:p>
        </p:txBody>
      </p:sp>
      <p:sp>
        <p:nvSpPr>
          <p:cNvPr id="4" name="Rectangle 94">
            <a:extLst>
              <a:ext uri="{FF2B5EF4-FFF2-40B4-BE49-F238E27FC236}">
                <a16:creationId xmlns:a16="http://schemas.microsoft.com/office/drawing/2014/main" id="{32C0964D-8390-4CE7-85AE-760E74072C20}"/>
              </a:ext>
            </a:extLst>
          </p:cNvPr>
          <p:cNvSpPr/>
          <p:nvPr/>
        </p:nvSpPr>
        <p:spPr>
          <a:xfrm>
            <a:off x="0" y="-17702"/>
            <a:ext cx="12192001" cy="10800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82">
            <a:extLst>
              <a:ext uri="{FF2B5EF4-FFF2-40B4-BE49-F238E27FC236}">
                <a16:creationId xmlns:a16="http://schemas.microsoft.com/office/drawing/2014/main" id="{D0E75087-D62C-461B-B63C-582B2042EDFC}"/>
              </a:ext>
            </a:extLst>
          </p:cNvPr>
          <p:cNvSpPr txBox="1"/>
          <p:nvPr/>
        </p:nvSpPr>
        <p:spPr>
          <a:xfrm>
            <a:off x="304263" y="200887"/>
            <a:ext cx="11583472" cy="584775"/>
          </a:xfrm>
          <a:prstGeom prst="rect">
            <a:avLst/>
          </a:prstGeom>
          <a:noFill/>
        </p:spPr>
        <p:txBody>
          <a:bodyPr wrap="square" rtlCol="0">
            <a:spAutoFit/>
          </a:bodyPr>
          <a:lstStyle/>
          <a:p>
            <a:r>
              <a:rPr lang="cs-CZ" sz="3200" b="1" dirty="0" err="1">
                <a:solidFill>
                  <a:schemeClr val="bg2"/>
                </a:solidFill>
                <a:latin typeface="+mj-lt"/>
              </a:rPr>
              <a:t>Introduction</a:t>
            </a:r>
            <a:r>
              <a:rPr lang="cs-CZ" sz="3200" b="1" dirty="0">
                <a:solidFill>
                  <a:schemeClr val="bg2"/>
                </a:solidFill>
                <a:latin typeface="+mj-lt"/>
              </a:rPr>
              <a:t> – </a:t>
            </a:r>
            <a:r>
              <a:rPr lang="en-GB" sz="3200" b="1" dirty="0">
                <a:solidFill>
                  <a:schemeClr val="bg2"/>
                </a:solidFill>
                <a:latin typeface="+mj-lt"/>
              </a:rPr>
              <a:t>Tantalum &amp; MLCC Capacitor Technologies</a:t>
            </a:r>
            <a:endParaRPr lang="en-US" sz="3200" dirty="0">
              <a:solidFill>
                <a:schemeClr val="tx2"/>
              </a:solidFill>
            </a:endParaRPr>
          </a:p>
        </p:txBody>
      </p:sp>
      <p:sp>
        <p:nvSpPr>
          <p:cNvPr id="13" name="TextovéPole 12">
            <a:extLst>
              <a:ext uri="{FF2B5EF4-FFF2-40B4-BE49-F238E27FC236}">
                <a16:creationId xmlns:a16="http://schemas.microsoft.com/office/drawing/2014/main" id="{47C53750-8F19-4781-B9AA-1C335F0E34E8}"/>
              </a:ext>
            </a:extLst>
          </p:cNvPr>
          <p:cNvSpPr txBox="1"/>
          <p:nvPr/>
        </p:nvSpPr>
        <p:spPr>
          <a:xfrm>
            <a:off x="1030309" y="4399489"/>
            <a:ext cx="4483631" cy="430887"/>
          </a:xfrm>
          <a:prstGeom prst="rect">
            <a:avLst/>
          </a:prstGeom>
          <a:noFill/>
        </p:spPr>
        <p:txBody>
          <a:bodyPr wrap="square">
            <a:spAutoFit/>
          </a:bodyPr>
          <a:lstStyle/>
          <a:p>
            <a:pPr algn="ctr"/>
            <a:r>
              <a:rPr lang="en-GB" sz="1100" i="1" dirty="0"/>
              <a:t>T</a:t>
            </a:r>
            <a:r>
              <a:rPr lang="cs-CZ" sz="1100" i="1" dirty="0" err="1"/>
              <a:t>antalum</a:t>
            </a:r>
            <a:r>
              <a:rPr lang="cs-CZ" sz="1100" i="1" dirty="0"/>
              <a:t> </a:t>
            </a:r>
            <a:r>
              <a:rPr lang="en-GB" sz="1100" i="1" dirty="0"/>
              <a:t>C</a:t>
            </a:r>
            <a:r>
              <a:rPr lang="cs-CZ" sz="1100" i="1" dirty="0" err="1"/>
              <a:t>apacitor</a:t>
            </a:r>
            <a:r>
              <a:rPr lang="cs-CZ" sz="1100" i="1" dirty="0"/>
              <a:t> </a:t>
            </a:r>
            <a:r>
              <a:rPr lang="en-GB" sz="1100" i="1" dirty="0"/>
              <a:t>C</a:t>
            </a:r>
            <a:r>
              <a:rPr lang="cs-CZ" sz="1100" i="1" dirty="0" err="1"/>
              <a:t>onstruction</a:t>
            </a:r>
            <a:r>
              <a:rPr lang="cs-CZ" sz="1100" i="1" dirty="0"/>
              <a:t> – </a:t>
            </a:r>
            <a:r>
              <a:rPr lang="cs-CZ" sz="1100" i="1" dirty="0" err="1"/>
              <a:t>common</a:t>
            </a:r>
            <a:r>
              <a:rPr lang="cs-CZ" sz="1100" i="1" dirty="0"/>
              <a:t> </a:t>
            </a:r>
            <a:r>
              <a:rPr lang="cs-CZ" sz="1100" i="1" dirty="0" err="1"/>
              <a:t>structure</a:t>
            </a:r>
            <a:r>
              <a:rPr lang="cs-CZ" sz="1100" i="1" dirty="0"/>
              <a:t> </a:t>
            </a:r>
            <a:r>
              <a:rPr lang="cs-CZ" sz="1100" i="1" dirty="0" err="1"/>
              <a:t>for</a:t>
            </a:r>
            <a:r>
              <a:rPr lang="cs-CZ" sz="1100" i="1" dirty="0"/>
              <a:t> AEC</a:t>
            </a:r>
            <a:r>
              <a:rPr lang="en-GB" sz="1100" i="1" dirty="0"/>
              <a:t>-</a:t>
            </a:r>
            <a:r>
              <a:rPr lang="cs-CZ" sz="1100" i="1" dirty="0"/>
              <a:t>Q200 and standard grade; source: AVX</a:t>
            </a:r>
          </a:p>
        </p:txBody>
      </p:sp>
      <p:sp>
        <p:nvSpPr>
          <p:cNvPr id="17" name="TextovéPole 16">
            <a:extLst>
              <a:ext uri="{FF2B5EF4-FFF2-40B4-BE49-F238E27FC236}">
                <a16:creationId xmlns:a16="http://schemas.microsoft.com/office/drawing/2014/main" id="{CFAC4779-DC50-4B01-A099-BF1EDCB958F4}"/>
              </a:ext>
            </a:extLst>
          </p:cNvPr>
          <p:cNvSpPr txBox="1"/>
          <p:nvPr/>
        </p:nvSpPr>
        <p:spPr>
          <a:xfrm>
            <a:off x="8840670" y="3637064"/>
            <a:ext cx="2477037" cy="430887"/>
          </a:xfrm>
          <a:prstGeom prst="rect">
            <a:avLst/>
          </a:prstGeom>
          <a:noFill/>
        </p:spPr>
        <p:txBody>
          <a:bodyPr wrap="square">
            <a:spAutoFit/>
          </a:bodyPr>
          <a:lstStyle/>
          <a:p>
            <a:pPr algn="ctr"/>
            <a:r>
              <a:rPr lang="fr-FR" sz="1100" i="1" dirty="0"/>
              <a:t>MLCC construction comparison AEC-Q200 vs standard grade; source: AVX</a:t>
            </a:r>
            <a:endParaRPr lang="cs-CZ" sz="1100" i="1" dirty="0"/>
          </a:p>
        </p:txBody>
      </p:sp>
      <p:sp>
        <p:nvSpPr>
          <p:cNvPr id="8" name="TextovéPole 7">
            <a:extLst>
              <a:ext uri="{FF2B5EF4-FFF2-40B4-BE49-F238E27FC236}">
                <a16:creationId xmlns:a16="http://schemas.microsoft.com/office/drawing/2014/main" id="{74714BB8-6C9F-46C2-9A7C-2F5C45D8FF24}"/>
              </a:ext>
            </a:extLst>
          </p:cNvPr>
          <p:cNvSpPr txBox="1"/>
          <p:nvPr/>
        </p:nvSpPr>
        <p:spPr>
          <a:xfrm>
            <a:off x="340392" y="5008587"/>
            <a:ext cx="5867760" cy="584775"/>
          </a:xfrm>
          <a:prstGeom prst="rect">
            <a:avLst/>
          </a:prstGeom>
          <a:noFill/>
        </p:spPr>
        <p:txBody>
          <a:bodyPr wrap="none" rtlCol="0">
            <a:spAutoFit/>
          </a:bodyPr>
          <a:lstStyle/>
          <a:p>
            <a:pPr marL="285750" indent="-285750">
              <a:buFont typeface="Arial" panose="020B0604020202020204" pitchFamily="34" charset="0"/>
              <a:buChar char="•"/>
            </a:pPr>
            <a:r>
              <a:rPr lang="en-GB" sz="1600" b="1" dirty="0"/>
              <a:t>No major construction differences </a:t>
            </a:r>
            <a:r>
              <a:rPr lang="en-GB" sz="1600" dirty="0"/>
              <a:t>Auto/COTS vs Standard grade</a:t>
            </a:r>
          </a:p>
          <a:p>
            <a:pPr marL="285750" indent="-285750">
              <a:buFont typeface="Arial" panose="020B0604020202020204" pitchFamily="34" charset="0"/>
              <a:buChar char="•"/>
            </a:pPr>
            <a:r>
              <a:rPr lang="en-GB" sz="1600" dirty="0"/>
              <a:t>Auto design may have </a:t>
            </a:r>
            <a:r>
              <a:rPr lang="en-GB" sz="1600" b="1" dirty="0"/>
              <a:t>more conservative CV &amp; FV ratio</a:t>
            </a:r>
            <a:endParaRPr lang="cs-CZ" sz="1600" b="1" dirty="0"/>
          </a:p>
        </p:txBody>
      </p:sp>
      <p:sp>
        <p:nvSpPr>
          <p:cNvPr id="9" name="TextovéPole 8">
            <a:extLst>
              <a:ext uri="{FF2B5EF4-FFF2-40B4-BE49-F238E27FC236}">
                <a16:creationId xmlns:a16="http://schemas.microsoft.com/office/drawing/2014/main" id="{481C3D5D-10F6-4C36-82AB-0E999409D0B2}"/>
              </a:ext>
            </a:extLst>
          </p:cNvPr>
          <p:cNvSpPr txBox="1"/>
          <p:nvPr/>
        </p:nvSpPr>
        <p:spPr>
          <a:xfrm>
            <a:off x="2080298" y="1459976"/>
            <a:ext cx="2124684" cy="369332"/>
          </a:xfrm>
          <a:prstGeom prst="rect">
            <a:avLst/>
          </a:prstGeom>
          <a:noFill/>
        </p:spPr>
        <p:txBody>
          <a:bodyPr wrap="none" rtlCol="0">
            <a:spAutoFit/>
          </a:bodyPr>
          <a:lstStyle/>
          <a:p>
            <a:r>
              <a:rPr lang="en-GB" b="1" dirty="0"/>
              <a:t>Tantalum Capacitors</a:t>
            </a:r>
            <a:endParaRPr lang="cs-CZ" b="1" dirty="0"/>
          </a:p>
        </p:txBody>
      </p:sp>
      <p:sp>
        <p:nvSpPr>
          <p:cNvPr id="14" name="TextovéPole 13">
            <a:extLst>
              <a:ext uri="{FF2B5EF4-FFF2-40B4-BE49-F238E27FC236}">
                <a16:creationId xmlns:a16="http://schemas.microsoft.com/office/drawing/2014/main" id="{D7B95340-D2C2-4DC6-96E1-0AD77290F5A0}"/>
              </a:ext>
            </a:extLst>
          </p:cNvPr>
          <p:cNvSpPr txBox="1"/>
          <p:nvPr/>
        </p:nvSpPr>
        <p:spPr>
          <a:xfrm>
            <a:off x="9105724" y="1697235"/>
            <a:ext cx="2595454" cy="369332"/>
          </a:xfrm>
          <a:prstGeom prst="rect">
            <a:avLst/>
          </a:prstGeom>
          <a:noFill/>
        </p:spPr>
        <p:txBody>
          <a:bodyPr wrap="none" rtlCol="0">
            <a:spAutoFit/>
          </a:bodyPr>
          <a:lstStyle/>
          <a:p>
            <a:r>
              <a:rPr lang="en-GB" b="1" dirty="0"/>
              <a:t>MLCC Ceramic Capacitors</a:t>
            </a:r>
            <a:endParaRPr lang="cs-CZ" b="1" dirty="0"/>
          </a:p>
        </p:txBody>
      </p:sp>
      <p:sp>
        <p:nvSpPr>
          <p:cNvPr id="15" name="TextovéPole 14">
            <a:extLst>
              <a:ext uri="{FF2B5EF4-FFF2-40B4-BE49-F238E27FC236}">
                <a16:creationId xmlns:a16="http://schemas.microsoft.com/office/drawing/2014/main" id="{AD092F0C-E998-4663-9113-0032A61B66D2}"/>
              </a:ext>
            </a:extLst>
          </p:cNvPr>
          <p:cNvSpPr txBox="1"/>
          <p:nvPr/>
        </p:nvSpPr>
        <p:spPr>
          <a:xfrm>
            <a:off x="6424596" y="4331803"/>
            <a:ext cx="5588838" cy="1815882"/>
          </a:xfrm>
          <a:prstGeom prst="rect">
            <a:avLst/>
          </a:prstGeom>
          <a:noFill/>
        </p:spPr>
        <p:txBody>
          <a:bodyPr wrap="none" rtlCol="0">
            <a:spAutoFit/>
          </a:bodyPr>
          <a:lstStyle/>
          <a:p>
            <a:pPr marL="285750" indent="-285750">
              <a:buFont typeface="Arial" panose="020B0604020202020204" pitchFamily="34" charset="0"/>
              <a:buChar char="•"/>
            </a:pPr>
            <a:r>
              <a:rPr lang="en-GB" sz="1600" b="1" dirty="0"/>
              <a:t>Major construction differences </a:t>
            </a:r>
            <a:r>
              <a:rPr lang="en-GB" sz="1600" dirty="0"/>
              <a:t>Auto/COTS vs Standard grade</a:t>
            </a:r>
          </a:p>
          <a:p>
            <a:pPr marL="285750" indent="-285750">
              <a:buFont typeface="Arial" panose="020B0604020202020204" pitchFamily="34" charset="0"/>
              <a:buChar char="•"/>
            </a:pPr>
            <a:r>
              <a:rPr lang="en-GB" sz="1600" dirty="0"/>
              <a:t>Design parameters: </a:t>
            </a:r>
          </a:p>
          <a:p>
            <a:pPr marL="742950" lvl="1" indent="-285750">
              <a:buFont typeface="Arial" panose="020B0604020202020204" pitchFamily="34" charset="0"/>
              <a:buChar char="•"/>
            </a:pPr>
            <a:r>
              <a:rPr lang="en-GB" sz="1600" dirty="0"/>
              <a:t>high end margins</a:t>
            </a:r>
          </a:p>
          <a:p>
            <a:pPr marL="742950" lvl="1" indent="-285750">
              <a:buFont typeface="Arial" panose="020B0604020202020204" pitchFamily="34" charset="0"/>
              <a:buChar char="•"/>
            </a:pPr>
            <a:r>
              <a:rPr lang="en-GB" sz="1600" dirty="0"/>
              <a:t>less number of layers</a:t>
            </a:r>
          </a:p>
          <a:p>
            <a:pPr marL="742950" lvl="1" indent="-285750">
              <a:buFont typeface="Arial" panose="020B0604020202020204" pitchFamily="34" charset="0"/>
              <a:buChar char="•"/>
            </a:pPr>
            <a:r>
              <a:rPr lang="en-GB" sz="1600" dirty="0"/>
              <a:t>thicker dielectric</a:t>
            </a:r>
          </a:p>
          <a:p>
            <a:pPr marL="742950" lvl="1" indent="-285750">
              <a:buFont typeface="Arial" panose="020B0604020202020204" pitchFamily="34" charset="0"/>
              <a:buChar char="•"/>
            </a:pPr>
            <a:r>
              <a:rPr lang="en-GB" sz="1600" dirty="0"/>
              <a:t>flexible terminations</a:t>
            </a:r>
          </a:p>
          <a:p>
            <a:pPr marL="285750" indent="-285750">
              <a:buFont typeface="Arial" panose="020B0604020202020204" pitchFamily="34" charset="0"/>
              <a:buChar char="•"/>
            </a:pPr>
            <a:r>
              <a:rPr lang="en-GB" sz="1600" b="1" dirty="0"/>
              <a:t>Significantly lower CV</a:t>
            </a:r>
            <a:endParaRPr lang="en-GB" sz="1600" dirty="0"/>
          </a:p>
        </p:txBody>
      </p:sp>
      <p:pic>
        <p:nvPicPr>
          <p:cNvPr id="2" name="Obrázek 1">
            <a:extLst>
              <a:ext uri="{FF2B5EF4-FFF2-40B4-BE49-F238E27FC236}">
                <a16:creationId xmlns:a16="http://schemas.microsoft.com/office/drawing/2014/main" id="{5AE42C33-36E8-4571-A223-FB206FE9BCF6}"/>
              </a:ext>
            </a:extLst>
          </p:cNvPr>
          <p:cNvPicPr>
            <a:picLocks noChangeAspect="1"/>
          </p:cNvPicPr>
          <p:nvPr/>
        </p:nvPicPr>
        <p:blipFill>
          <a:blip r:embed="rId4"/>
          <a:stretch>
            <a:fillRect/>
          </a:stretch>
        </p:blipFill>
        <p:spPr>
          <a:xfrm>
            <a:off x="6371661" y="1326150"/>
            <a:ext cx="2385060" cy="2796540"/>
          </a:xfrm>
          <a:prstGeom prst="rect">
            <a:avLst/>
          </a:prstGeom>
        </p:spPr>
      </p:pic>
      <p:pic>
        <p:nvPicPr>
          <p:cNvPr id="11" name="Obrázek 10">
            <a:extLst>
              <a:ext uri="{FF2B5EF4-FFF2-40B4-BE49-F238E27FC236}">
                <a16:creationId xmlns:a16="http://schemas.microsoft.com/office/drawing/2014/main" id="{16EC45BE-86CC-4BF5-9B51-A54B29DBAA63}"/>
              </a:ext>
            </a:extLst>
          </p:cNvPr>
          <p:cNvPicPr>
            <a:picLocks noChangeAspect="1"/>
          </p:cNvPicPr>
          <p:nvPr/>
        </p:nvPicPr>
        <p:blipFill>
          <a:blip r:embed="rId5"/>
          <a:stretch>
            <a:fillRect/>
          </a:stretch>
        </p:blipFill>
        <p:spPr>
          <a:xfrm>
            <a:off x="1260444" y="2177495"/>
            <a:ext cx="4023360" cy="1996440"/>
          </a:xfrm>
          <a:prstGeom prst="rect">
            <a:avLst/>
          </a:prstGeom>
        </p:spPr>
      </p:pic>
      <p:sp>
        <p:nvSpPr>
          <p:cNvPr id="16" name="Zástupný symbol pro zápatí 2">
            <a:extLst>
              <a:ext uri="{FF2B5EF4-FFF2-40B4-BE49-F238E27FC236}">
                <a16:creationId xmlns:a16="http://schemas.microsoft.com/office/drawing/2014/main" id="{BD681D46-00B5-4220-8998-E6E4A8BFE43D}"/>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6" name="Zvuk 5">
            <a:hlinkClick r:id="" action="ppaction://media"/>
            <a:extLst>
              <a:ext uri="{FF2B5EF4-FFF2-40B4-BE49-F238E27FC236}">
                <a16:creationId xmlns:a16="http://schemas.microsoft.com/office/drawing/2014/main" id="{094E24D4-CFB8-43E5-93D8-87927DC68A63}"/>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1731211461"/>
      </p:ext>
    </p:extLst>
  </p:cSld>
  <p:clrMapOvr>
    <a:masterClrMapping/>
  </p:clrMapOvr>
  <mc:AlternateContent xmlns:mc="http://schemas.openxmlformats.org/markup-compatibility/2006">
    <mc:Choice xmlns:p14="http://schemas.microsoft.com/office/powerpoint/2010/main" Requires="p14">
      <p:transition spd="slow" p14:dur="2000" advTm="96442"/>
    </mc:Choice>
    <mc:Fallback>
      <p:transition spd="slow" advTm="9644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extLst>
    <p:ext uri="{3A86A75C-4F4B-4683-9AE1-C65F6400EC91}">
      <p14:laserTraceLst xmlns:p14="http://schemas.microsoft.com/office/powerpoint/2010/main">
        <p14:tracePtLst>
          <p14:tracePt t="10545" x="12168188" y="3306763"/>
          <p14:tracePt t="10546" x="12152313" y="3319463"/>
          <p14:tracePt t="10547" x="12136438" y="3322638"/>
          <p14:tracePt t="10548" x="12123738" y="3327400"/>
          <p14:tracePt t="10549" x="12115800" y="3330575"/>
          <p14:tracePt t="10550" x="12099925" y="3338513"/>
          <p14:tracePt t="10551" x="12091988" y="3343275"/>
          <p14:tracePt t="10552" x="12076113" y="3346450"/>
          <p14:tracePt t="10553" x="12060238" y="3346450"/>
          <p14:tracePt t="10554" x="12047538" y="3351213"/>
          <p14:tracePt t="10555" x="12036425" y="3351213"/>
          <p14:tracePt t="10556" x="12028488" y="3351213"/>
          <p14:tracePt t="10557" x="12012613" y="3354388"/>
          <p14:tracePt t="10559" x="11995150" y="3354388"/>
          <p14:tracePt t="10560" x="11971338" y="3354388"/>
          <p14:tracePt t="10561" x="11963400" y="3359150"/>
          <p14:tracePt t="10562" x="11952288" y="3359150"/>
          <p14:tracePt t="10563" x="11936413" y="3359150"/>
          <p14:tracePt t="10564" x="11928475" y="3359150"/>
          <p14:tracePt t="10565" x="11915775" y="3359150"/>
          <p14:tracePt t="10566" x="11907838" y="3359150"/>
          <p14:tracePt t="10567" x="11891963" y="3359150"/>
          <p14:tracePt t="10568" x="11879263" y="3359150"/>
          <p14:tracePt t="10569" x="11863388" y="3359150"/>
          <p14:tracePt t="10570" x="11855450" y="3359150"/>
          <p14:tracePt t="10571" x="11844338" y="3359150"/>
          <p14:tracePt t="10572" x="11836400" y="3359150"/>
          <p14:tracePt t="10573" x="11823700" y="3359150"/>
          <p14:tracePt t="10574" x="11807825" y="3359150"/>
          <p14:tracePt t="10575" x="11799888" y="3359150"/>
          <p14:tracePt t="10576" x="11791950" y="3359150"/>
          <p14:tracePt t="10577" x="11784013" y="3359150"/>
          <p14:tracePt t="10578" x="11763375" y="3359150"/>
          <p14:tracePt t="10579" x="11755438" y="3359150"/>
          <p14:tracePt t="10580" x="11747500" y="3359150"/>
          <p14:tracePt t="10581" x="11734800" y="3359150"/>
          <p14:tracePt t="10582" x="11723688" y="3359150"/>
          <p14:tracePt t="10583" x="11710988" y="3359150"/>
          <p14:tracePt t="10584" x="11699875" y="3359150"/>
          <p14:tracePt t="10585" x="11691938" y="3359150"/>
          <p14:tracePt t="10586" x="11676063" y="3359150"/>
          <p14:tracePt t="10587" x="11668125" y="3359150"/>
          <p14:tracePt t="10589" x="11647488" y="3359150"/>
          <p14:tracePt t="10589" x="11639550" y="3359150"/>
          <p14:tracePt t="10590" x="11626850" y="3359150"/>
          <p14:tracePt t="10591" x="11610975" y="3359150"/>
          <p14:tracePt t="10592" x="11599863" y="3359150"/>
          <p14:tracePt t="10593" x="11583988" y="3362325"/>
          <p14:tracePt t="10594" x="11568113" y="3370263"/>
          <p14:tracePt t="10595" x="11550650" y="3370263"/>
          <p14:tracePt t="10596" x="11531600" y="3375025"/>
          <p14:tracePt t="10597" x="11518900" y="3375025"/>
          <p14:tracePt t="10598" x="11491913" y="3378200"/>
          <p14:tracePt t="10599" x="11471275" y="3382963"/>
          <p14:tracePt t="10600" x="11450638" y="3390900"/>
          <p14:tracePt t="10601" x="11431588" y="3395663"/>
          <p14:tracePt t="10602" x="11410950" y="3398838"/>
          <p14:tracePt t="10603" x="11391900" y="3411538"/>
          <p14:tracePt t="10604" x="11355388" y="3414713"/>
          <p14:tracePt t="10605" x="11334750" y="3427413"/>
          <p14:tracePt t="10606" x="11315700" y="3430588"/>
          <p14:tracePt t="10607" x="11287125" y="3435350"/>
          <p14:tracePt t="10608" x="11250613" y="3454400"/>
          <p14:tracePt t="10610" x="11199813" y="3470275"/>
          <p14:tracePt t="10611" x="11171238" y="3482975"/>
          <p14:tracePt t="10612" x="11150600" y="3495675"/>
          <p14:tracePt t="10613" x="11123613" y="3506788"/>
          <p14:tracePt t="10614" x="11074400" y="3527425"/>
          <p14:tracePt t="10615" x="11047413" y="3535363"/>
          <p14:tracePt t="10616" x="11018838" y="3546475"/>
          <p14:tracePt t="10617" x="10987088" y="3567113"/>
          <p14:tracePt t="10618" x="10958513" y="3579813"/>
          <p14:tracePt t="10619" x="10910888" y="3603625"/>
          <p14:tracePt t="10620" x="10882313" y="3622675"/>
          <p14:tracePt t="10621" x="10847388" y="3643313"/>
          <p14:tracePt t="10622" x="10814050" y="3659188"/>
          <p14:tracePt t="10623" x="10787063" y="3679825"/>
          <p14:tracePt t="10624" x="10729913" y="3703638"/>
          <p14:tracePt t="10625" x="10702925" y="3722688"/>
          <p14:tracePt t="10626" x="10663238" y="3746500"/>
          <p14:tracePt t="10627" x="10629900" y="3767138"/>
          <p14:tracePt t="10629" x="10545763" y="3819525"/>
          <p14:tracePt t="10630" x="10510838" y="3843338"/>
          <p14:tracePt t="10631" x="10469563" y="3863975"/>
          <p14:tracePt t="10632" x="10437813" y="3887788"/>
          <p14:tracePt t="10633" x="10402888" y="3914775"/>
          <p14:tracePt t="10634" x="10345738" y="3948113"/>
          <p14:tracePt t="10635" x="10306050" y="3975100"/>
          <p14:tracePt t="10636" x="10269538" y="4006850"/>
          <p14:tracePt t="10637" x="10229850" y="4032250"/>
          <p14:tracePt t="10638" x="10190163" y="4059238"/>
          <p14:tracePt t="10639" x="10137775" y="4098925"/>
          <p14:tracePt t="10640" x="10098088" y="4124325"/>
          <p14:tracePt t="10641" x="10050463" y="4159250"/>
          <p14:tracePt t="10642" x="10009188" y="4191000"/>
          <p14:tracePt t="10643" x="9966325" y="4219575"/>
          <p14:tracePt t="10645" x="9861550" y="4300538"/>
          <p14:tracePt t="10646" x="9813925" y="4335463"/>
          <p14:tracePt t="10647" x="9777413" y="4359275"/>
          <p14:tracePt t="10648" x="9729788" y="4392613"/>
          <p14:tracePt t="10649" x="9682163" y="4427538"/>
          <p14:tracePt t="10650" x="9617075" y="4475163"/>
          <p14:tracePt t="10651" x="9561513" y="4511675"/>
          <p14:tracePt t="10652" x="9517063" y="4543425"/>
          <p14:tracePt t="10653" x="9469438" y="4579938"/>
          <p14:tracePt t="10654" x="9393238" y="4635500"/>
          <p14:tracePt t="10655" x="9340850" y="4672013"/>
          <p14:tracePt t="10656" x="9285288" y="4711700"/>
          <p14:tracePt t="10657" x="9229725" y="4748213"/>
          <p14:tracePt t="10658" x="9172575" y="4787900"/>
          <p14:tracePt t="10659" x="9117013" y="4832350"/>
          <p14:tracePt t="10660" x="9020175" y="4895850"/>
          <p14:tracePt t="10662" x="8893175" y="4987925"/>
          <p14:tracePt t="10663" x="8828088" y="5037138"/>
          <p14:tracePt t="10664" x="8732838" y="5111750"/>
          <p14:tracePt t="10665" x="8667750" y="5153025"/>
          <p14:tracePt t="10666" x="8593138" y="5213350"/>
          <p14:tracePt t="10667" x="8528050" y="5264150"/>
          <p14:tracePt t="10668" x="8456613" y="5313363"/>
          <p14:tracePt t="10669" x="8391525" y="5364163"/>
          <p14:tracePt t="10670" x="8272463" y="5440363"/>
          <p14:tracePt t="10671" x="8199438" y="5492750"/>
          <p14:tracePt t="10672" x="8128000" y="5540375"/>
          <p14:tracePt t="10673" x="8056563" y="5592763"/>
          <p14:tracePt t="10674" x="7983538" y="5645150"/>
          <p14:tracePt t="10675" x="7864475" y="5721350"/>
          <p14:tracePt t="10676" x="7791450" y="5773738"/>
          <p14:tracePt t="10677" x="7720013" y="5821363"/>
          <p14:tracePt t="10679" x="7562850" y="5924550"/>
          <p14:tracePt t="10681" x="7451725" y="6000750"/>
          <p14:tracePt t="10683" x="7235825" y="6145213"/>
          <p14:tracePt t="10684" x="7167563" y="6189663"/>
          <p14:tracePt t="10685" x="7042150" y="6265863"/>
          <p14:tracePt t="10686" x="6970713" y="6318250"/>
          <p14:tracePt t="10687" x="6907213" y="6361113"/>
          <p14:tracePt t="10688" x="6834188" y="6402388"/>
          <p14:tracePt t="10689" x="6762750" y="6445250"/>
          <p14:tracePt t="10690" x="6665913" y="6518275"/>
          <p14:tracePt t="10691" x="6594475" y="6561138"/>
          <p14:tracePt t="10692" x="6530975" y="6605588"/>
          <p14:tracePt t="10693" x="6465888" y="6645275"/>
          <p14:tracePt t="10695" x="6310313" y="6745288"/>
          <p14:tracePt t="10696" x="6246813" y="6781800"/>
          <p14:tracePt t="10697" x="6189663" y="6813550"/>
          <p14:tracePt t="10698" x="6134100" y="6850063"/>
          <p14:tracePt t="10859" x="4545013" y="6845300"/>
          <p14:tracePt t="10860" x="4537075" y="6834188"/>
          <p14:tracePt t="10861" x="4524375" y="6829425"/>
          <p14:tracePt t="10862" x="4516438" y="6821488"/>
          <p14:tracePt t="10863" x="4500563" y="6810375"/>
          <p14:tracePt t="10864" x="4492625" y="6802438"/>
          <p14:tracePt t="10865" x="4484688" y="6797675"/>
          <p14:tracePt t="10866" x="4476750" y="6794500"/>
          <p14:tracePt t="10867" x="4468813" y="6786563"/>
          <p14:tracePt t="10868" x="4452938" y="6781800"/>
          <p14:tracePt t="10869" x="4445000" y="6770688"/>
          <p14:tracePt t="10870" x="4437063" y="6765925"/>
          <p14:tracePt t="10871" x="4424363" y="6761163"/>
          <p14:tracePt t="10872" x="4416425" y="6757988"/>
          <p14:tracePt t="10873" x="4408488" y="6753225"/>
          <p14:tracePt t="10874" x="4395788" y="6750050"/>
          <p14:tracePt t="10875" x="4384675" y="6737350"/>
          <p14:tracePt t="10876" x="4376738" y="6734175"/>
          <p14:tracePt t="10877" x="4368800" y="6729413"/>
          <p14:tracePt t="10878" x="4352925" y="6726238"/>
          <p14:tracePt t="10879" x="4344988" y="6721475"/>
          <p14:tracePt t="10880" x="4337050" y="6721475"/>
          <p14:tracePt t="10881" x="4327525" y="6718300"/>
          <p14:tracePt t="10882" x="4319588" y="6713538"/>
          <p14:tracePt t="10883" x="4311650" y="6710363"/>
          <p14:tracePt t="10893" x="4240213" y="6689725"/>
          <p14:tracePt t="10895" x="4232275" y="6689725"/>
          <p14:tracePt t="10896" x="4224338" y="6686550"/>
          <p14:tracePt t="10897" x="4219575" y="6686550"/>
          <p14:tracePt t="10898" x="4216400" y="6686550"/>
          <p14:tracePt t="10899" x="4211638" y="6686550"/>
          <p14:tracePt t="10900" x="4208463" y="6686550"/>
          <p14:tracePt t="10902" x="4203700" y="6686550"/>
          <p14:tracePt t="10903" x="4200525" y="6681788"/>
          <p14:tracePt t="10905" x="4195763" y="6681788"/>
          <p14:tracePt t="10910" x="4192588" y="6681788"/>
          <p14:tracePt t="10917" x="4187825" y="6681788"/>
          <p14:tracePt t="10922" x="4187825" y="6678613"/>
          <p14:tracePt t="10929" x="4187825" y="6673850"/>
          <p14:tracePt t="10930" x="4184650" y="6673850"/>
          <p14:tracePt t="10934" x="4184650" y="6669088"/>
          <p14:tracePt t="10936" x="4179888" y="6669088"/>
          <p14:tracePt t="10938" x="4179888" y="6665913"/>
          <p14:tracePt t="10939" x="4176713" y="6665913"/>
          <p14:tracePt t="10942" x="4171950" y="6657975"/>
          <p14:tracePt t="10943" x="4168775" y="6657975"/>
          <p14:tracePt t="10944" x="4168775" y="6653213"/>
          <p14:tracePt t="10945" x="4164013" y="6653213"/>
          <p14:tracePt t="10946" x="4160838" y="6653213"/>
          <p14:tracePt t="10947" x="4156075" y="6650038"/>
          <p14:tracePt t="10949" x="4151313" y="6645275"/>
          <p14:tracePt t="10950" x="4148138" y="6642100"/>
          <p14:tracePt t="10951" x="4143375" y="6637338"/>
          <p14:tracePt t="10952" x="4143375" y="6634163"/>
          <p14:tracePt t="10953" x="4140200" y="6629400"/>
          <p14:tracePt t="10954" x="4135438" y="6626225"/>
          <p14:tracePt t="10955" x="4132263" y="6621463"/>
          <p14:tracePt t="10956" x="4127500" y="6618288"/>
          <p14:tracePt t="10957" x="4124325" y="6613525"/>
          <p14:tracePt t="10958" x="4119563" y="6613525"/>
          <p14:tracePt t="10960" x="4111625" y="6605588"/>
          <p14:tracePt t="10961" x="4108450" y="6602413"/>
          <p14:tracePt t="10962" x="4103688" y="6597650"/>
          <p14:tracePt t="10963" x="4095750" y="6589713"/>
          <p14:tracePt t="10964" x="4092575" y="6586538"/>
          <p14:tracePt t="10965" x="4084638" y="6581775"/>
          <p14:tracePt t="10966" x="4079875" y="6573838"/>
          <p14:tracePt t="10967" x="4076700" y="6569075"/>
          <p14:tracePt t="10968" x="4068763" y="6561138"/>
          <p14:tracePt t="10969" x="4064000" y="6557963"/>
          <p14:tracePt t="10970" x="4056063" y="6550025"/>
          <p14:tracePt t="10971" x="4056063" y="6545263"/>
          <p14:tracePt t="10972" x="4043363" y="6537325"/>
          <p14:tracePt t="10973" x="4043363" y="6534150"/>
          <p14:tracePt t="10974" x="4035425" y="6526213"/>
          <p14:tracePt t="10975" x="4024313" y="6518275"/>
          <p14:tracePt t="10976" x="4016375" y="6505575"/>
          <p14:tracePt t="10977" x="4008438" y="6502400"/>
          <p14:tracePt t="10979" x="3992563" y="6484938"/>
          <p14:tracePt t="10981" x="3976688" y="6465888"/>
          <p14:tracePt t="10982" x="3967163" y="6457950"/>
          <p14:tracePt t="10983" x="3956050" y="6453188"/>
          <p14:tracePt t="10984" x="3951288" y="6445250"/>
          <p14:tracePt t="10985" x="3943350" y="6434138"/>
          <p14:tracePt t="10986" x="3935413" y="6426200"/>
          <p14:tracePt t="10987" x="3932238" y="6418263"/>
          <p14:tracePt t="10988" x="3919538" y="6410325"/>
          <p14:tracePt t="10989" x="3911600" y="6397625"/>
          <p14:tracePt t="10990" x="3903663" y="6384925"/>
          <p14:tracePt t="10991" x="3900488" y="6376988"/>
          <p14:tracePt t="10992" x="3887788" y="6365875"/>
          <p14:tracePt t="10993" x="3884613" y="6357938"/>
          <p14:tracePt t="10994" x="3875088" y="6350000"/>
          <p14:tracePt t="10997" x="3851275" y="6310313"/>
          <p14:tracePt t="10998" x="3848100" y="6300788"/>
          <p14:tracePt t="10999" x="3840163" y="6292850"/>
          <p14:tracePt t="11000" x="3835400" y="6284913"/>
          <p14:tracePt t="11001" x="3824288" y="6269038"/>
          <p14:tracePt t="11002" x="3819525" y="6257925"/>
          <p14:tracePt t="11003" x="3816350" y="6249988"/>
          <p14:tracePt t="11004" x="3811588" y="6237288"/>
          <p14:tracePt t="11005" x="3803650" y="6229350"/>
          <p14:tracePt t="11006" x="3795713" y="6216650"/>
          <p14:tracePt t="11007" x="3790950" y="6205538"/>
          <p14:tracePt t="11008" x="3783013" y="6197600"/>
          <p14:tracePt t="11009" x="3779838" y="6184900"/>
          <p14:tracePt t="11010" x="3775075" y="6173788"/>
          <p14:tracePt t="11013" x="3759200" y="6153150"/>
          <p14:tracePt t="11014" x="3751263" y="6129338"/>
          <p14:tracePt t="11015" x="3748088" y="6113463"/>
          <p14:tracePt t="11016" x="3743325" y="6100763"/>
          <p14:tracePt t="11017" x="3740150" y="6084888"/>
          <p14:tracePt t="11018" x="3732213" y="6073775"/>
          <p14:tracePt t="11019" x="3727450" y="6065838"/>
          <p14:tracePt t="11020" x="3724275" y="6049963"/>
          <p14:tracePt t="11021" x="3719513" y="6037263"/>
          <p14:tracePt t="11022" x="3716338" y="6016625"/>
          <p14:tracePt t="11023" x="3703638" y="6000750"/>
          <p14:tracePt t="11025" x="3695700" y="5969000"/>
          <p14:tracePt t="11026" x="3683000" y="5945188"/>
          <p14:tracePt t="11027" x="3679825" y="5924550"/>
          <p14:tracePt t="11028" x="3675063" y="5908675"/>
          <p14:tracePt t="11031" x="3656013" y="5845175"/>
          <p14:tracePt t="11032" x="3648075" y="5808663"/>
          <p14:tracePt t="11033" x="3640138" y="5789613"/>
          <p14:tracePt t="11034" x="3632200" y="5761038"/>
          <p14:tracePt t="11035" x="3627438" y="5732463"/>
          <p14:tracePt t="11036" x="3616325" y="5697538"/>
          <p14:tracePt t="11037" x="3606800" y="5668963"/>
          <p14:tracePt t="11038" x="3603625" y="5640388"/>
          <p14:tracePt t="11039" x="3598863" y="5613400"/>
          <p14:tracePt t="11040" x="3590925" y="5584825"/>
          <p14:tracePt t="11041" x="3579813" y="5556250"/>
          <p14:tracePt t="11042" x="3575050" y="5505450"/>
          <p14:tracePt t="11043" x="3567113" y="5476875"/>
          <p14:tracePt t="11045" x="3556000" y="5413375"/>
          <p14:tracePt t="11046" x="3551238" y="5368925"/>
          <p14:tracePt t="11047" x="3543300" y="5332413"/>
          <p14:tracePt t="11048" x="3540125" y="5305425"/>
          <p14:tracePt t="11049" x="3532188" y="5268913"/>
          <p14:tracePt t="11050" x="3527425" y="5232400"/>
          <p14:tracePt t="11051" x="3524250" y="5203825"/>
          <p14:tracePt t="11052" x="3514725" y="5153025"/>
          <p14:tracePt t="11053" x="3506788" y="5116513"/>
          <p14:tracePt t="11054" x="3503613" y="5080000"/>
          <p14:tracePt t="11055" x="3503613" y="5056188"/>
          <p14:tracePt t="11056" x="3495675" y="5019675"/>
          <p14:tracePt t="11058" x="3495675" y="4968875"/>
          <p14:tracePt t="11059" x="3490913" y="4895850"/>
          <p14:tracePt t="11060" x="3487738" y="4868863"/>
          <p14:tracePt t="11062" x="3479800" y="4779963"/>
          <p14:tracePt t="11063" x="3479800" y="4748213"/>
          <p14:tracePt t="11064" x="3479800" y="4711700"/>
          <p14:tracePt t="11065" x="3471863" y="4684713"/>
          <p14:tracePt t="11066" x="3471863" y="4651375"/>
          <p14:tracePt t="11067" x="3467100" y="4595813"/>
          <p14:tracePt t="11068" x="3459163" y="4559300"/>
          <p14:tracePt t="11069" x="3459163" y="4527550"/>
          <p14:tracePt t="11070" x="3455988" y="4500563"/>
          <p14:tracePt t="11071" x="3448050" y="4464050"/>
          <p14:tracePt t="11072" x="3443288" y="4419600"/>
          <p14:tracePt t="11073" x="3435350" y="4383088"/>
          <p14:tracePt t="11074" x="3430588" y="4348163"/>
          <p14:tracePt t="11075" x="3422650" y="4311650"/>
          <p14:tracePt t="11076" x="3422650" y="4283075"/>
          <p14:tracePt t="11078" x="3406775" y="4203700"/>
          <p14:tracePt t="11079" x="3398838" y="4167188"/>
          <p14:tracePt t="11080" x="3395663" y="4132263"/>
          <p14:tracePt t="11081" x="3382963" y="4103688"/>
          <p14:tracePt t="11082" x="3375025" y="4059238"/>
          <p14:tracePt t="11083" x="3363913" y="4024313"/>
          <p14:tracePt t="11084" x="3359150" y="3995738"/>
          <p14:tracePt t="11085" x="3351213" y="3959225"/>
          <p14:tracePt t="11086" x="3338513" y="3930650"/>
          <p14:tracePt t="11088" x="3330575" y="3898900"/>
          <p14:tracePt t="11088" x="3314700" y="3863975"/>
          <p14:tracePt t="11089" x="3311525" y="3835400"/>
          <p14:tracePt t="11090" x="3298825" y="3806825"/>
          <p14:tracePt t="11091" x="3287713" y="3779838"/>
          <p14:tracePt t="11092" x="3275013" y="3730625"/>
          <p14:tracePt t="11093" x="3263900" y="3711575"/>
          <p14:tracePt t="11095" x="3243263" y="3663950"/>
          <p14:tracePt t="11096" x="3235325" y="3635375"/>
          <p14:tracePt t="11097" x="3227388" y="3611563"/>
          <p14:tracePt t="11098" x="3214688" y="3575050"/>
          <p14:tracePt t="11099" x="3203575" y="3554413"/>
          <p14:tracePt t="11100" x="3195638" y="3538538"/>
          <p14:tracePt t="11101" x="3182938" y="3519488"/>
          <p14:tracePt t="11102" x="3179763" y="3498850"/>
          <p14:tracePt t="11103" x="3167063" y="3479800"/>
          <p14:tracePt t="11104" x="3159125" y="3459163"/>
          <p14:tracePt t="11105" x="3146425" y="3443288"/>
          <p14:tracePt t="11106" x="3143250" y="3430588"/>
          <p14:tracePt t="11107" x="3135313" y="3414713"/>
          <p14:tracePt t="11108" x="3122613" y="3395663"/>
          <p14:tracePt t="11109" x="3119438" y="3378200"/>
          <p14:tracePt t="11111" x="3106738" y="3362325"/>
          <p14:tracePt t="11112" x="3098800" y="3346450"/>
          <p14:tracePt t="11113" x="3090863" y="3335338"/>
          <p14:tracePt t="11114" x="3087688" y="3327400"/>
          <p14:tracePt t="11115" x="3082925" y="3319463"/>
          <p14:tracePt t="11116" x="3079750" y="3306763"/>
          <p14:tracePt t="11117" x="3074988" y="3303588"/>
          <p14:tracePt t="11118" x="3071813" y="3295650"/>
          <p14:tracePt t="11119" x="3067050" y="3286125"/>
          <p14:tracePt t="11120" x="3062288" y="3282950"/>
          <p14:tracePt t="11121" x="3062288" y="3275013"/>
          <p14:tracePt t="11122" x="3059113" y="3270250"/>
          <p14:tracePt t="11123" x="3054350" y="3262313"/>
          <p14:tracePt t="11125" x="3051175" y="3259138"/>
          <p14:tracePt t="11126" x="3051175" y="3254375"/>
          <p14:tracePt t="11128" x="3046413" y="3251200"/>
          <p14:tracePt t="11129" x="3043238" y="3246438"/>
          <p14:tracePt t="11130" x="3038475" y="3243263"/>
          <p14:tracePt t="11132" x="3035300" y="3238500"/>
          <p14:tracePt t="11133" x="3035300" y="3235325"/>
          <p14:tracePt t="11134" x="3030538" y="3235325"/>
          <p14:tracePt t="11136" x="3030538" y="3230563"/>
          <p14:tracePt t="11138" x="3030538" y="3227388"/>
          <p14:tracePt t="11142" x="3027363" y="3222625"/>
          <p14:tracePt t="11144" x="3022600" y="3222625"/>
          <p14:tracePt t="11146" x="3019425" y="3222625"/>
          <p14:tracePt t="11148" x="3019425" y="3219450"/>
          <p14:tracePt t="11149" x="3014663" y="3219450"/>
          <p14:tracePt t="11151" x="3014663" y="3214688"/>
          <p14:tracePt t="11153" x="3011488" y="3214688"/>
          <p14:tracePt t="11156" x="3006725" y="3211513"/>
          <p14:tracePt t="11160" x="2998788" y="3211513"/>
          <p14:tracePt t="11161" x="2998788" y="3206750"/>
          <p14:tracePt t="11163" x="2995613" y="3206750"/>
          <p14:tracePt t="11164" x="2995613" y="3203575"/>
          <p14:tracePt t="11165" x="2990850" y="3203575"/>
          <p14:tracePt t="11169" x="2990850" y="3198813"/>
          <p14:tracePt t="11172" x="2987675" y="3198813"/>
          <p14:tracePt t="11201" x="2987675" y="3194050"/>
          <p14:tracePt t="11213" x="2982913" y="3190875"/>
          <p14:tracePt t="11218" x="2982913" y="3186113"/>
          <p14:tracePt t="11220" x="2978150" y="3182938"/>
          <p14:tracePt t="11223" x="2978150" y="3178175"/>
          <p14:tracePt t="11225" x="2974975" y="3175000"/>
          <p14:tracePt t="11226" x="2974975" y="3170238"/>
          <p14:tracePt t="11228" x="2970213" y="3167063"/>
          <p14:tracePt t="11230" x="2967038" y="3159125"/>
          <p14:tracePt t="11232" x="2967038" y="3154363"/>
          <p14:tracePt t="11233" x="2962275" y="3151188"/>
          <p14:tracePt t="11235" x="2962275" y="3146425"/>
          <p14:tracePt t="11236" x="2962275" y="3143250"/>
          <p14:tracePt t="11237" x="2959100" y="3143250"/>
          <p14:tracePt t="11238" x="2959100" y="3138488"/>
          <p14:tracePt t="11240" x="2954338" y="3135313"/>
          <p14:tracePt t="11241" x="2954338" y="3130550"/>
          <p14:tracePt t="11243" x="2954338" y="3127375"/>
          <p14:tracePt t="11243" x="2954338" y="3122613"/>
          <p14:tracePt t="11244" x="2951163" y="3119438"/>
          <p14:tracePt t="11246" x="2946400" y="3111500"/>
          <p14:tracePt t="11247" x="2946400" y="3106738"/>
          <p14:tracePt t="11248" x="2946400" y="3101975"/>
          <p14:tracePt t="11249" x="2946400" y="3098800"/>
          <p14:tracePt t="11250" x="2946400" y="3094038"/>
          <p14:tracePt t="11251" x="2943225" y="3086100"/>
          <p14:tracePt t="11252" x="2938463" y="3086100"/>
          <p14:tracePt t="11253" x="2938463" y="3078163"/>
          <p14:tracePt t="11254" x="2935288" y="3067050"/>
          <p14:tracePt t="11255" x="2930525" y="3062288"/>
          <p14:tracePt t="11256" x="2922588" y="3051175"/>
          <p14:tracePt t="11257" x="2914650" y="3043238"/>
          <p14:tracePt t="11258" x="2911475" y="3035300"/>
          <p14:tracePt t="11260" x="2906713" y="3019425"/>
          <p14:tracePt t="11261" x="2898775" y="3006725"/>
          <p14:tracePt t="11261" x="2886075" y="2998788"/>
          <p14:tracePt t="11262" x="2882900" y="2982913"/>
          <p14:tracePt t="11263" x="2874963" y="2974975"/>
          <p14:tracePt t="11264" x="2867025" y="2959100"/>
          <p14:tracePt t="11265" x="2859088" y="2946400"/>
          <p14:tracePt t="11266" x="2846388" y="2922588"/>
          <p14:tracePt t="11267" x="2835275" y="2909888"/>
          <p14:tracePt t="11268" x="2827338" y="2894013"/>
          <p14:tracePt t="11269" x="2814638" y="2886075"/>
          <p14:tracePt t="11270" x="2806700" y="2867025"/>
          <p14:tracePt t="11271" x="2790825" y="2843213"/>
          <p14:tracePt t="11272" x="2778125" y="2830513"/>
          <p14:tracePt t="11273" x="2770188" y="2814638"/>
          <p14:tracePt t="11274" x="2762250" y="2801938"/>
          <p14:tracePt t="11276" x="2751138" y="2786063"/>
          <p14:tracePt t="11276" x="2735263" y="2767013"/>
          <p14:tracePt t="11277" x="2727325" y="2751138"/>
          <p14:tracePt t="11280" x="2690813" y="2706688"/>
          <p14:tracePt t="11281" x="2674938" y="2686050"/>
          <p14:tracePt t="11282" x="2667000" y="2670175"/>
          <p14:tracePt t="11283" x="2654300" y="2654300"/>
          <p14:tracePt t="11284" x="2643188" y="2641600"/>
          <p14:tracePt t="11285" x="2630488" y="2625725"/>
          <p14:tracePt t="11286" x="2614613" y="2606675"/>
          <p14:tracePt t="11287" x="2606675" y="2590800"/>
          <p14:tracePt t="11288" x="2598738" y="2578100"/>
          <p14:tracePt t="11289" x="2586038" y="2562225"/>
          <p14:tracePt t="11290" x="2578100" y="2549525"/>
          <p14:tracePt t="11292" x="2562225" y="2525713"/>
          <p14:tracePt t="11292" x="2554288" y="2517775"/>
          <p14:tracePt t="11293" x="2546350" y="2506663"/>
          <p14:tracePt t="11296" x="2514600" y="2457450"/>
          <p14:tracePt t="11297" x="2501900" y="2446338"/>
          <p14:tracePt t="11298" x="2493963" y="2438400"/>
          <p14:tracePt t="11299" x="2486025" y="2422525"/>
          <p14:tracePt t="11300" x="2474913" y="2406650"/>
          <p14:tracePt t="11301" x="2466975" y="2398713"/>
          <p14:tracePt t="11302" x="2451100" y="2378075"/>
          <p14:tracePt t="11303" x="2443163" y="2362200"/>
          <p14:tracePt t="11304" x="2430463" y="2354263"/>
          <p14:tracePt t="11305" x="2422525" y="2338388"/>
          <p14:tracePt t="11306" x="2406650" y="2325688"/>
          <p14:tracePt t="11307" x="2398713" y="2309813"/>
          <p14:tracePt t="11308" x="2390775" y="2301875"/>
          <p14:tracePt t="11309" x="2378075" y="2286000"/>
          <p14:tracePt t="11310" x="2370138" y="2278063"/>
          <p14:tracePt t="11311" x="2362200" y="2262188"/>
          <p14:tracePt t="11312" x="2346325" y="2249488"/>
          <p14:tracePt t="11313" x="2338388" y="2238375"/>
          <p14:tracePt t="11314" x="2325688" y="2230438"/>
          <p14:tracePt t="11315" x="2317750" y="2222500"/>
          <p14:tracePt t="11316" x="2301875" y="2206625"/>
          <p14:tracePt t="11317" x="2293938" y="2193925"/>
          <p14:tracePt t="11318" x="2278063" y="2181225"/>
          <p14:tracePt t="11319" x="2270125" y="2173288"/>
          <p14:tracePt t="11320" x="2262188" y="2165350"/>
          <p14:tracePt t="11321" x="2254250" y="2154238"/>
          <p14:tracePt t="11322" x="2238375" y="2141538"/>
          <p14:tracePt t="11323" x="2230438" y="2130425"/>
          <p14:tracePt t="11324" x="2217738" y="2122488"/>
          <p14:tracePt t="11325" x="2209800" y="2114550"/>
          <p14:tracePt t="11326" x="2201863" y="2106613"/>
          <p14:tracePt t="11327" x="2185988" y="2093913"/>
          <p14:tracePt t="11328" x="2178050" y="2085975"/>
          <p14:tracePt t="11329" x="2170113" y="2078038"/>
          <p14:tracePt t="11330" x="2157413" y="2065338"/>
          <p14:tracePt t="11331" x="2149475" y="2062163"/>
          <p14:tracePt t="11332" x="2138363" y="2049463"/>
          <p14:tracePt t="11333" x="2125663" y="2041525"/>
          <p14:tracePt t="11334" x="2117725" y="2033588"/>
          <p14:tracePt t="11335" x="2109788" y="2030413"/>
          <p14:tracePt t="11336" x="2101850" y="2022475"/>
          <p14:tracePt t="11337" x="2085975" y="2009775"/>
          <p14:tracePt t="11338" x="2078038" y="2005013"/>
          <p14:tracePt t="11339" x="2070100" y="1997075"/>
          <p14:tracePt t="11340" x="2057400" y="1993900"/>
          <p14:tracePt t="11342" x="2049463" y="1985963"/>
          <p14:tracePt t="11342" x="2038350" y="1973263"/>
          <p14:tracePt t="11343" x="2025650" y="1970088"/>
          <p14:tracePt t="11346" x="2009775" y="1957388"/>
          <p14:tracePt t="11346" x="2001838" y="1954213"/>
          <p14:tracePt t="11347" x="1985963" y="1949450"/>
          <p14:tracePt t="11348" x="1978025" y="1941513"/>
          <p14:tracePt t="11349" x="1970088" y="1933575"/>
          <p14:tracePt t="11350" x="1962150" y="1930400"/>
          <p14:tracePt t="11351" x="1957388" y="1925638"/>
          <p14:tracePt t="11352" x="1941513" y="1922463"/>
          <p14:tracePt t="11353" x="1933575" y="1917700"/>
          <p14:tracePt t="11354" x="1925638" y="1912938"/>
          <p14:tracePt t="11355" x="1917700" y="1909763"/>
          <p14:tracePt t="11356" x="1909763" y="1905000"/>
          <p14:tracePt t="11357" x="1901825" y="1901825"/>
          <p14:tracePt t="11358" x="1889125" y="1897063"/>
          <p14:tracePt t="11359" x="1881188" y="1889125"/>
          <p14:tracePt t="11360" x="1873250" y="1889125"/>
          <p14:tracePt t="11361" x="1865313" y="1885950"/>
          <p14:tracePt t="11363" x="1849438" y="1878013"/>
          <p14:tracePt t="11364" x="1846263" y="1878013"/>
          <p14:tracePt t="11365" x="1838325" y="1873250"/>
          <p14:tracePt t="11366" x="1830388" y="1873250"/>
          <p14:tracePt t="11367" x="1825625" y="1870075"/>
          <p14:tracePt t="11368" x="1814513" y="1865313"/>
          <p14:tracePt t="11369" x="1809750" y="1865313"/>
          <p14:tracePt t="11370" x="1801813" y="1862138"/>
          <p14:tracePt t="11371" x="1797050" y="1862138"/>
          <p14:tracePt t="11372" x="1789113" y="1857375"/>
          <p14:tracePt t="11373" x="1785938" y="1857375"/>
          <p14:tracePt t="11374" x="1778000" y="1857375"/>
          <p14:tracePt t="11375" x="1773238" y="1854200"/>
          <p14:tracePt t="11376" x="1765300" y="1854200"/>
          <p14:tracePt t="11377" x="1762125" y="1854200"/>
          <p14:tracePt t="11379" x="1757363" y="1849438"/>
          <p14:tracePt t="11380" x="1746250" y="1849438"/>
          <p14:tracePt t="11382" x="1738313" y="1849438"/>
          <p14:tracePt t="11383" x="1733550" y="1849438"/>
          <p14:tracePt t="11384" x="1730375" y="1849438"/>
          <p14:tracePt t="11385" x="1725613" y="1849438"/>
          <p14:tracePt t="11386" x="1722438" y="1846263"/>
          <p14:tracePt t="11387" x="1717675" y="1846263"/>
          <p14:tracePt t="11388" x="1712913" y="1846263"/>
          <p14:tracePt t="11389" x="1709738" y="1846263"/>
          <p14:tracePt t="11392" x="1704975" y="1846263"/>
          <p14:tracePt t="11393" x="1701800" y="1846263"/>
          <p14:tracePt t="11394" x="1697038" y="1846263"/>
          <p14:tracePt t="11397" x="1693863" y="1846263"/>
          <p14:tracePt t="11400" x="1689100" y="1846263"/>
          <p14:tracePt t="11402" x="1685925" y="1846263"/>
          <p14:tracePt t="11405" x="1681163" y="1846263"/>
          <p14:tracePt t="11408" x="1677988" y="1849438"/>
          <p14:tracePt t="11410" x="1673225" y="1849438"/>
          <p14:tracePt t="11411" x="1673225" y="1854200"/>
          <p14:tracePt t="11414" x="1670050" y="1857375"/>
          <p14:tracePt t="11416" x="1670050" y="1862138"/>
          <p14:tracePt t="11417" x="1665288" y="1862138"/>
          <p14:tracePt t="11418" x="1665288" y="1865313"/>
          <p14:tracePt t="11419" x="1662113" y="1870075"/>
          <p14:tracePt t="11420" x="1662113" y="1873250"/>
          <p14:tracePt t="11421" x="1657350" y="1873250"/>
          <p14:tracePt t="11422" x="1657350" y="1878013"/>
          <p14:tracePt t="11424" x="1657350" y="1881188"/>
          <p14:tracePt t="11425" x="1654175" y="1885950"/>
          <p14:tracePt t="11427" x="1649413" y="1889125"/>
          <p14:tracePt t="11428" x="1649413" y="1893888"/>
          <p14:tracePt t="11429" x="1646238" y="1897063"/>
          <p14:tracePt t="11430" x="1646238" y="1901825"/>
          <p14:tracePt t="11431" x="1641475" y="1905000"/>
          <p14:tracePt t="11432" x="1641475" y="1909763"/>
          <p14:tracePt t="11433" x="1641475" y="1912938"/>
          <p14:tracePt t="11435" x="1638300" y="1922463"/>
          <p14:tracePt t="11436" x="1638300" y="1925638"/>
          <p14:tracePt t="11438" x="1633538" y="1925638"/>
          <p14:tracePt t="11439" x="1633538" y="1930400"/>
          <p14:tracePt t="11440" x="1633538" y="1933575"/>
          <p14:tracePt t="11442" x="1633538" y="1938338"/>
          <p14:tracePt t="11443" x="1630363" y="1946275"/>
          <p14:tracePt t="11444" x="1625600" y="1949450"/>
          <p14:tracePt t="11445" x="1625600" y="1954213"/>
          <p14:tracePt t="11446" x="1620838" y="1957388"/>
          <p14:tracePt t="11447" x="1620838" y="1962150"/>
          <p14:tracePt t="11448" x="1620838" y="1965325"/>
          <p14:tracePt t="11449" x="1620838" y="1970088"/>
          <p14:tracePt t="11450" x="1617663" y="1973263"/>
          <p14:tracePt t="11451" x="1617663" y="1978025"/>
          <p14:tracePt t="11452" x="1617663" y="1981200"/>
          <p14:tracePt t="11453" x="1617663" y="1985963"/>
          <p14:tracePt t="11454" x="1617663" y="1993900"/>
          <p14:tracePt t="11455" x="1617663" y="1997075"/>
          <p14:tracePt t="11456" x="1617663" y="2001838"/>
          <p14:tracePt t="11457" x="1617663" y="2005013"/>
          <p14:tracePt t="11458" x="1617663" y="2009775"/>
          <p14:tracePt t="11460" x="1617663" y="2022475"/>
          <p14:tracePt t="11462" x="1617663" y="2030413"/>
          <p14:tracePt t="11463" x="1617663" y="2033588"/>
          <p14:tracePt t="11464" x="1617663" y="2038350"/>
          <p14:tracePt t="11465" x="1617663" y="2046288"/>
          <p14:tracePt t="11466" x="1617663" y="2049463"/>
          <p14:tracePt t="11467" x="1617663" y="2054225"/>
          <p14:tracePt t="11468" x="1617663" y="2057400"/>
          <p14:tracePt t="11469" x="1617663" y="2065338"/>
          <p14:tracePt t="11470" x="1617663" y="2070100"/>
          <p14:tracePt t="11471" x="1617663" y="2073275"/>
          <p14:tracePt t="11472" x="1617663" y="2078038"/>
          <p14:tracePt t="11474" x="1617663" y="2085975"/>
          <p14:tracePt t="11475" x="1617663" y="2089150"/>
          <p14:tracePt t="11477" x="1617663" y="2093913"/>
          <p14:tracePt t="11477" x="1617663" y="2097088"/>
          <p14:tracePt t="11478" x="1617663" y="2101850"/>
          <p14:tracePt t="11479" x="1617663" y="2106613"/>
          <p14:tracePt t="11480" x="1617663" y="2114550"/>
          <p14:tracePt t="11481" x="1617663" y="2117725"/>
          <p14:tracePt t="11482" x="1620838" y="2122488"/>
          <p14:tracePt t="11483" x="1625600" y="2125663"/>
          <p14:tracePt t="11484" x="1625600" y="2130425"/>
          <p14:tracePt t="11485" x="1630363" y="2130425"/>
          <p14:tracePt t="11486" x="1630363" y="2138363"/>
          <p14:tracePt t="11487" x="1633538" y="2141538"/>
          <p14:tracePt t="11488" x="1638300" y="2146300"/>
          <p14:tracePt t="11489" x="1638300" y="2149475"/>
          <p14:tracePt t="11490" x="1641475" y="2154238"/>
          <p14:tracePt t="11491" x="1646238" y="2157413"/>
          <p14:tracePt t="11493" x="1649413" y="2165350"/>
          <p14:tracePt t="11494" x="1657350" y="2170113"/>
          <p14:tracePt t="11496" x="1662113" y="2173288"/>
          <p14:tracePt t="11497" x="1662113" y="2178050"/>
          <p14:tracePt t="11498" x="1665288" y="2178050"/>
          <p14:tracePt t="11499" x="1670050" y="2181225"/>
          <p14:tracePt t="11500" x="1673225" y="2185988"/>
          <p14:tracePt t="11501" x="1677988" y="2185988"/>
          <p14:tracePt t="11502" x="1681163" y="2189163"/>
          <p14:tracePt t="11503" x="1689100" y="2193925"/>
          <p14:tracePt t="11504" x="1693863" y="2198688"/>
          <p14:tracePt t="11505" x="1701800" y="2201863"/>
          <p14:tracePt t="11506" x="1704975" y="2206625"/>
          <p14:tracePt t="11507" x="1712913" y="2209800"/>
          <p14:tracePt t="11508" x="1717675" y="2209800"/>
          <p14:tracePt t="11509" x="1725613" y="2214563"/>
          <p14:tracePt t="11511" x="1741488" y="2225675"/>
          <p14:tracePt t="11512" x="1749425" y="2230438"/>
          <p14:tracePt t="11513" x="1754188" y="2233613"/>
          <p14:tracePt t="11514" x="1762125" y="2238375"/>
          <p14:tracePt t="11515" x="1778000" y="2246313"/>
          <p14:tracePt t="11516" x="1785938" y="2249488"/>
          <p14:tracePt t="11517" x="1793875" y="2254250"/>
          <p14:tracePt t="11518" x="1801813" y="2257425"/>
          <p14:tracePt t="11519" x="1814513" y="2262188"/>
          <p14:tracePt t="11520" x="1825625" y="2265363"/>
          <p14:tracePt t="11521" x="1841500" y="2270125"/>
          <p14:tracePt t="11522" x="1849438" y="2273300"/>
          <p14:tracePt t="11523" x="1857375" y="2278063"/>
          <p14:tracePt t="11524" x="1870075" y="2286000"/>
          <p14:tracePt t="11525" x="1881188" y="2290763"/>
          <p14:tracePt t="11526" x="1893888" y="2298700"/>
          <p14:tracePt t="11529" x="1930400" y="2314575"/>
          <p14:tracePt t="11530" x="1946275" y="2317750"/>
          <p14:tracePt t="11531" x="1962150" y="2322513"/>
          <p14:tracePt t="11532" x="1973263" y="2325688"/>
          <p14:tracePt t="11533" x="1981200" y="2330450"/>
          <p14:tracePt t="11534" x="1998663" y="2333625"/>
          <p14:tracePt t="11535" x="2009775" y="2341563"/>
          <p14:tracePt t="11536" x="2025650" y="2346325"/>
          <p14:tracePt t="11537" x="2038350" y="2349500"/>
          <p14:tracePt t="11538" x="2046288" y="2354263"/>
          <p14:tracePt t="11539" x="2062163" y="2357438"/>
          <p14:tracePt t="11540" x="2082800" y="2362200"/>
          <p14:tracePt t="11541" x="2090738" y="2365375"/>
          <p14:tracePt t="11542" x="2106613" y="2373313"/>
          <p14:tracePt t="11544" x="2114550" y="2378075"/>
          <p14:tracePt t="11546" x="2149475" y="2390775"/>
          <p14:tracePt t="11547" x="2165350" y="2393950"/>
          <p14:tracePt t="11548" x="2174875" y="2393950"/>
          <p14:tracePt t="11549" x="2182813" y="2398713"/>
          <p14:tracePt t="11550" x="2193925" y="2406650"/>
          <p14:tracePt t="11551" x="2201863" y="2406650"/>
          <p14:tracePt t="11552" x="2209800" y="2409825"/>
          <p14:tracePt t="11553" x="2222500" y="2414588"/>
          <p14:tracePt t="11554" x="2230438" y="2414588"/>
          <p14:tracePt t="11555" x="2238375" y="2417763"/>
          <p14:tracePt t="11556" x="2249488" y="2422525"/>
          <p14:tracePt t="11557" x="2254250" y="2422525"/>
          <p14:tracePt t="11559" x="2262188" y="2425700"/>
          <p14:tracePt t="11559" x="2270125" y="2425700"/>
          <p14:tracePt t="11560" x="2274888" y="2430463"/>
          <p14:tracePt t="11561" x="2282825" y="2430463"/>
          <p14:tracePt t="11562" x="2286000" y="2430463"/>
          <p14:tracePt t="11563" x="2293938" y="2433638"/>
          <p14:tracePt t="11564" x="2298700" y="2433638"/>
          <p14:tracePt t="11565" x="2301875" y="2433638"/>
          <p14:tracePt t="11566" x="2309813" y="2438400"/>
          <p14:tracePt t="11567" x="2314575" y="2438400"/>
          <p14:tracePt t="11568" x="2317750" y="2438400"/>
          <p14:tracePt t="11569" x="2322513" y="2438400"/>
          <p14:tracePt t="11570" x="2325688" y="2441575"/>
          <p14:tracePt t="11571" x="2333625" y="2441575"/>
          <p14:tracePt t="11573" x="2338388" y="2441575"/>
          <p14:tracePt t="11575" x="2346325" y="2441575"/>
          <p14:tracePt t="11577" x="2359025" y="2446338"/>
          <p14:tracePt t="11578" x="2362200" y="2446338"/>
          <p14:tracePt t="11579" x="2366963" y="2446338"/>
          <p14:tracePt t="11580" x="2370138" y="2446338"/>
          <p14:tracePt t="11581" x="2374900" y="2446338"/>
          <p14:tracePt t="11582" x="2378075" y="2446338"/>
          <p14:tracePt t="11583" x="2382838" y="2446338"/>
          <p14:tracePt t="11585" x="2386013" y="2446338"/>
          <p14:tracePt t="11586" x="2393950" y="2446338"/>
          <p14:tracePt t="11587" x="2398713" y="2446338"/>
          <p14:tracePt t="11588" x="2401888" y="2446338"/>
          <p14:tracePt t="11589" x="2409825" y="2446338"/>
          <p14:tracePt t="11590" x="2414588" y="2446338"/>
          <p14:tracePt t="11591" x="2422525" y="2446338"/>
          <p14:tracePt t="11592" x="2425700" y="2446338"/>
          <p14:tracePt t="11593" x="2430463" y="2446338"/>
          <p14:tracePt t="11594" x="2433638" y="2446338"/>
          <p14:tracePt t="11595" x="2438400" y="2446338"/>
          <p14:tracePt t="11596" x="2443163" y="2446338"/>
          <p14:tracePt t="11597" x="2446338" y="2446338"/>
          <p14:tracePt t="11598" x="2451100" y="2446338"/>
          <p14:tracePt t="11599" x="2454275" y="2446338"/>
          <p14:tracePt t="11600" x="2459038" y="2446338"/>
          <p14:tracePt t="11601" x="2466975" y="2446338"/>
          <p14:tracePt t="11602" x="2470150" y="2446338"/>
          <p14:tracePt t="11603" x="2474913" y="2446338"/>
          <p14:tracePt t="11604" x="2478088" y="2446338"/>
          <p14:tracePt t="11605" x="2482850" y="2446338"/>
          <p14:tracePt t="11607" x="2490788" y="2441575"/>
          <p14:tracePt t="11608" x="2493963" y="2441575"/>
          <p14:tracePt t="11610" x="2498725" y="2438400"/>
          <p14:tracePt t="11612" x="2501900" y="2438400"/>
          <p14:tracePt t="11613" x="2506663" y="2438400"/>
          <p14:tracePt t="11614" x="2509838" y="2433638"/>
          <p14:tracePt t="11615" x="2514600" y="2433638"/>
          <p14:tracePt t="11616" x="2517775" y="2430463"/>
          <p14:tracePt t="11617" x="2522538" y="2430463"/>
          <p14:tracePt t="11618" x="2525713" y="2430463"/>
          <p14:tracePt t="11619" x="2530475" y="2425700"/>
          <p14:tracePt t="11621" x="2535238" y="2425700"/>
          <p14:tracePt t="11622" x="2543175" y="2422525"/>
          <p14:tracePt t="11623" x="2546350" y="2422525"/>
          <p14:tracePt t="11624" x="2546350" y="2417763"/>
          <p14:tracePt t="11625" x="2551113" y="2417763"/>
          <p14:tracePt t="11627" x="2562225" y="2414588"/>
          <p14:tracePt t="11628" x="2566988" y="2409825"/>
          <p14:tracePt t="11629" x="2570163" y="2409825"/>
          <p14:tracePt t="11630" x="2578100" y="2406650"/>
          <p14:tracePt t="11631" x="2582863" y="2406650"/>
          <p14:tracePt t="11632" x="2590800" y="2401888"/>
          <p14:tracePt t="11633" x="2593975" y="2401888"/>
          <p14:tracePt t="11634" x="2598738" y="2398713"/>
          <p14:tracePt t="11635" x="2606675" y="2398713"/>
          <p14:tracePt t="11636" x="2609850" y="2393950"/>
          <p14:tracePt t="11637" x="2617788" y="2390775"/>
          <p14:tracePt t="11638" x="2627313" y="2386013"/>
          <p14:tracePt t="11639" x="2630488" y="2382838"/>
          <p14:tracePt t="11640" x="2638425" y="2378075"/>
          <p14:tracePt t="11642" x="2643188" y="2373313"/>
          <p14:tracePt t="11642" x="2651125" y="2370138"/>
          <p14:tracePt t="11644" x="2662238" y="2365375"/>
          <p14:tracePt t="11645" x="2670175" y="2362200"/>
          <p14:tracePt t="11646" x="2678113" y="2357438"/>
          <p14:tracePt t="11647" x="2686050" y="2354263"/>
          <p14:tracePt t="11648" x="2693988" y="2349500"/>
          <p14:tracePt t="11649" x="2701925" y="2346325"/>
          <p14:tracePt t="11651" x="2714625" y="2341563"/>
          <p14:tracePt t="11652" x="2727325" y="2330450"/>
          <p14:tracePt t="11653" x="2735263" y="2330450"/>
          <p14:tracePt t="11654" x="2735263" y="2325688"/>
          <p14:tracePt t="11655" x="2743200" y="2322513"/>
          <p14:tracePt t="11656" x="2754313" y="2317750"/>
          <p14:tracePt t="11657" x="2762250" y="2314575"/>
          <p14:tracePt t="11658" x="2770188" y="2309813"/>
          <p14:tracePt t="11659" x="2778125" y="2306638"/>
          <p14:tracePt t="11660" x="2782888" y="2301875"/>
          <p14:tracePt t="11661" x="2790825" y="2301875"/>
          <p14:tracePt t="11662" x="2798763" y="2298700"/>
          <p14:tracePt t="11663" x="2803525" y="2293938"/>
          <p14:tracePt t="11664" x="2811463" y="2290763"/>
          <p14:tracePt t="11665" x="2819400" y="2286000"/>
          <p14:tracePt t="11666" x="2822575" y="2281238"/>
          <p14:tracePt t="11667" x="2830513" y="2278063"/>
          <p14:tracePt t="11668" x="2838450" y="2273300"/>
          <p14:tracePt t="11669" x="2843213" y="2273300"/>
          <p14:tracePt t="11670" x="2851150" y="2270125"/>
          <p14:tracePt t="11671" x="2854325" y="2265363"/>
          <p14:tracePt t="11672" x="2862263" y="2262188"/>
          <p14:tracePt t="11673" x="2870200" y="2257425"/>
          <p14:tracePt t="11674" x="2874963" y="2254250"/>
          <p14:tracePt t="11675" x="2878138" y="2249488"/>
          <p14:tracePt t="11676" x="2886075" y="2249488"/>
          <p14:tracePt t="11678" x="2890838" y="2246313"/>
          <p14:tracePt t="11679" x="2903538" y="2238375"/>
          <p14:tracePt t="11680" x="2906713" y="2238375"/>
          <p14:tracePt t="11681" x="2914650" y="2238375"/>
          <p14:tracePt t="11682" x="2919413" y="2233613"/>
          <p14:tracePt t="11683" x="2927350" y="2230438"/>
          <p14:tracePt t="11684" x="2930525" y="2225675"/>
          <p14:tracePt t="11685" x="2935288" y="2222500"/>
          <p14:tracePt t="11686" x="2943225" y="2217738"/>
          <p14:tracePt t="11687" x="2946400" y="2214563"/>
          <p14:tracePt t="11688" x="2954338" y="2209800"/>
          <p14:tracePt t="11689" x="2962275" y="2206625"/>
          <p14:tracePt t="11690" x="2967038" y="2201863"/>
          <p14:tracePt t="11691" x="2974975" y="2198688"/>
          <p14:tracePt t="11692" x="2978150" y="2198688"/>
          <p14:tracePt t="11693" x="2987675" y="2193925"/>
          <p14:tracePt t="11695" x="2998788" y="2185988"/>
          <p14:tracePt t="11696" x="3003550" y="2181225"/>
          <p14:tracePt t="11697" x="3003550" y="2178050"/>
          <p14:tracePt t="11698" x="3011488" y="2173288"/>
          <p14:tracePt t="11699" x="3014663" y="2170113"/>
          <p14:tracePt t="11700" x="3022600" y="2165350"/>
          <p14:tracePt t="11701" x="3027363" y="2162175"/>
          <p14:tracePt t="11702" x="3030538" y="2162175"/>
          <p14:tracePt t="11703" x="3035300" y="2157413"/>
          <p14:tracePt t="11704" x="3043238" y="2154238"/>
          <p14:tracePt t="11705" x="3046413" y="2149475"/>
          <p14:tracePt t="11706" x="3051175" y="2149475"/>
          <p14:tracePt t="11707" x="3054350" y="2146300"/>
          <p14:tracePt t="11708" x="3059113" y="2146300"/>
          <p14:tracePt t="11709" x="3062288" y="2141538"/>
          <p14:tracePt t="11710" x="3067050" y="2141538"/>
          <p14:tracePt t="11711" x="3067050" y="2138363"/>
          <p14:tracePt t="11712" x="3071813" y="2133600"/>
          <p14:tracePt t="11713" x="3071813" y="2130425"/>
          <p14:tracePt t="11714" x="3074988" y="2130425"/>
          <p14:tracePt t="11715" x="3079750" y="2125663"/>
          <p14:tracePt t="11716" x="3082925" y="2125663"/>
          <p14:tracePt t="11717" x="3087688" y="2122488"/>
          <p14:tracePt t="11719" x="3090863" y="2117725"/>
          <p14:tracePt t="11720" x="3095625" y="2114550"/>
          <p14:tracePt t="11721" x="3095625" y="2109788"/>
          <p14:tracePt t="11722" x="3098800" y="2109788"/>
          <p14:tracePt t="11723" x="3098800" y="2106613"/>
          <p14:tracePt t="11725" x="3103563" y="2106613"/>
          <p14:tracePt t="11728" x="3106738" y="2101850"/>
          <p14:tracePt t="11729" x="3106738" y="2097088"/>
          <p14:tracePt t="11732" x="3106738" y="2093913"/>
          <p14:tracePt t="11734" x="3106738" y="2089150"/>
          <p14:tracePt t="11735" x="3106738" y="2085975"/>
          <p14:tracePt t="11738" x="3106738" y="2081213"/>
          <p14:tracePt t="11742" x="3106738" y="2078038"/>
          <p14:tracePt t="11743" x="3106738" y="2073275"/>
          <p14:tracePt t="11745" x="3106738" y="2070100"/>
          <p14:tracePt t="11746" x="3106738" y="2065338"/>
          <p14:tracePt t="11750" x="3106738" y="2062163"/>
          <p14:tracePt t="11752" x="3106738" y="2057400"/>
          <p14:tracePt t="11753" x="3106738" y="2054225"/>
          <p14:tracePt t="11754" x="3106738" y="2049463"/>
          <p14:tracePt t="11756" x="3106738" y="2046288"/>
          <p14:tracePt t="11757" x="3106738" y="2041525"/>
          <p14:tracePt t="11759" x="3106738" y="2038350"/>
          <p14:tracePt t="11760" x="3103563" y="2033588"/>
          <p14:tracePt t="11761" x="3103563" y="2030413"/>
          <p14:tracePt t="11762" x="3103563" y="2025650"/>
          <p14:tracePt t="11763" x="3098800" y="2025650"/>
          <p14:tracePt t="11764" x="3098800" y="2022475"/>
          <p14:tracePt t="11765" x="3095625" y="2017713"/>
          <p14:tracePt t="11766" x="3095625" y="2014538"/>
          <p14:tracePt t="11767" x="3090863" y="2014538"/>
          <p14:tracePt t="11768" x="3090863" y="2009775"/>
          <p14:tracePt t="11769" x="3087688" y="2001838"/>
          <p14:tracePt t="11770" x="3082925" y="1997075"/>
          <p14:tracePt t="11772" x="3079750" y="1993900"/>
          <p14:tracePt t="11773" x="3074988" y="1985963"/>
          <p14:tracePt t="11774" x="3074988" y="1981200"/>
          <p14:tracePt t="11775" x="3071813" y="1978025"/>
          <p14:tracePt t="11777" x="3067050" y="1973263"/>
          <p14:tracePt t="11777" x="3062288" y="1970088"/>
          <p14:tracePt t="11778" x="3059113" y="1962150"/>
          <p14:tracePt t="11780" x="3051175" y="1954213"/>
          <p14:tracePt t="11781" x="3043238" y="1946275"/>
          <p14:tracePt t="11782" x="3035300" y="1941513"/>
          <p14:tracePt t="11783" x="3030538" y="1938338"/>
          <p14:tracePt t="11784" x="3027363" y="1930400"/>
          <p14:tracePt t="11785" x="3019425" y="1922463"/>
          <p14:tracePt t="11786" x="3014663" y="1917700"/>
          <p14:tracePt t="11787" x="3006725" y="1909763"/>
          <p14:tracePt t="11788" x="3003550" y="1905000"/>
          <p14:tracePt t="11789" x="2995613" y="1897063"/>
          <p14:tracePt t="11790" x="2987675" y="1889125"/>
          <p14:tracePt t="11792" x="2967038" y="1873250"/>
          <p14:tracePt t="11794" x="2954338" y="1865313"/>
          <p14:tracePt t="11795" x="2943225" y="1854200"/>
          <p14:tracePt t="11796" x="2935288" y="1846263"/>
          <p14:tracePt t="11797" x="2922588" y="1838325"/>
          <p14:tracePt t="11798" x="2914650" y="1830388"/>
          <p14:tracePt t="11799" x="2906713" y="1820863"/>
          <p14:tracePt t="11800" x="2890838" y="1812925"/>
          <p14:tracePt t="11801" x="2882900" y="1804988"/>
          <p14:tracePt t="11802" x="2874963" y="1793875"/>
          <p14:tracePt t="11803" x="2867025" y="1789113"/>
          <p14:tracePt t="11804" x="2851150" y="1781175"/>
          <p14:tracePt t="11805" x="2835275" y="1770063"/>
          <p14:tracePt t="11806" x="2827338" y="1762125"/>
          <p14:tracePt t="11807" x="2819400" y="1757363"/>
          <p14:tracePt t="11808" x="2803525" y="1749425"/>
          <p14:tracePt t="11809" x="2794000" y="1738313"/>
          <p14:tracePt t="11810" x="2778125" y="1728788"/>
          <p14:tracePt t="11812" x="2770188" y="1725613"/>
          <p14:tracePt t="11813" x="2746375" y="1704975"/>
          <p14:tracePt t="11814" x="2735263" y="1701800"/>
          <p14:tracePt t="11815" x="2727325" y="1693863"/>
          <p14:tracePt t="11816" x="2711450" y="1681163"/>
          <p14:tracePt t="11817" x="2701925" y="1673225"/>
          <p14:tracePt t="11818" x="2686050" y="1670050"/>
          <p14:tracePt t="11819" x="2678113" y="1662113"/>
          <p14:tracePt t="11820" x="2662238" y="1649413"/>
          <p14:tracePt t="11821" x="2651125" y="1644650"/>
          <p14:tracePt t="11822" x="2643188" y="1636713"/>
          <p14:tracePt t="11823" x="2627313" y="1633538"/>
          <p14:tracePt t="11825" x="2601913" y="1617663"/>
          <p14:tracePt t="11826" x="2590800" y="1609725"/>
          <p14:tracePt t="11828" x="2570163" y="1601788"/>
          <p14:tracePt t="11829" x="2559050" y="1589088"/>
          <p14:tracePt t="11830" x="2543175" y="1585913"/>
          <p14:tracePt t="11831" x="2535238" y="1577975"/>
          <p14:tracePt t="11832" x="2517775" y="1570038"/>
          <p14:tracePt t="11833" x="2509838" y="1565275"/>
          <p14:tracePt t="11834" x="2501900" y="1562100"/>
          <p14:tracePt t="11835" x="2486025" y="1552575"/>
          <p14:tracePt t="11836" x="2474913" y="1549400"/>
          <p14:tracePt t="11837" x="2466975" y="1544638"/>
          <p14:tracePt t="11838" x="2459038" y="1541463"/>
          <p14:tracePt t="11839" x="2446338" y="1533525"/>
          <p14:tracePt t="11840" x="2433638" y="1528763"/>
          <p14:tracePt t="11841" x="2417763" y="1525588"/>
          <p14:tracePt t="11842" x="2409825" y="1520825"/>
          <p14:tracePt t="11843" x="2401888" y="1517650"/>
          <p14:tracePt t="11845" x="2386013" y="1512888"/>
          <p14:tracePt t="11846" x="2370138" y="1509713"/>
          <p14:tracePt t="11847" x="2362200" y="1509713"/>
          <p14:tracePt t="11848" x="2351088" y="1501775"/>
          <p14:tracePt t="11849" x="2338388" y="1497013"/>
          <p14:tracePt t="11850" x="2330450" y="1497013"/>
          <p14:tracePt t="11851" x="2317750" y="1493838"/>
          <p14:tracePt t="11852" x="2314575" y="1489075"/>
          <p14:tracePt t="11853" x="2306638" y="1489075"/>
          <p14:tracePt t="11854" x="2298700" y="1485900"/>
          <p14:tracePt t="11855" x="2290763" y="1485900"/>
          <p14:tracePt t="11856" x="2274888" y="1481138"/>
          <p14:tracePt t="11857" x="2270125" y="1481138"/>
          <p14:tracePt t="11858" x="2262188" y="1481138"/>
          <p14:tracePt t="11859" x="2254250" y="1477963"/>
          <p14:tracePt t="11860" x="2246313" y="1477963"/>
          <p14:tracePt t="11862" x="2230438" y="1477963"/>
          <p14:tracePt t="11863" x="2222500" y="1473200"/>
          <p14:tracePt t="11864" x="2217738" y="1473200"/>
          <p14:tracePt t="11865" x="2209800" y="1473200"/>
          <p14:tracePt t="11866" x="2201863" y="1473200"/>
          <p14:tracePt t="11867" x="2198688" y="1473200"/>
          <p14:tracePt t="11868" x="2190750" y="1473200"/>
          <p14:tracePt t="11869" x="2185988" y="1473200"/>
          <p14:tracePt t="11870" x="2182813" y="1473200"/>
          <p14:tracePt t="11871" x="2174875" y="1473200"/>
          <p14:tracePt t="11872" x="2165350" y="1473200"/>
          <p14:tracePt t="11873" x="2162175" y="1473200"/>
          <p14:tracePt t="11875" x="2154238" y="1473200"/>
          <p14:tracePt t="11876" x="2149475" y="1473200"/>
          <p14:tracePt t="11877" x="2141538" y="1473200"/>
          <p14:tracePt t="11878" x="2138363" y="1473200"/>
          <p14:tracePt t="11879" x="2133600" y="1473200"/>
          <p14:tracePt t="11880" x="2125663" y="1473200"/>
          <p14:tracePt t="11881" x="2122488" y="1473200"/>
          <p14:tracePt t="11882" x="2117725" y="1473200"/>
          <p14:tracePt t="11883" x="2114550" y="1473200"/>
          <p14:tracePt t="11884" x="2106613" y="1473200"/>
          <p14:tracePt t="11885" x="2101850" y="1473200"/>
          <p14:tracePt t="11887" x="2098675" y="1473200"/>
          <p14:tracePt t="11888" x="2093913" y="1473200"/>
          <p14:tracePt t="11889" x="2085975" y="1473200"/>
          <p14:tracePt t="11890" x="2082800" y="1473200"/>
          <p14:tracePt t="11891" x="2078038" y="1477963"/>
          <p14:tracePt t="11892" x="2070100" y="1477963"/>
          <p14:tracePt t="11893" x="2065338" y="1481138"/>
          <p14:tracePt t="11894" x="2062163" y="1481138"/>
          <p14:tracePt t="11895" x="2057400" y="1481138"/>
          <p14:tracePt t="11896" x="2049463" y="1485900"/>
          <p14:tracePt t="11897" x="2046288" y="1485900"/>
          <p14:tracePt t="11898" x="2041525" y="1489075"/>
          <p14:tracePt t="11900" x="2038350" y="1489075"/>
          <p14:tracePt t="11901" x="2030413" y="1489075"/>
          <p14:tracePt t="11902" x="2025650" y="1493838"/>
          <p14:tracePt t="11903" x="2017713" y="1493838"/>
          <p14:tracePt t="11904" x="2014538" y="1497013"/>
          <p14:tracePt t="11905" x="2009775" y="1497013"/>
          <p14:tracePt t="11906" x="2006600" y="1501775"/>
          <p14:tracePt t="11907" x="1998663" y="1504950"/>
          <p14:tracePt t="11908" x="1993900" y="1504950"/>
          <p14:tracePt t="11910" x="1981200" y="1512888"/>
          <p14:tracePt t="11911" x="1978025" y="1512888"/>
          <p14:tracePt t="11912" x="1970088" y="1517650"/>
          <p14:tracePt t="11913" x="1970088" y="1520825"/>
          <p14:tracePt t="11914" x="1965325" y="1525588"/>
          <p14:tracePt t="11915" x="1957388" y="1528763"/>
          <p14:tracePt t="11916" x="1954213" y="1533525"/>
          <p14:tracePt t="11917" x="1946275" y="1536700"/>
          <p14:tracePt t="11918" x="1941513" y="1541463"/>
          <p14:tracePt t="11919" x="1938338" y="1544638"/>
          <p14:tracePt t="11920" x="1933575" y="1549400"/>
          <p14:tracePt t="11921" x="1930400" y="1549400"/>
          <p14:tracePt t="11922" x="1922463" y="1557338"/>
          <p14:tracePt t="11923" x="1917700" y="1562100"/>
          <p14:tracePt t="11924" x="1914525" y="1565275"/>
          <p14:tracePt t="11925" x="1909763" y="1570038"/>
          <p14:tracePt t="11926" x="1906588" y="1573213"/>
          <p14:tracePt t="11927" x="1898650" y="1581150"/>
          <p14:tracePt t="11928" x="1893888" y="1585913"/>
          <p14:tracePt t="11929" x="1889125" y="1593850"/>
          <p14:tracePt t="11930" x="1885950" y="1597025"/>
          <p14:tracePt t="11931" x="1881188" y="1604963"/>
          <p14:tracePt t="11932" x="1878013" y="1612900"/>
          <p14:tracePt t="11933" x="1873250" y="1617663"/>
          <p14:tracePt t="11934" x="1873250" y="1620838"/>
          <p14:tracePt t="11935" x="1870075" y="1628775"/>
          <p14:tracePt t="11936" x="1865313" y="1633538"/>
          <p14:tracePt t="11937" x="1862138" y="1641475"/>
          <p14:tracePt t="11938" x="1857375" y="1649413"/>
          <p14:tracePt t="11939" x="1854200" y="1654175"/>
          <p14:tracePt t="11940" x="1849438" y="1662113"/>
          <p14:tracePt t="11941" x="1846263" y="1670050"/>
          <p14:tracePt t="11942" x="1838325" y="1677988"/>
          <p14:tracePt t="11943" x="1838325" y="1681163"/>
          <p14:tracePt t="11945" x="1830388" y="1697038"/>
          <p14:tracePt t="11946" x="1825625" y="1701800"/>
          <p14:tracePt t="11947" x="1822450" y="1709738"/>
          <p14:tracePt t="11948" x="1822450" y="1717675"/>
          <p14:tracePt t="11949" x="1817688" y="1728788"/>
          <p14:tracePt t="11950" x="1814513" y="1738313"/>
          <p14:tracePt t="11951" x="1814513" y="1746250"/>
          <p14:tracePt t="11952" x="1809750" y="1754188"/>
          <p14:tracePt t="11953" x="1804988" y="1770063"/>
          <p14:tracePt t="11955" x="1801813" y="1778000"/>
          <p14:tracePt t="11956" x="1801813" y="1789113"/>
          <p14:tracePt t="11957" x="1797050" y="1789113"/>
          <p14:tracePt t="11958" x="1797050" y="1804988"/>
          <p14:tracePt t="11959" x="1797050" y="1812925"/>
          <p14:tracePt t="11961" x="1793875" y="1820863"/>
          <p14:tracePt t="11962" x="1793875" y="1830388"/>
          <p14:tracePt t="11963" x="1793875" y="1841500"/>
          <p14:tracePt t="11964" x="1793875" y="1849438"/>
          <p14:tracePt t="11965" x="1789113" y="1857375"/>
          <p14:tracePt t="11966" x="1789113" y="1862138"/>
          <p14:tracePt t="11967" x="1789113" y="1870075"/>
          <p14:tracePt t="11968" x="1789113" y="1878013"/>
          <p14:tracePt t="11969" x="1789113" y="1881188"/>
          <p14:tracePt t="11970" x="1789113" y="1885950"/>
          <p14:tracePt t="11971" x="1789113" y="1889125"/>
          <p14:tracePt t="11972" x="1789113" y="1897063"/>
          <p14:tracePt t="11973" x="1789113" y="1905000"/>
          <p14:tracePt t="11974" x="1789113" y="1909763"/>
          <p14:tracePt t="11975" x="1789113" y="1912938"/>
          <p14:tracePt t="11977" x="1789113" y="1925638"/>
          <p14:tracePt t="11978" x="1789113" y="1933575"/>
          <p14:tracePt t="11979" x="1789113" y="1938338"/>
          <p14:tracePt t="11980" x="1789113" y="1946275"/>
          <p14:tracePt t="11981" x="1793875" y="1949450"/>
          <p14:tracePt t="11982" x="1793875" y="1954213"/>
          <p14:tracePt t="11983" x="1797050" y="1962150"/>
          <p14:tracePt t="11984" x="1801813" y="1965325"/>
          <p14:tracePt t="11986" x="1804988" y="1970088"/>
          <p14:tracePt t="11987" x="1804988" y="1978025"/>
          <p14:tracePt t="11988" x="1809750" y="1981200"/>
          <p14:tracePt t="11989" x="1814513" y="1985963"/>
          <p14:tracePt t="11990" x="1817688" y="1993900"/>
          <p14:tracePt t="11992" x="1817688" y="1997075"/>
          <p14:tracePt t="11993" x="1825625" y="2005013"/>
          <p14:tracePt t="11994" x="1830388" y="2009775"/>
          <p14:tracePt t="11995" x="1833563" y="2014538"/>
          <p14:tracePt t="11996" x="1838325" y="2022475"/>
          <p14:tracePt t="11997" x="1841500" y="2025650"/>
          <p14:tracePt t="11998" x="1849438" y="2030413"/>
          <p14:tracePt t="11999" x="1854200" y="2033588"/>
          <p14:tracePt t="12000" x="1857375" y="2033588"/>
          <p14:tracePt t="12001" x="1862138" y="2038350"/>
          <p14:tracePt t="12002" x="1870075" y="2041525"/>
          <p14:tracePt t="12003" x="1878013" y="2054225"/>
          <p14:tracePt t="12004" x="1881188" y="2057400"/>
          <p14:tracePt t="12005" x="1889125" y="2062163"/>
          <p14:tracePt t="12006" x="1893888" y="2070100"/>
          <p14:tracePt t="12007" x="1901825" y="2073275"/>
          <p14:tracePt t="12008" x="1914525" y="2081213"/>
          <p14:tracePt t="12010" x="1930400" y="2089150"/>
          <p14:tracePt t="12011" x="1938338" y="2093913"/>
          <p14:tracePt t="12012" x="1946275" y="2106613"/>
          <p14:tracePt t="12013" x="1957388" y="2109788"/>
          <p14:tracePt t="12014" x="1970088" y="2117725"/>
          <p14:tracePt t="12015" x="1978025" y="2122488"/>
          <p14:tracePt t="12016" x="1993900" y="2125663"/>
          <p14:tracePt t="12017" x="2001838" y="2130425"/>
          <p14:tracePt t="12018" x="2017713" y="2138363"/>
          <p14:tracePt t="12019" x="2030413" y="2146300"/>
          <p14:tracePt t="12020" x="2038350" y="2154238"/>
          <p14:tracePt t="12021" x="2054225" y="2157413"/>
          <p14:tracePt t="12022" x="2065338" y="2165350"/>
          <p14:tracePt t="12023" x="2082800" y="2170113"/>
          <p14:tracePt t="12025" x="2109788" y="2181225"/>
          <p14:tracePt t="12026" x="2125663" y="2193925"/>
          <p14:tracePt t="12027" x="2133600" y="2198688"/>
          <p14:tracePt t="12028" x="2146300" y="2201863"/>
          <p14:tracePt t="12029" x="2165350" y="2206625"/>
          <p14:tracePt t="12030" x="2182813" y="2209800"/>
          <p14:tracePt t="12031" x="2193925" y="2217738"/>
          <p14:tracePt t="12032" x="2209800" y="2225675"/>
          <p14:tracePt t="12033" x="2230438" y="2230438"/>
          <p14:tracePt t="12034" x="2249488" y="2233613"/>
          <p14:tracePt t="12035" x="2262188" y="2241550"/>
          <p14:tracePt t="12036" x="2278063" y="2246313"/>
          <p14:tracePt t="12037" x="2290763" y="2249488"/>
          <p14:tracePt t="12038" x="2309813" y="2254250"/>
          <p14:tracePt t="12039" x="2330450" y="2257425"/>
          <p14:tracePt t="12040" x="2351088" y="2265363"/>
          <p14:tracePt t="12042" x="2362200" y="2265363"/>
          <p14:tracePt t="12042" x="2378075" y="2270125"/>
          <p14:tracePt t="12043" x="2398713" y="2273300"/>
          <p14:tracePt t="12045" x="2438400" y="2278063"/>
          <p14:tracePt t="12047" x="2470150" y="2286000"/>
          <p14:tracePt t="12048" x="2490788" y="2290763"/>
          <p14:tracePt t="12049" x="2509838" y="2290763"/>
          <p14:tracePt t="12050" x="2535238" y="2290763"/>
          <p14:tracePt t="12051" x="2554288" y="2293938"/>
          <p14:tracePt t="12052" x="2574925" y="2293938"/>
          <p14:tracePt t="12053" x="2593975" y="2293938"/>
          <p14:tracePt t="12054" x="2617788" y="2298700"/>
          <p14:tracePt t="12055" x="2638425" y="2298700"/>
          <p14:tracePt t="12056" x="2659063" y="2298700"/>
          <p14:tracePt t="12057" x="2674938" y="2298700"/>
          <p14:tracePt t="12059" x="2693988" y="2298700"/>
          <p14:tracePt t="12059" x="2714625" y="2298700"/>
          <p14:tracePt t="12060" x="2738438" y="2298700"/>
          <p14:tracePt t="12062" x="2778125" y="2298700"/>
          <p14:tracePt t="12063" x="2798763" y="2298700"/>
          <p14:tracePt t="12064" x="2822575" y="2298700"/>
          <p14:tracePt t="12065" x="2843213" y="2298700"/>
          <p14:tracePt t="12066" x="2862263" y="2298700"/>
          <p14:tracePt t="12067" x="2878138" y="2298700"/>
          <p14:tracePt t="12068" x="2898775" y="2298700"/>
          <p14:tracePt t="12069" x="2919413" y="2298700"/>
          <p14:tracePt t="12070" x="2951163" y="2298700"/>
          <p14:tracePt t="12071" x="2967038" y="2298700"/>
          <p14:tracePt t="12072" x="2982913" y="2298700"/>
          <p14:tracePt t="12073" x="3003550" y="2293938"/>
          <p14:tracePt t="12074" x="3030538" y="2293938"/>
          <p14:tracePt t="12075" x="3051175" y="2290763"/>
          <p14:tracePt t="12077" x="3071813" y="2290763"/>
          <p14:tracePt t="12077" x="3090863" y="2281238"/>
          <p14:tracePt t="12078" x="3103563" y="2278063"/>
          <p14:tracePt t="12079" x="3122613" y="2278063"/>
          <p14:tracePt t="12080" x="3146425" y="2273300"/>
          <p14:tracePt t="12081" x="3163888" y="2270125"/>
          <p14:tracePt t="12082" x="3182938" y="2270125"/>
          <p14:tracePt t="12083" x="3195638" y="2265363"/>
          <p14:tracePt t="12084" x="3214688" y="2257425"/>
          <p14:tracePt t="12085" x="3235325" y="2254250"/>
          <p14:tracePt t="12086" x="3255963" y="2254250"/>
          <p14:tracePt t="12093" x="3343275" y="2225675"/>
          <p14:tracePt t="12094" x="3371850" y="2217738"/>
          <p14:tracePt t="12095" x="3387725" y="2206625"/>
          <p14:tracePt t="12096" x="3403600" y="2201863"/>
          <p14:tracePt t="12097" x="3411538" y="2198688"/>
          <p14:tracePt t="12098" x="3419475" y="2193925"/>
          <p14:tracePt t="12099" x="3435350" y="2185988"/>
          <p14:tracePt t="12100" x="3448050" y="2178050"/>
          <p14:tracePt t="12101" x="3455988" y="2170113"/>
          <p14:tracePt t="12102" x="3463925" y="2165350"/>
          <p14:tracePt t="12103" x="3475038" y="2162175"/>
          <p14:tracePt t="12105" x="3490913" y="2141538"/>
          <p14:tracePt t="12106" x="3498850" y="2138363"/>
          <p14:tracePt t="12107" x="3503613" y="2133600"/>
          <p14:tracePt t="12108" x="3511550" y="2125663"/>
          <p14:tracePt t="12109" x="3514725" y="2122488"/>
          <p14:tracePt t="12111" x="3524250" y="2114550"/>
          <p14:tracePt t="12111" x="3527425" y="2109788"/>
          <p14:tracePt t="12112" x="3532188" y="2101850"/>
          <p14:tracePt t="12113" x="3535363" y="2101850"/>
          <p14:tracePt t="12114" x="3540125" y="2093913"/>
          <p14:tracePt t="12115" x="3543300" y="2089150"/>
          <p14:tracePt t="12116" x="3548063" y="2081213"/>
          <p14:tracePt t="12117" x="3551238" y="2070100"/>
          <p14:tracePt t="12118" x="3556000" y="2070100"/>
          <p14:tracePt t="12120" x="3559175" y="2057400"/>
          <p14:tracePt t="12121" x="3563938" y="2046288"/>
          <p14:tracePt t="12122" x="3567113" y="2046288"/>
          <p14:tracePt t="12123" x="3567113" y="2038350"/>
          <p14:tracePt t="12124" x="3571875" y="2025650"/>
          <p14:tracePt t="12126" x="3571875" y="2009775"/>
          <p14:tracePt t="12129" x="3575050" y="2001838"/>
          <p14:tracePt t="12129" x="3575050" y="1997075"/>
          <p14:tracePt t="12130" x="3575050" y="1989138"/>
          <p14:tracePt t="12131" x="3575050" y="1981200"/>
          <p14:tracePt t="12132" x="3575050" y="1973263"/>
          <p14:tracePt t="12133" x="3575050" y="1965325"/>
          <p14:tracePt t="12134" x="3575050" y="1962150"/>
          <p14:tracePt t="12135" x="3575050" y="1954213"/>
          <p14:tracePt t="12136" x="3575050" y="1946275"/>
          <p14:tracePt t="12137" x="3575050" y="1938338"/>
          <p14:tracePt t="12138" x="3575050" y="1930400"/>
          <p14:tracePt t="12139" x="3575050" y="1925638"/>
          <p14:tracePt t="12140" x="3575050" y="1917700"/>
          <p14:tracePt t="12142" x="3575050" y="1909763"/>
          <p14:tracePt t="12142" x="3575050" y="1897063"/>
          <p14:tracePt t="12144" x="3575050" y="1889125"/>
          <p14:tracePt t="12144" x="3571875" y="1881188"/>
          <p14:tracePt t="12145" x="3567113" y="1878013"/>
          <p14:tracePt t="12146" x="3567113" y="1865313"/>
          <p14:tracePt t="12147" x="3563938" y="1857375"/>
          <p14:tracePt t="12148" x="3559175" y="1854200"/>
          <p14:tracePt t="12149" x="3559175" y="1846263"/>
          <p14:tracePt t="12150" x="3556000" y="1838325"/>
          <p14:tracePt t="12152" x="3551238" y="1830388"/>
          <p14:tracePt t="12152" x="3548063" y="1820863"/>
          <p14:tracePt t="12153" x="3543300" y="1809750"/>
          <p14:tracePt t="12154" x="3540125" y="1809750"/>
          <p14:tracePt t="12155" x="3535363" y="1801813"/>
          <p14:tracePt t="12156" x="3532188" y="1789113"/>
          <p14:tracePt t="12157" x="3519488" y="1781175"/>
          <p14:tracePt t="12158" x="3514725" y="1773238"/>
          <p14:tracePt t="12159" x="3511550" y="1770063"/>
          <p14:tracePt t="12160" x="3506788" y="1762125"/>
          <p14:tracePt t="12161" x="3498850" y="1754188"/>
          <p14:tracePt t="12162" x="3495675" y="1746250"/>
          <p14:tracePt t="12163" x="3487738" y="1733550"/>
          <p14:tracePt t="12164" x="3482975" y="1728788"/>
          <p14:tracePt t="12165" x="3475038" y="1720850"/>
          <p14:tracePt t="12166" x="3463925" y="1709738"/>
          <p14:tracePt t="12167" x="3455988" y="1704975"/>
          <p14:tracePt t="12168" x="3451225" y="1693863"/>
          <p14:tracePt t="12169" x="3443288" y="1685925"/>
          <p14:tracePt t="12170" x="3435350" y="1681163"/>
          <p14:tracePt t="12171" x="3422650" y="1673225"/>
          <p14:tracePt t="12172" x="3414713" y="1665288"/>
          <p14:tracePt t="12173" x="3406775" y="1654175"/>
          <p14:tracePt t="12174" x="3398838" y="1649413"/>
          <p14:tracePt t="12175" x="3387725" y="1641475"/>
          <p14:tracePt t="12176" x="3375025" y="1628775"/>
          <p14:tracePt t="12177" x="3367088" y="1620838"/>
          <p14:tracePt t="12179" x="3348038" y="1612900"/>
          <p14:tracePt t="12180" x="3338513" y="1604963"/>
          <p14:tracePt t="12181" x="3322638" y="1601788"/>
          <p14:tracePt t="12182" x="3311525" y="1589088"/>
          <p14:tracePt t="12183" x="3303588" y="1585913"/>
          <p14:tracePt t="12184" x="3287713" y="1581150"/>
          <p14:tracePt t="12185" x="3279775" y="1577975"/>
          <p14:tracePt t="12186" x="3263900" y="1573213"/>
          <p14:tracePt t="12187" x="3251200" y="1562100"/>
          <p14:tracePt t="12188" x="3235325" y="1557338"/>
          <p14:tracePt t="12189" x="3227388" y="1552575"/>
          <p14:tracePt t="12190" x="3214688" y="1549400"/>
          <p14:tracePt t="12191" x="3203575" y="1544638"/>
          <p14:tracePt t="12192" x="3182938" y="1536700"/>
          <p14:tracePt t="12193" x="3175000" y="1533525"/>
          <p14:tracePt t="12194" x="3163888" y="1533525"/>
          <p14:tracePt t="12195" x="3146425" y="1528763"/>
          <p14:tracePt t="12196" x="3135313" y="1525588"/>
          <p14:tracePt t="12197" x="3119438" y="1520825"/>
          <p14:tracePt t="12198" x="3106738" y="1520825"/>
          <p14:tracePt t="12199" x="3090863" y="1517650"/>
          <p14:tracePt t="12200" x="3079750" y="1517650"/>
          <p14:tracePt t="12201" x="3071813" y="1512888"/>
          <p14:tracePt t="12202" x="3051175" y="1512888"/>
          <p14:tracePt t="12203" x="3038475" y="1512888"/>
          <p14:tracePt t="12204" x="3022600" y="1504950"/>
          <p14:tracePt t="12205" x="3011488" y="1504950"/>
          <p14:tracePt t="12206" x="2995613" y="1504950"/>
          <p14:tracePt t="12207" x="2974975" y="1504950"/>
          <p14:tracePt t="12208" x="2967038" y="1501775"/>
          <p14:tracePt t="12209" x="2954338" y="1501775"/>
          <p14:tracePt t="12210" x="2938463" y="1501775"/>
          <p14:tracePt t="12211" x="2927350" y="1501775"/>
          <p14:tracePt t="12212" x="2906713" y="1501775"/>
          <p14:tracePt t="12213" x="2895600" y="1501775"/>
          <p14:tracePt t="12214" x="2878138" y="1501775"/>
          <p14:tracePt t="12215" x="2867025" y="1501775"/>
          <p14:tracePt t="12216" x="2851150" y="1504950"/>
          <p14:tracePt t="12217" x="2838450" y="1504950"/>
          <p14:tracePt t="12218" x="2827338" y="1504950"/>
          <p14:tracePt t="12219" x="2811463" y="1509713"/>
          <p14:tracePt t="12220" x="2798763" y="1509713"/>
          <p14:tracePt t="12221" x="2782888" y="1512888"/>
          <p14:tracePt t="12222" x="2770188" y="1517650"/>
          <p14:tracePt t="12223" x="2754313" y="1517650"/>
          <p14:tracePt t="12224" x="2743200" y="1520825"/>
          <p14:tracePt t="12225" x="2727325" y="1525588"/>
          <p14:tracePt t="12226" x="2714625" y="1525588"/>
          <p14:tracePt t="12227" x="2698750" y="1533525"/>
          <p14:tracePt t="12228" x="2686050" y="1536700"/>
          <p14:tracePt t="12229" x="2670175" y="1541463"/>
          <p14:tracePt t="12230" x="2659063" y="1544638"/>
          <p14:tracePt t="12231" x="2651125" y="1549400"/>
          <p14:tracePt t="12232" x="2627313" y="1562100"/>
          <p14:tracePt t="12233" x="2614613" y="1565275"/>
          <p14:tracePt t="12234" x="2606675" y="1570038"/>
          <p14:tracePt t="12235" x="2590800" y="1573213"/>
          <p14:tracePt t="12236" x="2578100" y="1585913"/>
          <p14:tracePt t="12237" x="2566988" y="1589088"/>
          <p14:tracePt t="12238" x="2546350" y="1597025"/>
          <p14:tracePt t="12239" x="2538413" y="1601788"/>
          <p14:tracePt t="12240" x="2525713" y="1612900"/>
          <p14:tracePt t="12242" x="2514600" y="1620838"/>
          <p14:tracePt t="12242" x="2493963" y="1633538"/>
          <p14:tracePt t="12244" x="2486025" y="1636713"/>
          <p14:tracePt t="12245" x="2462213" y="1654175"/>
          <p14:tracePt t="12246" x="2454275" y="1665288"/>
          <p14:tracePt t="12247" x="2438400" y="1673225"/>
          <p14:tracePt t="12248" x="2430463" y="1681163"/>
          <p14:tracePt t="12249" x="2414588" y="1693863"/>
          <p14:tracePt t="12250" x="2406650" y="1701800"/>
          <p14:tracePt t="12251" x="2398713" y="1709738"/>
          <p14:tracePt t="12252" x="2390775" y="1717675"/>
          <p14:tracePt t="12253" x="2374900" y="1733550"/>
          <p14:tracePt t="12254" x="2366963" y="1741488"/>
          <p14:tracePt t="12255" x="2354263" y="1754188"/>
          <p14:tracePt t="12256" x="2346325" y="1762125"/>
          <p14:tracePt t="12257" x="2338388" y="1770063"/>
          <p14:tracePt t="12258" x="2325688" y="1785938"/>
          <p14:tracePt t="12259" x="2317750" y="1793875"/>
          <p14:tracePt t="12260" x="2309813" y="1809750"/>
          <p14:tracePt t="12261" x="2306638" y="1817688"/>
          <p14:tracePt t="12263" x="2293938" y="1825625"/>
          <p14:tracePt t="12263" x="2286000" y="1841500"/>
          <p14:tracePt t="12264" x="2282825" y="1854200"/>
          <p14:tracePt t="12265" x="2270125" y="1865313"/>
          <p14:tracePt t="12266" x="2266950" y="1873250"/>
          <p14:tracePt t="12267" x="2259013" y="1885950"/>
          <p14:tracePt t="12268" x="2254250" y="1901825"/>
          <p14:tracePt t="12269" x="2249488" y="1909763"/>
          <p14:tracePt t="12270" x="2238375" y="1917700"/>
          <p14:tracePt t="12271" x="2233613" y="1933575"/>
          <p14:tracePt t="12272" x="2230438" y="1941513"/>
          <p14:tracePt t="12273" x="2225675" y="1957388"/>
          <p14:tracePt t="12274" x="2222500" y="1970088"/>
          <p14:tracePt t="12275" x="2222500" y="1978025"/>
          <p14:tracePt t="12276" x="2217738" y="1993900"/>
          <p14:tracePt t="12277" x="2214563" y="2001838"/>
          <p14:tracePt t="12278" x="2214563" y="2014538"/>
          <p14:tracePt t="12280" x="2206625" y="2030413"/>
          <p14:tracePt t="12281" x="2206625" y="2038350"/>
          <p14:tracePt t="12282" x="2206625" y="2049463"/>
          <p14:tracePt t="12283" x="2206625" y="2062163"/>
          <p14:tracePt t="12284" x="2206625" y="2070100"/>
          <p14:tracePt t="12285" x="2206625" y="2078038"/>
          <p14:tracePt t="12286" x="2206625" y="2085975"/>
          <p14:tracePt t="12287" x="2206625" y="2093913"/>
          <p14:tracePt t="12288" x="2206625" y="2109788"/>
          <p14:tracePt t="12289" x="2206625" y="2117725"/>
          <p14:tracePt t="12290" x="2206625" y="2125663"/>
          <p14:tracePt t="12292" x="2206625" y="2138363"/>
          <p14:tracePt t="12293" x="2206625" y="2146300"/>
          <p14:tracePt t="12294" x="2214563" y="2154238"/>
          <p14:tracePt t="12295" x="2217738" y="2162175"/>
          <p14:tracePt t="12296" x="2217738" y="2165350"/>
          <p14:tracePt t="12297" x="2222500" y="2173288"/>
          <p14:tracePt t="12298" x="2225675" y="2181225"/>
          <p14:tracePt t="12299" x="2230438" y="2185988"/>
          <p14:tracePt t="12300" x="2230438" y="2193925"/>
          <p14:tracePt t="12301" x="2233613" y="2198688"/>
          <p14:tracePt t="12302" x="2238375" y="2206625"/>
          <p14:tracePt t="12303" x="2241550" y="2209800"/>
          <p14:tracePt t="12304" x="2249488" y="2217738"/>
          <p14:tracePt t="12305" x="2249488" y="2222500"/>
          <p14:tracePt t="12306" x="2254250" y="2225675"/>
          <p14:tracePt t="12307" x="2259013" y="2230438"/>
          <p14:tracePt t="12308" x="2266950" y="2238375"/>
          <p14:tracePt t="12309" x="2270125" y="2238375"/>
          <p14:tracePt t="12310" x="2274888" y="2238375"/>
          <p14:tracePt t="12311" x="2278063" y="2241550"/>
          <p14:tracePt t="12312" x="2282825" y="2246313"/>
          <p14:tracePt t="12313" x="2290763" y="2249488"/>
          <p14:tracePt t="12314" x="2298700" y="2249488"/>
          <p14:tracePt t="12315" x="2301875" y="2254250"/>
          <p14:tracePt t="12316" x="2306638" y="2254250"/>
          <p14:tracePt t="12317" x="2314575" y="2257425"/>
          <p14:tracePt t="12318" x="2317750" y="2257425"/>
          <p14:tracePt t="12319" x="2325688" y="2262188"/>
          <p14:tracePt t="12320" x="2330450" y="2262188"/>
          <p14:tracePt t="12321" x="2333625" y="2262188"/>
          <p14:tracePt t="12323" x="2338388" y="2262188"/>
          <p14:tracePt t="12324" x="2346325" y="2262188"/>
          <p14:tracePt t="12325" x="2351088" y="2262188"/>
          <p14:tracePt t="12326" x="2354263" y="2262188"/>
          <p14:tracePt t="12327" x="2362200" y="2262188"/>
          <p14:tracePt t="12328" x="2366963" y="2262188"/>
          <p14:tracePt t="12329" x="2370138" y="2262188"/>
          <p14:tracePt t="12330" x="2374900" y="2262188"/>
          <p14:tracePt t="12331" x="2382838" y="2262188"/>
          <p14:tracePt t="12332" x="2386013" y="2262188"/>
          <p14:tracePt t="12333" x="2393950" y="2262188"/>
          <p14:tracePt t="12334" x="2398713" y="2262188"/>
          <p14:tracePt t="12335" x="2406650" y="2262188"/>
          <p14:tracePt t="12336" x="2406650" y="2257425"/>
          <p14:tracePt t="12337" x="2409825" y="2257425"/>
          <p14:tracePt t="12338" x="2414588" y="2254250"/>
          <p14:tracePt t="12339" x="2422525" y="2249488"/>
          <p14:tracePt t="12340" x="2425700" y="2249488"/>
          <p14:tracePt t="12341" x="2433638" y="2246313"/>
          <p14:tracePt t="12342" x="2438400" y="2246313"/>
          <p14:tracePt t="12343" x="2443163" y="2241550"/>
          <p14:tracePt t="12344" x="2451100" y="2238375"/>
          <p14:tracePt t="12345" x="2454275" y="2238375"/>
          <p14:tracePt t="12346" x="2459038" y="2233613"/>
          <p14:tracePt t="12347" x="2466975" y="2230438"/>
          <p14:tracePt t="12348" x="2470150" y="2225675"/>
          <p14:tracePt t="12349" x="2474913" y="2225675"/>
          <p14:tracePt t="12350" x="2482850" y="2217738"/>
          <p14:tracePt t="12351" x="2490788" y="2214563"/>
          <p14:tracePt t="12352" x="2493963" y="2209800"/>
          <p14:tracePt t="12353" x="2498725" y="2206625"/>
          <p14:tracePt t="12354" x="2501900" y="2201863"/>
          <p14:tracePt t="12355" x="2509838" y="2198688"/>
          <p14:tracePt t="12356" x="2514600" y="2193925"/>
          <p14:tracePt t="12357" x="2514600" y="2189163"/>
          <p14:tracePt t="12358" x="2517775" y="2185988"/>
          <p14:tracePt t="12359" x="2522538" y="2181225"/>
          <p14:tracePt t="12360" x="2525713" y="2173288"/>
          <p14:tracePt t="12361" x="2530475" y="2170113"/>
          <p14:tracePt t="12362" x="2535238" y="2165350"/>
          <p14:tracePt t="12364" x="2538413" y="2154238"/>
          <p14:tracePt t="12365" x="2543175" y="2154238"/>
          <p14:tracePt t="12366" x="2546350" y="2149475"/>
          <p14:tracePt t="12367" x="2551113" y="2146300"/>
          <p14:tracePt t="12368" x="2551113" y="2141538"/>
          <p14:tracePt t="12369" x="2554288" y="2138363"/>
          <p14:tracePt t="12370" x="2559050" y="2133600"/>
          <p14:tracePt t="12371" x="2559050" y="2125663"/>
          <p14:tracePt t="12372" x="2562225" y="2122488"/>
          <p14:tracePt t="12373" x="2562225" y="2117725"/>
          <p14:tracePt t="12374" x="2562225" y="2114550"/>
          <p14:tracePt t="12375" x="2566988" y="2109788"/>
          <p14:tracePt t="12377" x="2570163" y="2106613"/>
          <p14:tracePt t="12378" x="2570163" y="2101850"/>
          <p14:tracePt t="12379" x="2570163" y="2093913"/>
          <p14:tracePt t="12380" x="2574925" y="2089150"/>
          <p14:tracePt t="12381" x="2574925" y="2085975"/>
          <p14:tracePt t="12382" x="2574925" y="2081213"/>
          <p14:tracePt t="12383" x="2574925" y="2078038"/>
          <p14:tracePt t="12384" x="2578100" y="2073275"/>
          <p14:tracePt t="12385" x="2578100" y="2070100"/>
          <p14:tracePt t="12386" x="2578100" y="2065338"/>
          <p14:tracePt t="12388" x="2582863" y="2062163"/>
          <p14:tracePt t="12390" x="2582863" y="2057400"/>
          <p14:tracePt t="12391" x="2582863" y="2054225"/>
          <p14:tracePt t="12392" x="2582863" y="2049463"/>
          <p14:tracePt t="12394" x="2582863" y="2046288"/>
          <p14:tracePt t="12396" x="2582863" y="2041525"/>
          <p14:tracePt t="12398" x="2582863" y="2038350"/>
          <p14:tracePt t="12440" x="2578100" y="2038350"/>
          <p14:tracePt t="12442" x="2574925" y="2038350"/>
          <p14:tracePt t="12447" x="2570163" y="2038350"/>
          <p14:tracePt t="12448" x="2570163" y="2041525"/>
          <p14:tracePt t="12451" x="2570163" y="2046288"/>
          <p14:tracePt t="12452" x="2566988" y="2049463"/>
          <p14:tracePt t="12454" x="2566988" y="2054225"/>
          <p14:tracePt t="12456" x="2562225" y="2057400"/>
          <p14:tracePt t="12457" x="2559050" y="2057400"/>
          <p14:tracePt t="12458" x="2559050" y="2062163"/>
          <p14:tracePt t="12459" x="2554288" y="2062163"/>
          <p14:tracePt t="12461" x="2551113" y="2065338"/>
          <p14:tracePt t="12462" x="2551113" y="2070100"/>
          <p14:tracePt t="12463" x="2546350" y="2070100"/>
          <p14:tracePt t="12464" x="2546350" y="2073275"/>
          <p14:tracePt t="12465" x="2543175" y="2073275"/>
          <p14:tracePt t="12466" x="2543175" y="2078038"/>
          <p14:tracePt t="12467" x="2538413" y="2081213"/>
          <p14:tracePt t="12469" x="2535238" y="2085975"/>
          <p14:tracePt t="12471" x="2535238" y="2089150"/>
          <p14:tracePt t="12472" x="2530475" y="2089150"/>
          <p14:tracePt t="12473" x="2530475" y="2093913"/>
          <p14:tracePt t="12476" x="2530475" y="2097088"/>
          <p14:tracePt t="12479" x="2530475" y="2101850"/>
          <p14:tracePt t="12480" x="2525713" y="2101850"/>
          <p14:tracePt t="12568" x="2525713" y="2106613"/>
          <p14:tracePt t="12572" x="2530475" y="2106613"/>
          <p14:tracePt t="12574" x="2535238" y="2109788"/>
          <p14:tracePt t="12578" x="2538413" y="2109788"/>
          <p14:tracePt t="12579" x="2538413" y="2114550"/>
          <p14:tracePt t="12581" x="2543175" y="2114550"/>
          <p14:tracePt t="12584" x="2546350" y="2117725"/>
          <p14:tracePt t="12590" x="2551113" y="2122488"/>
          <p14:tracePt t="12595" x="2551113" y="2125663"/>
          <p14:tracePt t="12596" x="2554288" y="2125663"/>
          <p14:tracePt t="12603" x="2554288" y="2130425"/>
          <p14:tracePt t="12630" x="2554288" y="2133600"/>
          <p14:tracePt t="12664" x="2554288" y="2130425"/>
          <p14:tracePt t="12880" x="2554288" y="2125663"/>
          <p14:tracePt t="12883" x="2551113" y="2125663"/>
          <p14:tracePt t="12886" x="2538413" y="2122488"/>
          <p14:tracePt t="12896" x="2514600" y="2109788"/>
          <p14:tracePt t="12898" x="2509838" y="2106613"/>
          <p14:tracePt t="12900" x="2498725" y="2106613"/>
          <p14:tracePt t="12902" x="2493963" y="2101850"/>
          <p14:tracePt t="12904" x="2490788" y="2101850"/>
          <p14:tracePt t="12905" x="2486025" y="2097088"/>
          <p14:tracePt t="12907" x="2482850" y="2097088"/>
          <p14:tracePt t="12908" x="2478088" y="2093913"/>
          <p14:tracePt t="12911" x="2470150" y="2089150"/>
          <p14:tracePt t="12914" x="2459038" y="2081213"/>
          <p14:tracePt t="12917" x="2451100" y="2078038"/>
          <p14:tracePt t="12919" x="2446338" y="2078038"/>
          <p14:tracePt t="12920" x="2443163" y="2078038"/>
          <p14:tracePt t="12921" x="2443163" y="2073275"/>
          <p14:tracePt t="12927" x="2438400" y="2073275"/>
          <p14:tracePt t="12981" x="2443163" y="2073275"/>
          <p14:tracePt t="12982" x="2446338" y="2073275"/>
          <p14:tracePt t="12984" x="2451100" y="2078038"/>
          <p14:tracePt t="12985" x="2454275" y="2081213"/>
          <p14:tracePt t="12986" x="2459038" y="2085975"/>
          <p14:tracePt t="12987" x="2462213" y="2089150"/>
          <p14:tracePt t="12988" x="2466975" y="2089150"/>
          <p14:tracePt t="12989" x="2470150" y="2093913"/>
          <p14:tracePt t="12990" x="2478088" y="2097088"/>
          <p14:tracePt t="12992" x="2490788" y="2109788"/>
          <p14:tracePt t="12993" x="2493963" y="2114550"/>
          <p14:tracePt t="12994" x="2501900" y="2117725"/>
          <p14:tracePt t="12995" x="2506663" y="2117725"/>
          <p14:tracePt t="12996" x="2517775" y="2130425"/>
          <p14:tracePt t="12997" x="2522538" y="2133600"/>
          <p14:tracePt t="12998" x="2530475" y="2141538"/>
          <p14:tracePt t="12999" x="2538413" y="2146300"/>
          <p14:tracePt t="13000" x="2546350" y="2154238"/>
          <p14:tracePt t="13001" x="2554288" y="2162175"/>
          <p14:tracePt t="13002" x="2566988" y="2170113"/>
          <p14:tracePt t="13003" x="2574925" y="2181225"/>
          <p14:tracePt t="13004" x="2578100" y="2189163"/>
          <p14:tracePt t="13005" x="2586038" y="2198688"/>
          <p14:tracePt t="13006" x="2601913" y="2209800"/>
          <p14:tracePt t="13007" x="2609850" y="2222500"/>
          <p14:tracePt t="13008" x="2622550" y="2230438"/>
          <p14:tracePt t="13009" x="2630488" y="2241550"/>
          <p14:tracePt t="13011" x="2638425" y="2249488"/>
          <p14:tracePt t="13012" x="2662238" y="2273300"/>
          <p14:tracePt t="13013" x="2678113" y="2290763"/>
          <p14:tracePt t="13014" x="2686050" y="2298700"/>
          <p14:tracePt t="13015" x="2693988" y="2306638"/>
          <p14:tracePt t="13016" x="2706688" y="2322513"/>
          <p14:tracePt t="13017" x="2714625" y="2333625"/>
          <p14:tracePt t="13018" x="2722563" y="2346325"/>
          <p14:tracePt t="13019" x="2735263" y="2357438"/>
          <p14:tracePt t="13020" x="2743200" y="2370138"/>
          <p14:tracePt t="13021" x="2751138" y="2378075"/>
          <p14:tracePt t="13022" x="2762250" y="2390775"/>
          <p14:tracePt t="13023" x="2770188" y="2406650"/>
          <p14:tracePt t="13024" x="2774950" y="2414588"/>
          <p14:tracePt t="13026" x="2790825" y="2438400"/>
          <p14:tracePt t="13027" x="2798763" y="2446338"/>
          <p14:tracePt t="13029" x="2803525" y="2454275"/>
          <p14:tracePt t="13031" x="2822575" y="2486025"/>
          <p14:tracePt t="13032" x="2827338" y="2498725"/>
          <p14:tracePt t="13033" x="2830513" y="2506663"/>
          <p14:tracePt t="13034" x="2835275" y="2509838"/>
          <p14:tracePt t="13035" x="2838450" y="2517775"/>
          <p14:tracePt t="13036" x="2843213" y="2525713"/>
          <p14:tracePt t="13037" x="2846388" y="2533650"/>
          <p14:tracePt t="13038" x="2846388" y="2538413"/>
          <p14:tracePt t="13039" x="2851150" y="2546350"/>
          <p14:tracePt t="13040" x="2851150" y="2549525"/>
          <p14:tracePt t="13042" x="2859088" y="2562225"/>
          <p14:tracePt t="13043" x="2859088" y="2566988"/>
          <p14:tracePt t="13046" x="2862263" y="2574925"/>
          <p14:tracePt t="13048" x="2867025" y="2578100"/>
          <p14:tracePt t="13049" x="2867025" y="2582863"/>
          <p14:tracePt t="13050" x="2867025" y="2586038"/>
          <p14:tracePt t="13052" x="2867025" y="2590800"/>
          <p14:tracePt t="13053" x="2867025" y="2593975"/>
          <p14:tracePt t="13054" x="2870200" y="2598738"/>
          <p14:tracePt t="13057" x="2870200" y="2601913"/>
          <p14:tracePt t="13059" x="2870200" y="2606675"/>
          <p14:tracePt t="13059" x="2870200" y="2609850"/>
          <p14:tracePt t="13062" x="2870200" y="2614613"/>
          <p14:tracePt t="13066" x="2870200" y="2617788"/>
          <p14:tracePt t="13067" x="2870200" y="2622550"/>
          <p14:tracePt t="13070" x="2870200" y="2625725"/>
          <p14:tracePt t="13072" x="2870200" y="2630488"/>
          <p14:tracePt t="13075" x="2870200" y="2633663"/>
          <p14:tracePt t="13080" x="2870200" y="2638425"/>
          <p14:tracePt t="13080" x="2867025" y="2638425"/>
          <p14:tracePt t="13083" x="2862263" y="2641600"/>
          <p14:tracePt t="13086" x="2859088" y="2641600"/>
          <p14:tracePt t="13092" x="2854325" y="2641600"/>
          <p14:tracePt t="13241" x="2851150" y="2641600"/>
          <p14:tracePt t="13247" x="2851150" y="2646363"/>
          <p14:tracePt t="13251" x="2851150" y="2654300"/>
          <p14:tracePt t="13254" x="2851150" y="2659063"/>
          <p14:tracePt t="13255" x="2851150" y="2670175"/>
          <p14:tracePt t="13257" x="2851150" y="2682875"/>
          <p14:tracePt t="13259" x="2851150" y="2686050"/>
          <p14:tracePt t="13261" x="2851150" y="2709863"/>
          <p14:tracePt t="13263" x="2851150" y="2714625"/>
          <p14:tracePt t="13265" x="2851150" y="2733675"/>
          <p14:tracePt t="13267" x="2851150" y="2746375"/>
          <p14:tracePt t="13270" x="2854325" y="2770188"/>
          <p14:tracePt t="13272" x="2854325" y="2778125"/>
          <p14:tracePt t="13273" x="2854325" y="2782888"/>
          <p14:tracePt t="13275" x="2859088" y="2790825"/>
          <p14:tracePt t="13277" x="2862263" y="2809875"/>
          <p14:tracePt t="13278" x="2862263" y="2814638"/>
          <p14:tracePt t="13279" x="2867025" y="2817813"/>
          <p14:tracePt t="13280" x="2867025" y="2825750"/>
          <p14:tracePt t="13281" x="2870200" y="2833688"/>
          <p14:tracePt t="13282" x="2874963" y="2838450"/>
          <p14:tracePt t="13284" x="2878138" y="2843213"/>
          <p14:tracePt t="13284" x="2882900" y="2851150"/>
          <p14:tracePt t="13285" x="2886075" y="2854325"/>
          <p14:tracePt t="13286" x="2890838" y="2862263"/>
          <p14:tracePt t="13287" x="2890838" y="2867025"/>
          <p14:tracePt t="13288" x="2895600" y="2874963"/>
          <p14:tracePt t="13289" x="2906713" y="2878138"/>
          <p14:tracePt t="13290" x="2911475" y="2882900"/>
          <p14:tracePt t="13292" x="2922588" y="2894013"/>
          <p14:tracePt t="13294" x="2927350" y="2901950"/>
          <p14:tracePt t="13295" x="2935288" y="2906713"/>
          <p14:tracePt t="13296" x="2946400" y="2909888"/>
          <p14:tracePt t="13297" x="2954338" y="2914650"/>
          <p14:tracePt t="13298" x="2962275" y="2917825"/>
          <p14:tracePt t="13299" x="2967038" y="2917825"/>
          <p14:tracePt t="13300" x="2974975" y="2922588"/>
          <p14:tracePt t="13301" x="2982913" y="2927350"/>
          <p14:tracePt t="13302" x="2990850" y="2930525"/>
          <p14:tracePt t="13303" x="2998788" y="2930525"/>
          <p14:tracePt t="13304" x="3006725" y="2935288"/>
          <p14:tracePt t="13305" x="3014663" y="2935288"/>
          <p14:tracePt t="13306" x="3030538" y="2938463"/>
          <p14:tracePt t="13308" x="3054350" y="2943225"/>
          <p14:tracePt t="13309" x="3062288" y="2943225"/>
          <p14:tracePt t="13310" x="3071813" y="2943225"/>
          <p14:tracePt t="13312" x="3090863" y="2951163"/>
          <p14:tracePt t="13313" x="3098800" y="2951163"/>
          <p14:tracePt t="13314" x="3114675" y="2954338"/>
          <p14:tracePt t="13315" x="3122613" y="2954338"/>
          <p14:tracePt t="13316" x="3135313" y="2954338"/>
          <p14:tracePt t="13317" x="3151188" y="2959100"/>
          <p14:tracePt t="13318" x="3163888" y="2959100"/>
          <p14:tracePt t="13319" x="3179763" y="2959100"/>
          <p14:tracePt t="13320" x="3190875" y="2959100"/>
          <p14:tracePt t="13321" x="3198813" y="2959100"/>
          <p14:tracePt t="13322" x="3219450" y="2959100"/>
          <p14:tracePt t="13323" x="3230563" y="2959100"/>
          <p14:tracePt t="13324" x="3246438" y="2959100"/>
          <p14:tracePt t="13325" x="3259138" y="2959100"/>
          <p14:tracePt t="13326" x="3275013" y="2962275"/>
          <p14:tracePt t="13327" x="3290888" y="2962275"/>
          <p14:tracePt t="13328" x="3306763" y="2962275"/>
          <p14:tracePt t="13329" x="3319463" y="2962275"/>
          <p14:tracePt t="13330" x="3327400" y="2962275"/>
          <p14:tracePt t="13331" x="3343275" y="2962275"/>
          <p14:tracePt t="13332" x="3363913" y="2962275"/>
          <p14:tracePt t="13333" x="3371850" y="2962275"/>
          <p14:tracePt t="13334" x="3382963" y="2962275"/>
          <p14:tracePt t="13335" x="3398838" y="2967038"/>
          <p14:tracePt t="13336" x="3406775" y="2967038"/>
          <p14:tracePt t="13337" x="3422650" y="2967038"/>
          <p14:tracePt t="13338" x="3430588" y="2967038"/>
          <p14:tracePt t="13339" x="3440113" y="2967038"/>
          <p14:tracePt t="13340" x="3455988" y="2967038"/>
          <p14:tracePt t="13342" x="3471863" y="2967038"/>
          <p14:tracePt t="13343" x="3479800" y="2967038"/>
          <p14:tracePt t="13344" x="3487738" y="2967038"/>
          <p14:tracePt t="13345" x="3495675" y="2967038"/>
          <p14:tracePt t="13346" x="3498850" y="2967038"/>
          <p14:tracePt t="13347" x="3503613" y="2967038"/>
          <p14:tracePt t="13348" x="3511550" y="2967038"/>
          <p14:tracePt t="13349" x="3519488" y="2967038"/>
          <p14:tracePt t="13350" x="3524250" y="2967038"/>
          <p14:tracePt t="13351" x="3527425" y="2967038"/>
          <p14:tracePt t="13352" x="3532188" y="2967038"/>
          <p14:tracePt t="13353" x="3535363" y="2967038"/>
          <p14:tracePt t="13355" x="3540125" y="2967038"/>
          <p14:tracePt t="13357" x="3543300" y="2967038"/>
          <p14:tracePt t="13359" x="3548063" y="2967038"/>
          <p14:tracePt t="13360" x="3551238" y="2967038"/>
          <p14:tracePt t="13361" x="3551238" y="2962275"/>
          <p14:tracePt t="13362" x="3556000" y="2962275"/>
          <p14:tracePt t="13364" x="3559175" y="2962275"/>
          <p14:tracePt t="13365" x="3559175" y="2959100"/>
          <p14:tracePt t="13366" x="3563938" y="2959100"/>
          <p14:tracePt t="13367" x="3567113" y="2959100"/>
          <p14:tracePt t="13368" x="3571875" y="2959100"/>
          <p14:tracePt t="13370" x="3575050" y="2959100"/>
          <p14:tracePt t="13372" x="3579813" y="2959100"/>
          <p14:tracePt t="13375" x="3582988" y="2954338"/>
          <p14:tracePt t="13377" x="3587750" y="2954338"/>
          <p14:tracePt t="13378" x="3590925" y="2951163"/>
          <p14:tracePt t="13380" x="3595688" y="2946400"/>
          <p14:tracePt t="13381" x="3598863" y="2946400"/>
          <p14:tracePt t="13383" x="3603625" y="2946400"/>
          <p14:tracePt t="13384" x="3606800" y="2943225"/>
          <p14:tracePt t="13385" x="3611563" y="2943225"/>
          <p14:tracePt t="13387" x="3616325" y="2938463"/>
          <p14:tracePt t="13388" x="3619500" y="2938463"/>
          <p14:tracePt t="13389" x="3619500" y="2935288"/>
          <p14:tracePt t="13390" x="3624263" y="2935288"/>
          <p14:tracePt t="13392" x="3627438" y="2930525"/>
          <p14:tracePt t="13393" x="3632200" y="2927350"/>
          <p14:tracePt t="13394" x="3635375" y="2927350"/>
          <p14:tracePt t="13395" x="3640138" y="2922588"/>
          <p14:tracePt t="13396" x="3643313" y="2922588"/>
          <p14:tracePt t="13398" x="3648075" y="2917825"/>
          <p14:tracePt t="13399" x="3651250" y="2917825"/>
          <p14:tracePt t="13400" x="3656013" y="2917825"/>
          <p14:tracePt t="13402" x="3659188" y="2914650"/>
          <p14:tracePt t="13403" x="3659188" y="2909888"/>
          <p14:tracePt t="13404" x="3663950" y="2909888"/>
          <p14:tracePt t="13405" x="3667125" y="2906713"/>
          <p14:tracePt t="13406" x="3671888" y="2906713"/>
          <p14:tracePt t="13407" x="3675063" y="2906713"/>
          <p14:tracePt t="13408" x="3679825" y="2901950"/>
          <p14:tracePt t="13410" x="3683000" y="2898775"/>
          <p14:tracePt t="13411" x="3683000" y="2894013"/>
          <p14:tracePt t="13412" x="3687763" y="2894013"/>
          <p14:tracePt t="13413" x="3690938" y="2890838"/>
          <p14:tracePt t="13415" x="3695700" y="2890838"/>
          <p14:tracePt t="13416" x="3698875" y="2886075"/>
          <p14:tracePt t="13419" x="3703638" y="2886075"/>
          <p14:tracePt t="13420" x="3703638" y="2882900"/>
          <p14:tracePt t="13422" x="3708400" y="2882900"/>
          <p14:tracePt t="13424" x="3711575" y="2878138"/>
          <p14:tracePt t="13428" x="3716338" y="2878138"/>
          <p14:tracePt t="13453" x="3719513" y="2878138"/>
          <p14:tracePt t="13459" x="3724275" y="2878138"/>
          <p14:tracePt t="13460" x="3727450" y="2878138"/>
          <p14:tracePt t="13462" x="3732213" y="2878138"/>
          <p14:tracePt t="13464" x="3735388" y="2878138"/>
          <p14:tracePt t="13465" x="3740150" y="2878138"/>
          <p14:tracePt t="13467" x="3743325" y="2878138"/>
          <p14:tracePt t="13468" x="3748088" y="2878138"/>
          <p14:tracePt t="13470" x="3751263" y="2878138"/>
          <p14:tracePt t="13471" x="3756025" y="2878138"/>
          <p14:tracePt t="13472" x="3759200" y="2878138"/>
          <p14:tracePt t="13473" x="3763963" y="2878138"/>
          <p14:tracePt t="13474" x="3767138" y="2878138"/>
          <p14:tracePt t="13475" x="3771900" y="2878138"/>
          <p14:tracePt t="13476" x="3775075" y="2878138"/>
          <p14:tracePt t="13477" x="3779838" y="2878138"/>
          <p14:tracePt t="13479" x="3783013" y="2878138"/>
          <p14:tracePt t="13481" x="3790950" y="2878138"/>
          <p14:tracePt t="13482" x="3795713" y="2878138"/>
          <p14:tracePt t="13483" x="3800475" y="2878138"/>
          <p14:tracePt t="13484" x="3803650" y="2878138"/>
          <p14:tracePt t="13485" x="3808413" y="2878138"/>
          <p14:tracePt t="13487" x="3811588" y="2874963"/>
          <p14:tracePt t="13488" x="3816350" y="2874963"/>
          <p14:tracePt t="13490" x="3819525" y="2874963"/>
          <p14:tracePt t="13543" x="3824288" y="2874963"/>
          <p14:tracePt t="13546" x="3827463" y="2874963"/>
          <p14:tracePt t="13547" x="3835400" y="2874963"/>
          <p14:tracePt t="13548" x="3840163" y="2874963"/>
          <p14:tracePt t="13549" x="3848100" y="2874963"/>
          <p14:tracePt t="13550" x="3851275" y="2874963"/>
          <p14:tracePt t="13551" x="3859213" y="2874963"/>
          <p14:tracePt t="13552" x="3863975" y="2874963"/>
          <p14:tracePt t="13553" x="3871913" y="2874963"/>
          <p14:tracePt t="13554" x="3879850" y="2874963"/>
          <p14:tracePt t="13555" x="3887788" y="2874963"/>
          <p14:tracePt t="13556" x="3900488" y="2874963"/>
          <p14:tracePt t="13557" x="3908425" y="2874963"/>
          <p14:tracePt t="13558" x="3924300" y="2874963"/>
          <p14:tracePt t="13559" x="3932238" y="2874963"/>
          <p14:tracePt t="13560" x="3943350" y="2874963"/>
          <p14:tracePt t="13561" x="3959225" y="2874963"/>
          <p14:tracePt t="13562" x="3971925" y="2874963"/>
          <p14:tracePt t="13563" x="3984625" y="2874963"/>
          <p14:tracePt t="13564" x="4000500" y="2874963"/>
          <p14:tracePt t="13565" x="4011613" y="2874963"/>
          <p14:tracePt t="13566" x="4027488" y="2874963"/>
          <p14:tracePt t="13567" x="4040188" y="2874963"/>
          <p14:tracePt t="13568" x="4048125" y="2874963"/>
          <p14:tracePt t="13569" x="4059238" y="2874963"/>
          <p14:tracePt t="13570" x="4076700" y="2874963"/>
          <p14:tracePt t="13571" x="4084638" y="2874963"/>
          <p14:tracePt t="13572" x="4103688" y="2874963"/>
          <p14:tracePt t="13574" x="4124325" y="2878138"/>
          <p14:tracePt t="13576" x="4132263" y="2878138"/>
          <p14:tracePt t="13577" x="4151313" y="2878138"/>
          <p14:tracePt t="13577" x="4160838" y="2882900"/>
          <p14:tracePt t="13578" x="4171950" y="2882900"/>
          <p14:tracePt t="13579" x="4179888" y="2886075"/>
          <p14:tracePt t="13580" x="4187825" y="2890838"/>
          <p14:tracePt t="13581" x="4192588" y="2890838"/>
          <p14:tracePt t="13582" x="4203700" y="2898775"/>
          <p14:tracePt t="13583" x="4208463" y="2898775"/>
          <p14:tracePt t="13584" x="4211638" y="2901950"/>
          <p14:tracePt t="13585" x="4219575" y="2906713"/>
          <p14:tracePt t="13586" x="4224338" y="2909888"/>
          <p14:tracePt t="13587" x="4227513" y="2914650"/>
          <p14:tracePt t="13589" x="4232275" y="2922588"/>
          <p14:tracePt t="13592" x="4232275" y="2927350"/>
          <p14:tracePt t="13593" x="4235450" y="2930525"/>
          <p14:tracePt t="13594" x="4235450" y="2935288"/>
          <p14:tracePt t="13597" x="4235450" y="2938463"/>
          <p14:tracePt t="13602" x="4235450" y="2943225"/>
          <p14:tracePt t="13607" x="4235450" y="2946400"/>
          <p14:tracePt t="13609" x="4232275" y="2951163"/>
          <p14:tracePt t="13612" x="4232275" y="2954338"/>
          <p14:tracePt t="13612" x="4227513" y="2954338"/>
          <p14:tracePt t="13613" x="4227513" y="2959100"/>
          <p14:tracePt t="13615" x="4224338" y="2959100"/>
          <p14:tracePt t="13616" x="4224338" y="2962275"/>
          <p14:tracePt t="13617" x="4219575" y="2962275"/>
          <p14:tracePt t="13618" x="4219575" y="2967038"/>
          <p14:tracePt t="13619" x="4216400" y="2967038"/>
          <p14:tracePt t="13620" x="4216400" y="2970213"/>
          <p14:tracePt t="13622" x="4211638" y="2974975"/>
          <p14:tracePt t="13626" x="4208463" y="2974975"/>
          <p14:tracePt t="13628" x="4208463" y="2978150"/>
          <p14:tracePt t="13629" x="4208463" y="2982913"/>
          <p14:tracePt t="13630" x="4203700" y="2982913"/>
          <p14:tracePt t="13631" x="4203700" y="2986088"/>
          <p14:tracePt t="13633" x="4203700" y="2990850"/>
          <p14:tracePt t="13635" x="4200525" y="2994025"/>
          <p14:tracePt t="13637" x="4200525" y="2998788"/>
          <p14:tracePt t="13638" x="4195763" y="3001963"/>
          <p14:tracePt t="13640" x="4195763" y="3006725"/>
          <p14:tracePt t="13642" x="4192588" y="3009900"/>
          <p14:tracePt t="13644" x="4192588" y="3019425"/>
          <p14:tracePt t="13647" x="4192588" y="3022600"/>
          <p14:tracePt t="13648" x="4187825" y="3027363"/>
          <p14:tracePt t="13649" x="4187825" y="3030538"/>
          <p14:tracePt t="13651" x="4184650" y="3038475"/>
          <p14:tracePt t="13653" x="4184650" y="3043238"/>
          <p14:tracePt t="13654" x="4179888" y="3046413"/>
          <p14:tracePt t="13655" x="4179888" y="3051175"/>
          <p14:tracePt t="13656" x="4176713" y="3054350"/>
          <p14:tracePt t="13657" x="4176713" y="3059113"/>
          <p14:tracePt t="13658" x="4171950" y="3059113"/>
          <p14:tracePt t="13659" x="4171950" y="3062288"/>
          <p14:tracePt t="13660" x="4168775" y="3067050"/>
          <p14:tracePt t="13661" x="4168775" y="3070225"/>
          <p14:tracePt t="13662" x="4164013" y="3070225"/>
          <p14:tracePt t="13663" x="4160838" y="3074988"/>
          <p14:tracePt t="13664" x="4156075" y="3078163"/>
          <p14:tracePt t="13665" x="4156075" y="3082925"/>
          <p14:tracePt t="13666" x="4151313" y="3086100"/>
          <p14:tracePt t="13668" x="4148138" y="3090863"/>
          <p14:tracePt t="13669" x="4143375" y="3094038"/>
          <p14:tracePt t="13670" x="4140200" y="3098800"/>
          <p14:tracePt t="13672" x="4135438" y="3098800"/>
          <p14:tracePt t="13673" x="4132263" y="3101975"/>
          <p14:tracePt t="13674" x="4124325" y="3101975"/>
          <p14:tracePt t="13675" x="4119563" y="3106738"/>
          <p14:tracePt t="13676" x="4116388" y="3106738"/>
          <p14:tracePt t="13677" x="4111625" y="3111500"/>
          <p14:tracePt t="13678" x="4108450" y="3111500"/>
          <p14:tracePt t="13679" x="4108450" y="3114675"/>
          <p14:tracePt t="13680" x="4100513" y="3114675"/>
          <p14:tracePt t="13681" x="4095750" y="3119438"/>
          <p14:tracePt t="13682" x="4092575" y="3119438"/>
          <p14:tracePt t="13683" x="4084638" y="3122613"/>
          <p14:tracePt t="13684" x="4076700" y="3122613"/>
          <p14:tracePt t="13685" x="4068763" y="3122613"/>
          <p14:tracePt t="13686" x="4064000" y="3127375"/>
          <p14:tracePt t="13687" x="4056063" y="3127375"/>
          <p14:tracePt t="13688" x="4048125" y="3127375"/>
          <p14:tracePt t="13689" x="4040188" y="3130550"/>
          <p14:tracePt t="13690" x="4032250" y="3130550"/>
          <p14:tracePt t="13692" x="4011613" y="3130550"/>
          <p14:tracePt t="13694" x="3992563" y="3130550"/>
          <p14:tracePt t="13695" x="3984625" y="3130550"/>
          <p14:tracePt t="13696" x="3976688" y="3130550"/>
          <p14:tracePt t="13697" x="3967163" y="3130550"/>
          <p14:tracePt t="13698" x="3951288" y="3130550"/>
          <p14:tracePt t="13699" x="3943350" y="3130550"/>
          <p14:tracePt t="13700" x="3932238" y="3130550"/>
          <p14:tracePt t="13701" x="3924300" y="3130550"/>
          <p14:tracePt t="13702" x="3916363" y="3130550"/>
          <p14:tracePt t="13703" x="3908425" y="3130550"/>
          <p14:tracePt t="13704" x="3887788" y="3130550"/>
          <p14:tracePt t="13705" x="3879850" y="3127375"/>
          <p14:tracePt t="13706" x="3863975" y="3127375"/>
          <p14:tracePt t="13707" x="3856038" y="3122613"/>
          <p14:tracePt t="13708" x="3848100" y="3119438"/>
          <p14:tracePt t="13710" x="3832225" y="3111500"/>
          <p14:tracePt t="13710" x="3819525" y="3111500"/>
          <p14:tracePt t="13711" x="3811588" y="3106738"/>
          <p14:tracePt t="13712" x="3795713" y="3101975"/>
          <p14:tracePt t="13713" x="3787775" y="3098800"/>
          <p14:tracePt t="13714" x="3775075" y="3094038"/>
          <p14:tracePt t="13715" x="3759200" y="3090863"/>
          <p14:tracePt t="13716" x="3751263" y="3086100"/>
          <p14:tracePt t="13717" x="3735388" y="3078163"/>
          <p14:tracePt t="13718" x="3727450" y="3074988"/>
          <p14:tracePt t="13719" x="3708400" y="3067050"/>
          <p14:tracePt t="13720" x="3698875" y="3062288"/>
          <p14:tracePt t="13721" x="3683000" y="3059113"/>
          <p14:tracePt t="13722" x="3675063" y="3051175"/>
          <p14:tracePt t="13723" x="3667125" y="3046413"/>
          <p14:tracePt t="13724" x="3651250" y="3038475"/>
          <p14:tracePt t="13725" x="3640138" y="3035300"/>
          <p14:tracePt t="13726" x="3632200" y="3030538"/>
          <p14:tracePt t="13727" x="3619500" y="3019425"/>
          <p14:tracePt t="13729" x="3611563" y="3014663"/>
          <p14:tracePt t="13729" x="3598863" y="3009900"/>
          <p14:tracePt t="13730" x="3582988" y="3001963"/>
          <p14:tracePt t="13731" x="3575050" y="2998788"/>
          <p14:tracePt t="13732" x="3559175" y="2994025"/>
          <p14:tracePt t="13733" x="3551238" y="2986088"/>
          <p14:tracePt t="13734" x="3540125" y="2978150"/>
          <p14:tracePt t="13735" x="3527425" y="2974975"/>
          <p14:tracePt t="13736" x="3514725" y="2967038"/>
          <p14:tracePt t="13737" x="3506788" y="2959100"/>
          <p14:tracePt t="13738" x="3498850" y="2954338"/>
          <p14:tracePt t="13739" x="3482975" y="2951163"/>
          <p14:tracePt t="13740" x="3475038" y="2943225"/>
          <p14:tracePt t="13742" x="3467100" y="2938463"/>
          <p14:tracePt t="13742" x="3455988" y="2935288"/>
          <p14:tracePt t="13743" x="3448050" y="2930525"/>
          <p14:tracePt t="13744" x="3435350" y="2917825"/>
          <p14:tracePt t="13746" x="3414713" y="2909888"/>
          <p14:tracePt t="13747" x="3406775" y="2906713"/>
          <p14:tracePt t="13748" x="3398838" y="2901950"/>
          <p14:tracePt t="13749" x="3390900" y="2898775"/>
          <p14:tracePt t="13750" x="3375025" y="2894013"/>
          <p14:tracePt t="13751" x="3367088" y="2882900"/>
          <p14:tracePt t="13752" x="3359150" y="2878138"/>
          <p14:tracePt t="13753" x="3348038" y="2874963"/>
          <p14:tracePt t="13754" x="3335338" y="2870200"/>
          <p14:tracePt t="13755" x="3330575" y="2867025"/>
          <p14:tracePt t="13756" x="3322638" y="2862263"/>
          <p14:tracePt t="13757" x="3314700" y="2862263"/>
          <p14:tracePt t="13758" x="3306763" y="2859088"/>
          <p14:tracePt t="13759" x="3298825" y="2854325"/>
          <p14:tracePt t="13760" x="3287713" y="2851150"/>
          <p14:tracePt t="13761" x="3279775" y="2846388"/>
          <p14:tracePt t="13762" x="3271838" y="2846388"/>
          <p14:tracePt t="13763" x="3263900" y="2843213"/>
          <p14:tracePt t="13764" x="3259138" y="2838450"/>
          <p14:tracePt t="13765" x="3251200" y="2838450"/>
          <p14:tracePt t="13766" x="3243263" y="2833688"/>
          <p14:tracePt t="13767" x="3238500" y="2830513"/>
          <p14:tracePt t="13768" x="3230563" y="2830513"/>
          <p14:tracePt t="13769" x="3227388" y="2825750"/>
          <p14:tracePt t="13770" x="3219450" y="2825750"/>
          <p14:tracePt t="13771" x="3214688" y="2822575"/>
          <p14:tracePt t="13772" x="3206750" y="2822575"/>
          <p14:tracePt t="13774" x="3203575" y="2822575"/>
          <p14:tracePt t="13775" x="3198813" y="2817813"/>
          <p14:tracePt t="13776" x="3190875" y="2817813"/>
          <p14:tracePt t="13778" x="3182938" y="2817813"/>
          <p14:tracePt t="13779" x="3179763" y="2817813"/>
          <p14:tracePt t="13780" x="3175000" y="2817813"/>
          <p14:tracePt t="13781" x="3167063" y="2817813"/>
          <p14:tracePt t="13782" x="3163888" y="2814638"/>
          <p14:tracePt t="13783" x="3159125" y="2814638"/>
          <p14:tracePt t="13786" x="3151188" y="2814638"/>
          <p14:tracePt t="13788" x="3143250" y="2814638"/>
          <p14:tracePt t="13789" x="3138488" y="2814638"/>
          <p14:tracePt t="13790" x="3135313" y="2814638"/>
          <p14:tracePt t="13792" x="3130550" y="2814638"/>
          <p14:tracePt t="13792" x="3127375" y="2814638"/>
          <p14:tracePt t="13793" x="3122613" y="2814638"/>
          <p14:tracePt t="13794" x="3119438" y="2814638"/>
          <p14:tracePt t="13795" x="3114675" y="2814638"/>
          <p14:tracePt t="13796" x="3106738" y="2817813"/>
          <p14:tracePt t="13797" x="3103563" y="2817813"/>
          <p14:tracePt t="13798" x="3098800" y="2817813"/>
          <p14:tracePt t="13799" x="3090863" y="2822575"/>
          <p14:tracePt t="13800" x="3082925" y="2822575"/>
          <p14:tracePt t="13801" x="3079750" y="2825750"/>
          <p14:tracePt t="13802" x="3071813" y="2825750"/>
          <p14:tracePt t="13803" x="3071813" y="2830513"/>
          <p14:tracePt t="13804" x="3062288" y="2830513"/>
          <p14:tracePt t="13805" x="3059113" y="2833688"/>
          <p14:tracePt t="13806" x="3051175" y="2838450"/>
          <p14:tracePt t="13807" x="3038475" y="2843213"/>
          <p14:tracePt t="13808" x="3030538" y="2846388"/>
          <p14:tracePt t="13809" x="3022600" y="2846388"/>
          <p14:tracePt t="13810" x="3014663" y="2851150"/>
          <p14:tracePt t="13811" x="3006725" y="2854325"/>
          <p14:tracePt t="13812" x="3003550" y="2859088"/>
          <p14:tracePt t="13813" x="2995613" y="2862263"/>
          <p14:tracePt t="13814" x="2987675" y="2867025"/>
          <p14:tracePt t="13815" x="2978150" y="2870200"/>
          <p14:tracePt t="13816" x="2962275" y="2882900"/>
          <p14:tracePt t="13817" x="2954338" y="2886075"/>
          <p14:tracePt t="13818" x="2946400" y="2890838"/>
          <p14:tracePt t="13819" x="2935288" y="2898775"/>
          <p14:tracePt t="13820" x="2927350" y="2901950"/>
          <p14:tracePt t="13821" x="2914650" y="2914650"/>
          <p14:tracePt t="13822" x="2903538" y="2917825"/>
          <p14:tracePt t="13823" x="2895600" y="2927350"/>
          <p14:tracePt t="13824" x="2882900" y="2930525"/>
          <p14:tracePt t="13825" x="2870200" y="2938463"/>
          <p14:tracePt t="13826" x="2859088" y="2951163"/>
          <p14:tracePt t="13827" x="2846388" y="2959100"/>
          <p14:tracePt t="13828" x="2835275" y="2962275"/>
          <p14:tracePt t="13829" x="2827338" y="2970213"/>
          <p14:tracePt t="13830" x="2811463" y="2982913"/>
          <p14:tracePt t="13831" x="2794000" y="2990850"/>
          <p14:tracePt t="13832" x="2782888" y="3001963"/>
          <p14:tracePt t="13833" x="2774950" y="3009900"/>
          <p14:tracePt t="13834" x="2759075" y="3019425"/>
          <p14:tracePt t="13835" x="2743200" y="3030538"/>
          <p14:tracePt t="13836" x="2730500" y="3038475"/>
          <p14:tracePt t="13837" x="2714625" y="3046413"/>
          <p14:tracePt t="13838" x="2701925" y="3059113"/>
          <p14:tracePt t="13839" x="2690813" y="3067050"/>
          <p14:tracePt t="13840" x="2678113" y="3078163"/>
          <p14:tracePt t="13842" x="2662238" y="3086100"/>
          <p14:tracePt t="13842" x="2651125" y="3094038"/>
          <p14:tracePt t="13843" x="2635250" y="3106738"/>
          <p14:tracePt t="13844" x="2627313" y="3114675"/>
          <p14:tracePt t="13846" x="2609850" y="3122613"/>
          <p14:tracePt t="13846" x="2598738" y="3135313"/>
          <p14:tracePt t="13847" x="2582863" y="3143250"/>
          <p14:tracePt t="13848" x="2566988" y="3146425"/>
          <p14:tracePt t="13849" x="2559050" y="3159125"/>
          <p14:tracePt t="13850" x="2546350" y="3167063"/>
          <p14:tracePt t="13851" x="2535238" y="3170238"/>
          <p14:tracePt t="13852" x="2522538" y="3182938"/>
          <p14:tracePt t="13853" x="2506663" y="3190875"/>
          <p14:tracePt t="13854" x="2498725" y="3198813"/>
          <p14:tracePt t="13855" x="2482850" y="3203575"/>
          <p14:tracePt t="13856" x="2470150" y="3214688"/>
          <p14:tracePt t="13857" x="2462213" y="3219450"/>
          <p14:tracePt t="13858" x="2451100" y="3222625"/>
          <p14:tracePt t="13859" x="2438400" y="3227388"/>
          <p14:tracePt t="13860" x="2430463" y="3230563"/>
          <p14:tracePt t="13862" x="2422525" y="3238500"/>
          <p14:tracePt t="13862" x="2406650" y="3246438"/>
          <p14:tracePt t="13863" x="2398713" y="3251200"/>
          <p14:tracePt t="13864" x="2393950" y="3254375"/>
          <p14:tracePt t="13865" x="2386013" y="3259138"/>
          <p14:tracePt t="13866" x="2370138" y="3262313"/>
          <p14:tracePt t="13867" x="2366963" y="3267075"/>
          <p14:tracePt t="13868" x="2359025" y="3270250"/>
          <p14:tracePt t="13869" x="2351088" y="3275013"/>
          <p14:tracePt t="13870" x="2341563" y="3278188"/>
          <p14:tracePt t="13871" x="2338388" y="3282950"/>
          <p14:tracePt t="13872" x="2325688" y="3286125"/>
          <p14:tracePt t="13873" x="2322513" y="3286125"/>
          <p14:tracePt t="13874" x="2317750" y="3290888"/>
          <p14:tracePt t="13875" x="2309813" y="3295650"/>
          <p14:tracePt t="13876" x="2306638" y="3295650"/>
          <p14:tracePt t="13877" x="2298700" y="3298825"/>
          <p14:tracePt t="13878" x="2290763" y="3298825"/>
          <p14:tracePt t="13879" x="2286000" y="3303588"/>
          <p14:tracePt t="13880" x="2282825" y="3303588"/>
          <p14:tracePt t="13881" x="2282825" y="3306763"/>
          <p14:tracePt t="13882" x="2274888" y="3306763"/>
          <p14:tracePt t="13883" x="2270125" y="3306763"/>
          <p14:tracePt t="13884" x="2266950" y="3311525"/>
          <p14:tracePt t="13885" x="2262188" y="3311525"/>
          <p14:tracePt t="13886" x="2259013" y="3311525"/>
          <p14:tracePt t="13887" x="2254250" y="3311525"/>
          <p14:tracePt t="13889" x="2249488" y="3311525"/>
          <p14:tracePt t="13890" x="2246313" y="3311525"/>
          <p14:tracePt t="13891" x="2241550" y="3311525"/>
          <p14:tracePt t="13893" x="2238375" y="3311525"/>
          <p14:tracePt t="13896" x="2233613" y="3311525"/>
          <p14:tracePt t="13909" x="2217738" y="3314700"/>
          <p14:tracePt t="13912" x="2214563" y="3314700"/>
          <p14:tracePt t="13916" x="2209800" y="3314700"/>
          <p14:tracePt t="13919" x="2206625" y="3314700"/>
          <p14:tracePt t="13923" x="2206625" y="3311525"/>
          <p14:tracePt t="13924" x="2201863" y="3311525"/>
          <p14:tracePt t="13926" x="2198688" y="3311525"/>
          <p14:tracePt t="13927" x="2198688" y="3306763"/>
          <p14:tracePt t="13928" x="2193925" y="3306763"/>
          <p14:tracePt t="13930" x="2193925" y="3303588"/>
          <p14:tracePt t="13932" x="2190750" y="3298825"/>
          <p14:tracePt t="13933" x="2185988" y="3298825"/>
          <p14:tracePt t="13935" x="2182813" y="3295650"/>
          <p14:tracePt t="13936" x="2178050" y="3295650"/>
          <p14:tracePt t="13937" x="2174875" y="3290888"/>
          <p14:tracePt t="13938" x="2170113" y="3290888"/>
          <p14:tracePt t="13939" x="2170113" y="3286125"/>
          <p14:tracePt t="13940" x="2165350" y="3286125"/>
          <p14:tracePt t="13941" x="2162175" y="3286125"/>
          <p14:tracePt t="13942" x="2157413" y="3282950"/>
          <p14:tracePt t="13943" x="2154238" y="3282950"/>
          <p14:tracePt t="13944" x="2146300" y="3278188"/>
          <p14:tracePt t="13945" x="2146300" y="3275013"/>
          <p14:tracePt t="13946" x="2141538" y="3275013"/>
          <p14:tracePt t="13947" x="2138363" y="3270250"/>
          <p14:tracePt t="13948" x="2133600" y="3270250"/>
          <p14:tracePt t="13949" x="2130425" y="3270250"/>
          <p14:tracePt t="13950" x="2125663" y="3270250"/>
          <p14:tracePt t="13951" x="2122488" y="3267075"/>
          <p14:tracePt t="13952" x="2114550" y="3267075"/>
          <p14:tracePt t="13953" x="2109788" y="3267075"/>
          <p14:tracePt t="13954" x="2106613" y="3262313"/>
          <p14:tracePt t="13955" x="2098675" y="3262313"/>
          <p14:tracePt t="13956" x="2098675" y="3259138"/>
          <p14:tracePt t="13957" x="2093913" y="3259138"/>
          <p14:tracePt t="13958" x="2085975" y="3254375"/>
          <p14:tracePt t="13959" x="2082800" y="3254375"/>
          <p14:tracePt t="13960" x="2078038" y="3254375"/>
          <p14:tracePt t="13961" x="2073275" y="3251200"/>
          <p14:tracePt t="13962" x="2070100" y="3251200"/>
          <p14:tracePt t="13963" x="2065338" y="3251200"/>
          <p14:tracePt t="13964" x="2057400" y="3246438"/>
          <p14:tracePt t="13965" x="2054225" y="3246438"/>
          <p14:tracePt t="13966" x="2049463" y="3243263"/>
          <p14:tracePt t="13967" x="2046288" y="3243263"/>
          <p14:tracePt t="13968" x="2038350" y="3243263"/>
          <p14:tracePt t="13969" x="2033588" y="3238500"/>
          <p14:tracePt t="13971" x="2025650" y="3238500"/>
          <p14:tracePt t="13972" x="2022475" y="3235325"/>
          <p14:tracePt t="13973" x="2017713" y="3235325"/>
          <p14:tracePt t="13974" x="2014538" y="3235325"/>
          <p14:tracePt t="13975" x="2009775" y="3235325"/>
          <p14:tracePt t="13976" x="2006600" y="3235325"/>
          <p14:tracePt t="13977" x="2001838" y="3230563"/>
          <p14:tracePt t="13978" x="1998663" y="3230563"/>
          <p14:tracePt t="13980" x="1990725" y="3230563"/>
          <p14:tracePt t="13983" x="1985963" y="3230563"/>
          <p14:tracePt t="13984" x="1981200" y="3230563"/>
          <p14:tracePt t="13985" x="1978025" y="3230563"/>
          <p14:tracePt t="13986" x="1973263" y="3227388"/>
          <p14:tracePt t="13988" x="1970088" y="3227388"/>
          <p14:tracePt t="13990" x="1965325" y="3227388"/>
          <p14:tracePt t="13992" x="1962150" y="3227388"/>
          <p14:tracePt t="13995" x="1957388" y="3227388"/>
          <p14:tracePt t="13997" x="1957388" y="3222625"/>
          <p14:tracePt t="13998" x="1954213" y="3222625"/>
          <p14:tracePt t="14003" x="1949450" y="3222625"/>
          <p14:tracePt t="14028" x="1946275" y="3222625"/>
          <p14:tracePt t="14033" x="1941513" y="3222625"/>
          <p14:tracePt t="14038" x="1938338" y="3222625"/>
          <p14:tracePt t="14045" x="1933575" y="3222625"/>
          <p14:tracePt t="14078" x="1938338" y="3222625"/>
          <p14:tracePt t="14083" x="1941513" y="3222625"/>
          <p14:tracePt t="14086" x="1946275" y="3222625"/>
          <p14:tracePt t="14092" x="1949450" y="3222625"/>
          <p14:tracePt t="14095" x="1954213" y="3222625"/>
          <p14:tracePt t="14097" x="1957388" y="3222625"/>
          <p14:tracePt t="14099" x="1962150" y="3222625"/>
          <p14:tracePt t="14101" x="1965325" y="3222625"/>
          <p14:tracePt t="14102" x="1970088" y="3222625"/>
          <p14:tracePt t="14104" x="1973263" y="3222625"/>
          <p14:tracePt t="14105" x="1978025" y="3222625"/>
          <p14:tracePt t="14106" x="1981200" y="3222625"/>
          <p14:tracePt t="14108" x="1985963" y="3222625"/>
          <p14:tracePt t="14110" x="1990725" y="3222625"/>
          <p14:tracePt t="14112" x="1998663" y="3222625"/>
          <p14:tracePt t="14114" x="2001838" y="3222625"/>
          <p14:tracePt t="14115" x="2006600" y="3222625"/>
          <p14:tracePt t="14116" x="2009775" y="3222625"/>
          <p14:tracePt t="14117" x="2017713" y="3222625"/>
          <p14:tracePt t="14118" x="2022475" y="3222625"/>
          <p14:tracePt t="14119" x="2025650" y="3222625"/>
          <p14:tracePt t="14120" x="2030413" y="3222625"/>
          <p14:tracePt t="14121" x="2033588" y="3222625"/>
          <p14:tracePt t="14122" x="2041525" y="3222625"/>
          <p14:tracePt t="14123" x="2049463" y="3222625"/>
          <p14:tracePt t="14125" x="2057400" y="3222625"/>
          <p14:tracePt t="14126" x="2065338" y="3222625"/>
          <p14:tracePt t="14127" x="2073275" y="3222625"/>
          <p14:tracePt t="14128" x="2078038" y="3227388"/>
          <p14:tracePt t="14129" x="2085975" y="3227388"/>
          <p14:tracePt t="14130" x="2093913" y="3227388"/>
          <p14:tracePt t="14131" x="2101850" y="3227388"/>
          <p14:tracePt t="14132" x="2117725" y="3230563"/>
          <p14:tracePt t="14133" x="2125663" y="3230563"/>
          <p14:tracePt t="14134" x="2141538" y="3238500"/>
          <p14:tracePt t="14135" x="2149475" y="3243263"/>
          <p14:tracePt t="14136" x="2162175" y="3243263"/>
          <p14:tracePt t="14137" x="2182813" y="3246438"/>
          <p14:tracePt t="14138" x="2190750" y="3246438"/>
          <p14:tracePt t="14139" x="2206625" y="3251200"/>
          <p14:tracePt t="14140" x="2217738" y="3251200"/>
          <p14:tracePt t="14142" x="2246313" y="3251200"/>
          <p14:tracePt t="14143" x="2259013" y="3251200"/>
          <p14:tracePt t="14144" x="2274888" y="3251200"/>
          <p14:tracePt t="14145" x="2282825" y="3254375"/>
          <p14:tracePt t="14146" x="2293938" y="3254375"/>
          <p14:tracePt t="14147" x="2314575" y="3254375"/>
          <p14:tracePt t="14148" x="2322513" y="3254375"/>
          <p14:tracePt t="14149" x="2338388" y="3254375"/>
          <p14:tracePt t="14150" x="2346325" y="3254375"/>
          <p14:tracePt t="14151" x="2354263" y="3254375"/>
          <p14:tracePt t="14152" x="2370138" y="3254375"/>
          <p14:tracePt t="14153" x="2378075" y="3254375"/>
          <p14:tracePt t="14154" x="2390775" y="3254375"/>
          <p14:tracePt t="14155" x="2398713" y="3254375"/>
          <p14:tracePt t="14156" x="2409825" y="3254375"/>
          <p14:tracePt t="14157" x="2422525" y="3254375"/>
          <p14:tracePt t="14158" x="2430463" y="3254375"/>
          <p14:tracePt t="14159" x="2438400" y="3254375"/>
          <p14:tracePt t="14160" x="2451100" y="3254375"/>
          <p14:tracePt t="14161" x="2459038" y="3254375"/>
          <p14:tracePt t="14162" x="2466975" y="3254375"/>
          <p14:tracePt t="14163" x="2474913" y="3254375"/>
          <p14:tracePt t="14164" x="2478088" y="3254375"/>
          <p14:tracePt t="14165" x="2486025" y="3254375"/>
          <p14:tracePt t="14167" x="2493963" y="3254375"/>
          <p14:tracePt t="14168" x="2501900" y="3254375"/>
          <p14:tracePt t="14169" x="2506663" y="3254375"/>
          <p14:tracePt t="14170" x="2514600" y="3254375"/>
          <p14:tracePt t="14171" x="2517775" y="3254375"/>
          <p14:tracePt t="14172" x="2522538" y="3254375"/>
          <p14:tracePt t="14173" x="2530475" y="3251200"/>
          <p14:tracePt t="14174" x="2535238" y="3251200"/>
          <p14:tracePt t="14175" x="2538413" y="3251200"/>
          <p14:tracePt t="14176" x="2543175" y="3251200"/>
          <p14:tracePt t="14178" x="2546350" y="3251200"/>
          <p14:tracePt t="14179" x="2551113" y="3251200"/>
          <p14:tracePt t="14180" x="2554288" y="3246438"/>
          <p14:tracePt t="14182" x="2559050" y="3246438"/>
          <p14:tracePt t="14184" x="2562225" y="3246438"/>
          <p14:tracePt t="14186" x="2566988" y="3246438"/>
          <p14:tracePt t="14187" x="2566988" y="3243263"/>
          <p14:tracePt t="14188" x="2570163" y="3243263"/>
          <p14:tracePt t="14189" x="2574925" y="3243263"/>
          <p14:tracePt t="14192" x="2578100" y="3243263"/>
          <p14:tracePt t="14193" x="2582863" y="3238500"/>
          <p14:tracePt t="14195" x="2586038" y="3238500"/>
          <p14:tracePt t="14197" x="2590800" y="3238500"/>
          <p14:tracePt t="14198" x="2593975" y="3238500"/>
          <p14:tracePt t="14201" x="2598738" y="3238500"/>
          <p14:tracePt t="14205" x="2601913" y="3238500"/>
          <p14:tracePt t="14206" x="2601913" y="3235325"/>
          <p14:tracePt t="14208" x="2606675" y="3235325"/>
          <p14:tracePt t="14211" x="2609850" y="3235325"/>
          <p14:tracePt t="14215" x="2614613" y="3235325"/>
          <p14:tracePt t="14218" x="2617788" y="3235325"/>
          <p14:tracePt t="14220" x="2622550" y="3230563"/>
          <p14:tracePt t="14223" x="2627313" y="3230563"/>
          <p14:tracePt t="14225" x="2630488" y="3230563"/>
          <p14:tracePt t="14227" x="2635250" y="3230563"/>
          <p14:tracePt t="14228" x="2638425" y="3230563"/>
          <p14:tracePt t="14229" x="2638425" y="3227388"/>
          <p14:tracePt t="14232" x="2643188" y="3227388"/>
          <p14:tracePt t="14233" x="2646363" y="3227388"/>
          <p14:tracePt t="14234" x="2651125" y="3227388"/>
          <p14:tracePt t="14236" x="2654300" y="3227388"/>
          <p14:tracePt t="14237" x="2659063" y="3227388"/>
          <p14:tracePt t="14238" x="2662238" y="3227388"/>
          <p14:tracePt t="14239" x="2667000" y="3227388"/>
          <p14:tracePt t="14242" x="2674938" y="3227388"/>
          <p14:tracePt t="14243" x="2678113" y="3227388"/>
          <p14:tracePt t="14246" x="2682875" y="3227388"/>
          <p14:tracePt t="14248" x="2690813" y="3227388"/>
          <p14:tracePt t="14249" x="2693988" y="3227388"/>
          <p14:tracePt t="14250" x="2698750" y="3227388"/>
          <p14:tracePt t="14251" x="2701925" y="3227388"/>
          <p14:tracePt t="14252" x="2706688" y="3227388"/>
          <p14:tracePt t="14253" x="2714625" y="3227388"/>
          <p14:tracePt t="14254" x="2719388" y="3227388"/>
          <p14:tracePt t="14255" x="2722563" y="3227388"/>
          <p14:tracePt t="14257" x="2730500" y="3227388"/>
          <p14:tracePt t="14258" x="2735263" y="3227388"/>
          <p14:tracePt t="14260" x="2746375" y="3227388"/>
          <p14:tracePt t="14261" x="2751138" y="3227388"/>
          <p14:tracePt t="14262" x="2754313" y="3227388"/>
          <p14:tracePt t="14263" x="2762250" y="3227388"/>
          <p14:tracePt t="14264" x="2770188" y="3227388"/>
          <p14:tracePt t="14265" x="2774950" y="3222625"/>
          <p14:tracePt t="14266" x="2778125" y="3222625"/>
          <p14:tracePt t="14267" x="2786063" y="3222625"/>
          <p14:tracePt t="14268" x="2790825" y="3222625"/>
          <p14:tracePt t="14269" x="2798763" y="3222625"/>
          <p14:tracePt t="14271" x="2803525" y="3222625"/>
          <p14:tracePt t="14272" x="2811463" y="3222625"/>
          <p14:tracePt t="14273" x="2814638" y="3222625"/>
          <p14:tracePt t="14274" x="2822575" y="3222625"/>
          <p14:tracePt t="14275" x="2827338" y="3222625"/>
          <p14:tracePt t="14276" x="2830513" y="3222625"/>
          <p14:tracePt t="14277" x="2835275" y="3222625"/>
          <p14:tracePt t="14278" x="2838450" y="3222625"/>
          <p14:tracePt t="14279" x="2843213" y="3222625"/>
          <p14:tracePt t="14280" x="2851150" y="3222625"/>
          <p14:tracePt t="14281" x="2854325" y="3222625"/>
          <p14:tracePt t="14283" x="2859088" y="3222625"/>
          <p14:tracePt t="14284" x="2862263" y="3222625"/>
          <p14:tracePt t="14285" x="2867025" y="3222625"/>
          <p14:tracePt t="14286" x="2870200" y="3222625"/>
          <p14:tracePt t="14287" x="2874963" y="3222625"/>
          <p14:tracePt t="14288" x="2878138" y="3222625"/>
          <p14:tracePt t="14289" x="2882900" y="3222625"/>
          <p14:tracePt t="14290" x="2886075" y="3222625"/>
          <p14:tracePt t="14292" x="2890838" y="3222625"/>
          <p14:tracePt t="14292" x="2895600" y="3222625"/>
          <p14:tracePt t="14293" x="2898775" y="3222625"/>
          <p14:tracePt t="14296" x="2903538" y="3222625"/>
          <p14:tracePt t="14297" x="2906713" y="3222625"/>
          <p14:tracePt t="14298" x="2911475" y="3222625"/>
          <p14:tracePt t="14299" x="2914650" y="3222625"/>
          <p14:tracePt t="14300" x="2919413" y="3222625"/>
          <p14:tracePt t="14301" x="2922588" y="3222625"/>
          <p14:tracePt t="14303" x="2927350" y="3222625"/>
          <p14:tracePt t="14304" x="2930525" y="3222625"/>
          <p14:tracePt t="14305" x="2935288" y="3222625"/>
          <p14:tracePt t="14307" x="2938463" y="3222625"/>
          <p14:tracePt t="14310" x="2943225" y="3219450"/>
          <p14:tracePt t="14311" x="2946400" y="3219450"/>
          <p14:tracePt t="14312" x="2951163" y="3219450"/>
          <p14:tracePt t="14314" x="2954338" y="3219450"/>
          <p14:tracePt t="14315" x="2959100" y="3219450"/>
          <p14:tracePt t="14316" x="2962275" y="3219450"/>
          <p14:tracePt t="14318" x="2967038" y="3214688"/>
          <p14:tracePt t="14320" x="2970213" y="3214688"/>
          <p14:tracePt t="14321" x="2974975" y="3214688"/>
          <p14:tracePt t="14323" x="2978150" y="3214688"/>
          <p14:tracePt t="14324" x="2978150" y="3211513"/>
          <p14:tracePt t="14326" x="2982913" y="3211513"/>
          <p14:tracePt t="14327" x="2987675" y="3206750"/>
          <p14:tracePt t="14328" x="2990850" y="3206750"/>
          <p14:tracePt t="14330" x="2998788" y="3206750"/>
          <p14:tracePt t="14332" x="3003550" y="3206750"/>
          <p14:tracePt t="14333" x="3006725" y="3203575"/>
          <p14:tracePt t="14334" x="3011488" y="3203575"/>
          <p14:tracePt t="14335" x="3014663" y="3203575"/>
          <p14:tracePt t="14336" x="3019425" y="3203575"/>
          <p14:tracePt t="14337" x="3022600" y="3203575"/>
          <p14:tracePt t="14338" x="3022600" y="3198813"/>
          <p14:tracePt t="14339" x="3030538" y="3198813"/>
          <p14:tracePt t="14340" x="3035300" y="3198813"/>
          <p14:tracePt t="14342" x="3043238" y="3198813"/>
          <p14:tracePt t="14343" x="3046413" y="3194050"/>
          <p14:tracePt t="14344" x="3051175" y="3194050"/>
          <p14:tracePt t="14345" x="3059113" y="3194050"/>
          <p14:tracePt t="14346" x="3062288" y="3194050"/>
          <p14:tracePt t="14347" x="3067050" y="3194050"/>
          <p14:tracePt t="14348" x="3071813" y="3194050"/>
          <p14:tracePt t="14349" x="3074988" y="3194050"/>
          <p14:tracePt t="14350" x="3079750" y="3194050"/>
          <p14:tracePt t="14352" x="3090863" y="3194050"/>
          <p14:tracePt t="14353" x="3090863" y="3190875"/>
          <p14:tracePt t="14354" x="3095625" y="3190875"/>
          <p14:tracePt t="14355" x="3098800" y="3190875"/>
          <p14:tracePt t="14356" x="3106738" y="3190875"/>
          <p14:tracePt t="14357" x="3111500" y="3190875"/>
          <p14:tracePt t="14358" x="3114675" y="3190875"/>
          <p14:tracePt t="14359" x="3119438" y="3186113"/>
          <p14:tracePt t="14360" x="3122613" y="3186113"/>
          <p14:tracePt t="14361" x="3130550" y="3186113"/>
          <p14:tracePt t="14362" x="3135313" y="3186113"/>
          <p14:tracePt t="14363" x="3138488" y="3186113"/>
          <p14:tracePt t="14364" x="3146425" y="3186113"/>
          <p14:tracePt t="14366" x="3154363" y="3186113"/>
          <p14:tracePt t="14367" x="3159125" y="3182938"/>
          <p14:tracePt t="14368" x="3163888" y="3182938"/>
          <p14:tracePt t="14369" x="3171825" y="3182938"/>
          <p14:tracePt t="14370" x="3175000" y="3182938"/>
          <p14:tracePt t="14371" x="3179763" y="3182938"/>
          <p14:tracePt t="14372" x="3187700" y="3182938"/>
          <p14:tracePt t="14373" x="3190875" y="3182938"/>
          <p14:tracePt t="14374" x="3195638" y="3178175"/>
          <p14:tracePt t="14375" x="3198813" y="3178175"/>
          <p14:tracePt t="14376" x="3203575" y="3178175"/>
          <p14:tracePt t="14378" x="3206750" y="3178175"/>
          <p14:tracePt t="14379" x="3211513" y="3178175"/>
          <p14:tracePt t="14380" x="3214688" y="3178175"/>
          <p14:tracePt t="14381" x="3219450" y="3178175"/>
          <p14:tracePt t="14382" x="3222625" y="3178175"/>
          <p14:tracePt t="14383" x="3227388" y="3178175"/>
          <p14:tracePt t="14384" x="3230563" y="3178175"/>
          <p14:tracePt t="14385" x="3235325" y="3178175"/>
          <p14:tracePt t="14386" x="3238500" y="3178175"/>
          <p14:tracePt t="14387" x="3243263" y="3175000"/>
          <p14:tracePt t="14389" x="3246438" y="3175000"/>
          <p14:tracePt t="14392" x="3251200" y="3175000"/>
          <p14:tracePt t="14393" x="3259138" y="3175000"/>
          <p14:tracePt t="14395" x="3263900" y="3175000"/>
          <p14:tracePt t="14396" x="3267075" y="3175000"/>
          <p14:tracePt t="14397" x="3271838" y="3175000"/>
          <p14:tracePt t="14399" x="3275013" y="3175000"/>
          <p14:tracePt t="14401" x="3279775" y="3175000"/>
          <p14:tracePt t="14402" x="3282950" y="3175000"/>
          <p14:tracePt t="14405" x="3287713" y="3175000"/>
          <p14:tracePt t="14406" x="3290888" y="3175000"/>
          <p14:tracePt t="14409" x="3295650" y="3175000"/>
          <p14:tracePt t="14410" x="3298825" y="3175000"/>
          <p14:tracePt t="14411" x="3303588" y="3175000"/>
          <p14:tracePt t="14412" x="3306763" y="3175000"/>
          <p14:tracePt t="14414" x="3311525" y="3175000"/>
          <p14:tracePt t="14415" x="3314700" y="3175000"/>
          <p14:tracePt t="14417" x="3319463" y="3175000"/>
          <p14:tracePt t="14418" x="3322638" y="3175000"/>
          <p14:tracePt t="14420" x="3327400" y="3175000"/>
          <p14:tracePt t="14421" x="3330575" y="3175000"/>
          <p14:tracePt t="14422" x="3335338" y="3175000"/>
          <p14:tracePt t="14423" x="3338513" y="3175000"/>
          <p14:tracePt t="14425" x="3343275" y="3175000"/>
          <p14:tracePt t="14426" x="3348038" y="3175000"/>
          <p14:tracePt t="14427" x="3351213" y="3175000"/>
          <p14:tracePt t="14428" x="3355975" y="3175000"/>
          <p14:tracePt t="14429" x="3359150" y="3175000"/>
          <p14:tracePt t="14431" x="3363913" y="3175000"/>
          <p14:tracePt t="14432" x="3367088" y="3175000"/>
          <p14:tracePt t="14434" x="3371850" y="3175000"/>
          <p14:tracePt t="14435" x="3375025" y="3175000"/>
          <p14:tracePt t="14436" x="3379788" y="3178175"/>
          <p14:tracePt t="14437" x="3382963" y="3178175"/>
          <p14:tracePt t="14438" x="3387725" y="3178175"/>
          <p14:tracePt t="14439" x="3390900" y="3178175"/>
          <p14:tracePt t="14440" x="3395663" y="3178175"/>
          <p14:tracePt t="14441" x="3398838" y="3178175"/>
          <p14:tracePt t="14442" x="3403600" y="3182938"/>
          <p14:tracePt t="14443" x="3406775" y="3182938"/>
          <p14:tracePt t="14446" x="3411538" y="3182938"/>
          <p14:tracePt t="14447" x="3414713" y="3186113"/>
          <p14:tracePt t="14448" x="3419475" y="3186113"/>
          <p14:tracePt t="14449" x="3422650" y="3186113"/>
          <p14:tracePt t="14450" x="3427413" y="3186113"/>
          <p14:tracePt t="14451" x="3430588" y="3186113"/>
          <p14:tracePt t="14452" x="3435350" y="3190875"/>
          <p14:tracePt t="14453" x="3440113" y="3190875"/>
          <p14:tracePt t="14454" x="3443288" y="3190875"/>
          <p14:tracePt t="14455" x="3448050" y="3190875"/>
          <p14:tracePt t="14457" x="3451225" y="3190875"/>
          <p14:tracePt t="14460" x="3455988" y="3194050"/>
          <p14:tracePt t="14463" x="3463925" y="3194050"/>
          <p14:tracePt t="14464" x="3467100" y="3194050"/>
          <p14:tracePt t="14466" x="3471863" y="3194050"/>
          <p14:tracePt t="14468" x="3475038" y="3194050"/>
          <p14:tracePt t="14471" x="3479800" y="3198813"/>
          <p14:tracePt t="14473" x="3482975" y="3198813"/>
          <p14:tracePt t="14476" x="3487738" y="3198813"/>
          <p14:tracePt t="14480" x="3490913" y="3198813"/>
          <p14:tracePt t="14484" x="3495675" y="3198813"/>
          <p14:tracePt t="14485" x="3498850" y="3198813"/>
          <p14:tracePt t="14488" x="3503613" y="3198813"/>
          <p14:tracePt t="14489" x="3506788" y="3198813"/>
          <p14:tracePt t="14492" x="3514725" y="3203575"/>
          <p14:tracePt t="14493" x="3519488" y="3203575"/>
          <p14:tracePt t="14495" x="3524250" y="3203575"/>
          <p14:tracePt t="14496" x="3527425" y="3203575"/>
          <p14:tracePt t="14497" x="3532188" y="3203575"/>
          <p14:tracePt t="14500" x="3535363" y="3203575"/>
          <p14:tracePt t="14501" x="3540125" y="3203575"/>
          <p14:tracePt t="14502" x="3543300" y="3203575"/>
          <p14:tracePt t="14503" x="3548063" y="3203575"/>
          <p14:tracePt t="14504" x="3551238" y="3206750"/>
          <p14:tracePt t="14506" x="3556000" y="3206750"/>
          <p14:tracePt t="14507" x="3559175" y="3206750"/>
          <p14:tracePt t="14508" x="3563938" y="3206750"/>
          <p14:tracePt t="14510" x="3571875" y="3211513"/>
          <p14:tracePt t="14512" x="3579813" y="3211513"/>
          <p14:tracePt t="14513" x="3582988" y="3214688"/>
          <p14:tracePt t="14514" x="3587750" y="3214688"/>
          <p14:tracePt t="14515" x="3595688" y="3214688"/>
          <p14:tracePt t="14516" x="3598863" y="3219450"/>
          <p14:tracePt t="14517" x="3603625" y="3219450"/>
          <p14:tracePt t="14518" x="3611563" y="3219450"/>
          <p14:tracePt t="14519" x="3616325" y="3219450"/>
          <p14:tracePt t="14520" x="3619500" y="3222625"/>
          <p14:tracePt t="14521" x="3627438" y="3222625"/>
          <p14:tracePt t="14522" x="3635375" y="3222625"/>
          <p14:tracePt t="14523" x="3640138" y="3222625"/>
          <p14:tracePt t="14524" x="3648075" y="3227388"/>
          <p14:tracePt t="14525" x="3656013" y="3227388"/>
          <p14:tracePt t="14527" x="3667125" y="3230563"/>
          <p14:tracePt t="14528" x="3675063" y="3235325"/>
          <p14:tracePt t="14529" x="3683000" y="3235325"/>
          <p14:tracePt t="14530" x="3690938" y="3235325"/>
          <p14:tracePt t="14531" x="3695700" y="3235325"/>
          <p14:tracePt t="14532" x="3703638" y="3238500"/>
          <p14:tracePt t="14533" x="3708400" y="3238500"/>
          <p14:tracePt t="14534" x="3716338" y="3238500"/>
          <p14:tracePt t="14535" x="3724275" y="3243263"/>
          <p14:tracePt t="14536" x="3727450" y="3246438"/>
          <p14:tracePt t="14537" x="3735388" y="3246438"/>
          <p14:tracePt t="14538" x="3743325" y="3251200"/>
          <p14:tracePt t="14539" x="3751263" y="3251200"/>
          <p14:tracePt t="14540" x="3759200" y="3254375"/>
          <p14:tracePt t="14541" x="3767138" y="3254375"/>
          <p14:tracePt t="14542" x="3771900" y="3259138"/>
          <p14:tracePt t="14543" x="3779838" y="3259138"/>
          <p14:tracePt t="14544" x="3787775" y="3262313"/>
          <p14:tracePt t="14545" x="3795713" y="3262313"/>
          <p14:tracePt t="14546" x="3803650" y="3267075"/>
          <p14:tracePt t="14547" x="3808413" y="3270250"/>
          <p14:tracePt t="14548" x="3816350" y="3270250"/>
          <p14:tracePt t="14549" x="3824288" y="3275013"/>
          <p14:tracePt t="14550" x="3832225" y="3275013"/>
          <p14:tracePt t="14551" x="3835400" y="3275013"/>
          <p14:tracePt t="14552" x="3840163" y="3278188"/>
          <p14:tracePt t="14553" x="3848100" y="3278188"/>
          <p14:tracePt t="14554" x="3856038" y="3282950"/>
          <p14:tracePt t="14555" x="3859213" y="3286125"/>
          <p14:tracePt t="14556" x="3867150" y="3286125"/>
          <p14:tracePt t="14558" x="3879850" y="3290888"/>
          <p14:tracePt t="14559" x="3884613" y="3295650"/>
          <p14:tracePt t="14560" x="3887788" y="3295650"/>
          <p14:tracePt t="14561" x="3895725" y="3298825"/>
          <p14:tracePt t="14562" x="3900488" y="3298825"/>
          <p14:tracePt t="14563" x="3903663" y="3303588"/>
          <p14:tracePt t="14564" x="3908425" y="3306763"/>
          <p14:tracePt t="14565" x="3908425" y="3311525"/>
          <p14:tracePt t="14566" x="3911600" y="3311525"/>
          <p14:tracePt t="14567" x="3916363" y="3311525"/>
          <p14:tracePt t="14568" x="3919538" y="3311525"/>
          <p14:tracePt t="14569" x="3924300" y="3314700"/>
          <p14:tracePt t="14570" x="3927475" y="3314700"/>
          <p14:tracePt t="14571" x="3932238" y="3319463"/>
          <p14:tracePt t="14572" x="3935413" y="3322638"/>
          <p14:tracePt t="14573" x="3940175" y="3322638"/>
          <p14:tracePt t="14574" x="3943350" y="3327400"/>
          <p14:tracePt t="14575" x="3948113" y="3327400"/>
          <p14:tracePt t="14576" x="3948113" y="3330575"/>
          <p14:tracePt t="14578" x="3951288" y="3335338"/>
          <p14:tracePt t="14579" x="3956050" y="3335338"/>
          <p14:tracePt t="14580" x="3959225" y="3338513"/>
          <p14:tracePt t="14581" x="3959225" y="3343275"/>
          <p14:tracePt t="14582" x="3963988" y="3346450"/>
          <p14:tracePt t="14583" x="3967163" y="3346450"/>
          <p14:tracePt t="14584" x="3967163" y="3351213"/>
          <p14:tracePt t="14585" x="3971925" y="3351213"/>
          <p14:tracePt t="14586" x="3976688" y="3351213"/>
          <p14:tracePt t="14587" x="3976688" y="3354388"/>
          <p14:tracePt t="14588" x="3979863" y="3359150"/>
          <p14:tracePt t="14589" x="3984625" y="3359150"/>
          <p14:tracePt t="14590" x="3987800" y="3362325"/>
          <p14:tracePt t="14592" x="3992563" y="3370263"/>
          <p14:tracePt t="14593" x="3992563" y="3375025"/>
          <p14:tracePt t="14594" x="3995738" y="3375025"/>
          <p14:tracePt t="14595" x="3995738" y="3378200"/>
          <p14:tracePt t="14596" x="4000500" y="3382963"/>
          <p14:tracePt t="14597" x="4003675" y="3387725"/>
          <p14:tracePt t="14598" x="4008438" y="3390900"/>
          <p14:tracePt t="14600" x="4011613" y="3395663"/>
          <p14:tracePt t="14601" x="4016375" y="3398838"/>
          <p14:tracePt t="14602" x="4019550" y="3403600"/>
          <p14:tracePt t="14604" x="4024313" y="3411538"/>
          <p14:tracePt t="14605" x="4027488" y="3414713"/>
          <p14:tracePt t="14606" x="4032250" y="3419475"/>
          <p14:tracePt t="14607" x="4032250" y="3422650"/>
          <p14:tracePt t="14608" x="4032250" y="3427413"/>
          <p14:tracePt t="14609" x="4035425" y="3430588"/>
          <p14:tracePt t="14611" x="4040188" y="3435350"/>
          <p14:tracePt t="14612" x="4043363" y="3438525"/>
          <p14:tracePt t="14614" x="4048125" y="3443288"/>
          <p14:tracePt t="14615" x="4051300" y="3451225"/>
          <p14:tracePt t="14616" x="4051300" y="3454400"/>
          <p14:tracePt t="14617" x="4056063" y="3454400"/>
          <p14:tracePt t="14618" x="4056063" y="3459163"/>
          <p14:tracePt t="14619" x="4059238" y="3462338"/>
          <p14:tracePt t="14620" x="4064000" y="3470275"/>
          <p14:tracePt t="14621" x="4064000" y="3475038"/>
          <p14:tracePt t="14622" x="4068763" y="3479800"/>
          <p14:tracePt t="14624" x="4071938" y="3482975"/>
          <p14:tracePt t="14625" x="4071938" y="3487738"/>
          <p14:tracePt t="14626" x="4076700" y="3487738"/>
          <p14:tracePt t="14629" x="4079875" y="3495675"/>
          <p14:tracePt t="14630" x="4079875" y="3503613"/>
          <p14:tracePt t="14631" x="4079875" y="3506788"/>
          <p14:tracePt t="14632" x="4084638" y="3506788"/>
          <p14:tracePt t="14633" x="4084638" y="3511550"/>
          <p14:tracePt t="14634" x="4084638" y="3514725"/>
          <p14:tracePt t="14635" x="4087813" y="3519488"/>
          <p14:tracePt t="14637" x="4087813" y="3522663"/>
          <p14:tracePt t="14638" x="4092575" y="3527425"/>
          <p14:tracePt t="14640" x="4092575" y="3530600"/>
          <p14:tracePt t="14642" x="4095750" y="3535363"/>
          <p14:tracePt t="14644" x="4095750" y="3538538"/>
          <p14:tracePt t="14646" x="4095750" y="3543300"/>
          <p14:tracePt t="14647" x="4095750" y="3546475"/>
          <p14:tracePt t="14648" x="4100513" y="3546475"/>
          <p14:tracePt t="14649" x="4100513" y="3551238"/>
          <p14:tracePt t="14651" x="4100513" y="3554413"/>
          <p14:tracePt t="14652" x="4100513" y="3559175"/>
          <p14:tracePt t="14654" x="4100513" y="3562350"/>
          <p14:tracePt t="14657" x="4100513" y="3567113"/>
          <p14:tracePt t="14659" x="4100513" y="3571875"/>
          <p14:tracePt t="14662" x="4100513" y="3575050"/>
          <p14:tracePt t="14665" x="4100513" y="3579813"/>
          <p14:tracePt t="14668" x="4100513" y="3582988"/>
          <p14:tracePt t="14670" x="4100513" y="3587750"/>
          <p14:tracePt t="14672" x="4100513" y="3590925"/>
          <p14:tracePt t="14676" x="4100513" y="3595688"/>
          <p14:tracePt t="14677" x="4095750" y="3595688"/>
          <p14:tracePt t="14679" x="4095750" y="3598863"/>
          <p14:tracePt t="14683" x="4092575" y="3603625"/>
          <p14:tracePt t="14683" x="4092575" y="3606800"/>
          <p14:tracePt t="14684" x="4087813" y="3606800"/>
          <p14:tracePt t="14685" x="4087813" y="3611563"/>
          <p14:tracePt t="14687" x="4084638" y="3611563"/>
          <p14:tracePt t="14690" x="4084638" y="3614738"/>
          <p14:tracePt t="14693" x="4084638" y="3619500"/>
          <p14:tracePt t="14694" x="4079875" y="3619500"/>
          <p14:tracePt t="14696" x="4079875" y="3622675"/>
          <p14:tracePt t="14698" x="4076700" y="3627438"/>
          <p14:tracePt t="14700" x="4071938" y="3630613"/>
          <p14:tracePt t="14702" x="4068763" y="3630613"/>
          <p14:tracePt t="14703" x="4068763" y="3635375"/>
          <p14:tracePt t="14707" x="4064000" y="3638550"/>
          <p14:tracePt t="14710" x="4059238" y="3643313"/>
          <p14:tracePt t="14712" x="4056063" y="3643313"/>
          <p14:tracePt t="14714" x="4056063" y="3646488"/>
          <p14:tracePt t="14715" x="4051300" y="3651250"/>
          <p14:tracePt t="14717" x="4048125" y="3651250"/>
          <p14:tracePt t="14721" x="4043363" y="3651250"/>
          <p14:tracePt t="14724" x="4043363" y="3654425"/>
          <p14:tracePt t="14727" x="4040188" y="3654425"/>
          <p14:tracePt t="14729" x="4040188" y="3659188"/>
          <p14:tracePt t="14730" x="4035425" y="3659188"/>
          <p14:tracePt t="14731" x="4035425" y="3663950"/>
          <p14:tracePt t="14733" x="4032250" y="3663950"/>
          <p14:tracePt t="14735" x="4032250" y="3667125"/>
          <p14:tracePt t="14736" x="4027488" y="3667125"/>
          <p14:tracePt t="14742" x="4024313" y="3667125"/>
          <p14:tracePt t="14744" x="4019550" y="3667125"/>
          <p14:tracePt t="14746" x="4016375" y="3667125"/>
          <p14:tracePt t="14749" x="4011613" y="3667125"/>
          <p14:tracePt t="14752" x="4011613" y="3671888"/>
          <p14:tracePt t="14753" x="4008438" y="3671888"/>
          <p14:tracePt t="14756" x="4003675" y="3671888"/>
          <p14:tracePt t="14761" x="4000500" y="3671888"/>
          <p14:tracePt t="14763" x="3995738" y="3671888"/>
          <p14:tracePt t="14766" x="3992563" y="3671888"/>
          <p14:tracePt t="14768" x="3987800" y="3671888"/>
          <p14:tracePt t="14770" x="3984625" y="3671888"/>
          <p14:tracePt t="14772" x="3979863" y="3671888"/>
          <p14:tracePt t="14776" x="3976688" y="3671888"/>
          <p14:tracePt t="14778" x="3971925" y="3671888"/>
          <p14:tracePt t="14780" x="3967163" y="3671888"/>
          <p14:tracePt t="14782" x="3963988" y="3671888"/>
          <p14:tracePt t="14785" x="3959225" y="3671888"/>
          <p14:tracePt t="14788" x="3956050" y="3667125"/>
          <p14:tracePt t="14790" x="3951288" y="3663950"/>
          <p14:tracePt t="14792" x="3948113" y="3659188"/>
          <p14:tracePt t="14794" x="3943350" y="3659188"/>
          <p14:tracePt t="14795" x="3940175" y="3654425"/>
          <p14:tracePt t="14797" x="3935413" y="3654425"/>
          <p14:tracePt t="14799" x="3932238" y="3651250"/>
          <p14:tracePt t="14800" x="3927475" y="3651250"/>
          <p14:tracePt t="14801" x="3924300" y="3646488"/>
          <p14:tracePt t="14802" x="3919538" y="3646488"/>
          <p14:tracePt t="14803" x="3919538" y="3643313"/>
          <p14:tracePt t="14805" x="3916363" y="3638550"/>
          <p14:tracePt t="14807" x="3911600" y="3635375"/>
          <p14:tracePt t="14809" x="3911600" y="3630613"/>
          <p14:tracePt t="14810" x="3903663" y="3627438"/>
          <p14:tracePt t="14811" x="3903663" y="3622675"/>
          <p14:tracePt t="14813" x="3900488" y="3619500"/>
          <p14:tracePt t="14814" x="3900488" y="3614738"/>
          <p14:tracePt t="14815" x="3895725" y="3614738"/>
          <p14:tracePt t="14816" x="3892550" y="3611563"/>
          <p14:tracePt t="14817" x="3892550" y="3606800"/>
          <p14:tracePt t="14818" x="3887788" y="3606800"/>
          <p14:tracePt t="14819" x="3887788" y="3603625"/>
          <p14:tracePt t="14820" x="3884613" y="3598863"/>
          <p14:tracePt t="14822" x="3884613" y="3595688"/>
          <p14:tracePt t="14823" x="3879850" y="3590925"/>
          <p14:tracePt t="14824" x="3879850" y="3587750"/>
          <p14:tracePt t="14825" x="3879850" y="3582988"/>
          <p14:tracePt t="14826" x="3875088" y="3579813"/>
          <p14:tracePt t="14827" x="3871913" y="3579813"/>
          <p14:tracePt t="14828" x="3871913" y="3575050"/>
          <p14:tracePt t="14829" x="3867150" y="3567113"/>
          <p14:tracePt t="14831" x="3863975" y="3567113"/>
          <p14:tracePt t="14832" x="3859213" y="3562350"/>
          <p14:tracePt t="14833" x="3856038" y="3554413"/>
          <p14:tracePt t="14834" x="3851275" y="3551238"/>
          <p14:tracePt t="14835" x="3851275" y="3546475"/>
          <p14:tracePt t="14836" x="3848100" y="3543300"/>
          <p14:tracePt t="14837" x="3843338" y="3538538"/>
          <p14:tracePt t="14838" x="3843338" y="3535363"/>
          <p14:tracePt t="14839" x="3840163" y="3527425"/>
          <p14:tracePt t="14840" x="3835400" y="3522663"/>
          <p14:tracePt t="14841" x="3832225" y="3519488"/>
          <p14:tracePt t="14842" x="3827463" y="3514725"/>
          <p14:tracePt t="14843" x="3824288" y="3506788"/>
          <p14:tracePt t="14845" x="3824288" y="3503613"/>
          <p14:tracePt t="14846" x="3816350" y="3490913"/>
          <p14:tracePt t="14847" x="3811588" y="3490913"/>
          <p14:tracePt t="14848" x="3808413" y="3487738"/>
          <p14:tracePt t="14849" x="3803650" y="3479800"/>
          <p14:tracePt t="14850" x="3800475" y="3475038"/>
          <p14:tracePt t="14851" x="3795713" y="3467100"/>
          <p14:tracePt t="14852" x="3790950" y="3462338"/>
          <p14:tracePt t="14853" x="3787775" y="3459163"/>
          <p14:tracePt t="14854" x="3779838" y="3451225"/>
          <p14:tracePt t="14855" x="3775075" y="3446463"/>
          <p14:tracePt t="14856" x="3771900" y="3438525"/>
          <p14:tracePt t="14857" x="3767138" y="3435350"/>
          <p14:tracePt t="14858" x="3763963" y="3430588"/>
          <p14:tracePt t="14859" x="3759200" y="3422650"/>
          <p14:tracePt t="14860" x="3756025" y="3414713"/>
          <p14:tracePt t="14861" x="3751263" y="3411538"/>
          <p14:tracePt t="14862" x="3743325" y="3406775"/>
          <p14:tracePt t="14863" x="3740150" y="3403600"/>
          <p14:tracePt t="14864" x="3735388" y="3395663"/>
          <p14:tracePt t="14865" x="3732213" y="3390900"/>
          <p14:tracePt t="14866" x="3727450" y="3382963"/>
          <p14:tracePt t="14867" x="3727450" y="3378200"/>
          <p14:tracePt t="14868" x="3724275" y="3375025"/>
          <p14:tracePt t="14869" x="3716338" y="3370263"/>
          <p14:tracePt t="14870" x="3711575" y="3362325"/>
          <p14:tracePt t="14871" x="3708400" y="3359150"/>
          <p14:tracePt t="14872" x="3703638" y="3354388"/>
          <p14:tracePt t="14873" x="3698875" y="3351213"/>
          <p14:tracePt t="14874" x="3695700" y="3351213"/>
          <p14:tracePt t="14875" x="3687763" y="3343275"/>
          <p14:tracePt t="14876" x="3683000" y="3338513"/>
          <p14:tracePt t="14878" x="3675063" y="3330575"/>
          <p14:tracePt t="14880" x="3663950" y="3322638"/>
          <p14:tracePt t="14881" x="3659188" y="3319463"/>
          <p14:tracePt t="14882" x="3656013" y="3314700"/>
          <p14:tracePt t="14883" x="3651250" y="3311525"/>
          <p14:tracePt t="14885" x="3648075" y="3306763"/>
          <p14:tracePt t="14886" x="3640138" y="3303588"/>
          <p14:tracePt t="14887" x="3635375" y="3298825"/>
          <p14:tracePt t="14888" x="3632200" y="3295650"/>
          <p14:tracePt t="14889" x="3627438" y="3295650"/>
          <p14:tracePt t="14890" x="3624263" y="3295650"/>
          <p14:tracePt t="14892" x="3616325" y="3290888"/>
          <p14:tracePt t="14893" x="3611563" y="3286125"/>
          <p14:tracePt t="14896" x="3598863" y="3278188"/>
          <p14:tracePt t="14898" x="3587750" y="3275013"/>
          <p14:tracePt t="14899" x="3582988" y="3275013"/>
          <p14:tracePt t="14900" x="3575050" y="3270250"/>
          <p14:tracePt t="14901" x="3571875" y="3270250"/>
          <p14:tracePt t="14902" x="3567113" y="3267075"/>
          <p14:tracePt t="14903" x="3563938" y="3267075"/>
          <p14:tracePt t="14905" x="3559175" y="3262313"/>
          <p14:tracePt t="14906" x="3551238" y="3262313"/>
          <p14:tracePt t="14907" x="3548063" y="3262313"/>
          <p14:tracePt t="14908" x="3543300" y="3259138"/>
          <p14:tracePt t="14909" x="3540125" y="3259138"/>
          <p14:tracePt t="14911" x="3532188" y="3254375"/>
          <p14:tracePt t="14912" x="3527425" y="3254375"/>
          <p14:tracePt t="14914" x="3524250" y="3254375"/>
          <p14:tracePt t="14915" x="3519488" y="3254375"/>
          <p14:tracePt t="14916" x="3511550" y="3251200"/>
          <p14:tracePt t="14918" x="3506788" y="3251200"/>
          <p14:tracePt t="14919" x="3503613" y="3251200"/>
          <p14:tracePt t="14920" x="3498850" y="3251200"/>
          <p14:tracePt t="14921" x="3495675" y="3251200"/>
          <p14:tracePt t="14922" x="3490913" y="3251200"/>
          <p14:tracePt t="14923" x="3487738" y="3251200"/>
          <p14:tracePt t="14924" x="3482975" y="3251200"/>
          <p14:tracePt t="14927" x="3479800" y="3251200"/>
          <p14:tracePt t="14928" x="3475038" y="3251200"/>
          <p14:tracePt t="14929" x="3471863" y="3251200"/>
          <p14:tracePt t="14930" x="3467100" y="3251200"/>
          <p14:tracePt t="14931" x="3463925" y="3251200"/>
          <p14:tracePt t="14932" x="3459163" y="3251200"/>
          <p14:tracePt t="14933" x="3455988" y="3251200"/>
          <p14:tracePt t="14935" x="3451225" y="3251200"/>
          <p14:tracePt t="14936" x="3443288" y="3251200"/>
          <p14:tracePt t="14937" x="3440113" y="3251200"/>
          <p14:tracePt t="14939" x="3435350" y="3251200"/>
          <p14:tracePt t="14940" x="3430588" y="3251200"/>
          <p14:tracePt t="14942" x="3422650" y="3251200"/>
          <p14:tracePt t="14943" x="3419475" y="3251200"/>
          <p14:tracePt t="14944" x="3414713" y="3251200"/>
          <p14:tracePt t="14945" x="3411538" y="3251200"/>
          <p14:tracePt t="14946" x="3403600" y="3251200"/>
          <p14:tracePt t="14947" x="3398838" y="3251200"/>
          <p14:tracePt t="14948" x="3395663" y="3251200"/>
          <p14:tracePt t="14949" x="3390900" y="3251200"/>
          <p14:tracePt t="14951" x="3382963" y="3251200"/>
          <p14:tracePt t="14952" x="3379788" y="3254375"/>
          <p14:tracePt t="14953" x="3371850" y="3254375"/>
          <p14:tracePt t="14959" x="3343275" y="3262313"/>
          <p14:tracePt t="14960" x="3338513" y="3262313"/>
          <p14:tracePt t="14961" x="3330575" y="3267075"/>
          <p14:tracePt t="14964" x="3319463" y="3270250"/>
          <p14:tracePt t="14965" x="3311525" y="3270250"/>
          <p14:tracePt t="14966" x="3306763" y="3275013"/>
          <p14:tracePt t="14967" x="3298825" y="3278188"/>
          <p14:tracePt t="14968" x="3295650" y="3278188"/>
          <p14:tracePt t="14969" x="3290888" y="3282950"/>
          <p14:tracePt t="14970" x="3287713" y="3282950"/>
          <p14:tracePt t="14971" x="3279775" y="3286125"/>
          <p14:tracePt t="14972" x="3271838" y="3290888"/>
          <p14:tracePt t="14973" x="3267075" y="3290888"/>
          <p14:tracePt t="14974" x="3263900" y="3295650"/>
          <p14:tracePt t="14975" x="3255963" y="3295650"/>
          <p14:tracePt t="14977" x="3243263" y="3303588"/>
          <p14:tracePt t="14978" x="3235325" y="3303588"/>
          <p14:tracePt t="14979" x="3230563" y="3306763"/>
          <p14:tracePt t="14980" x="3227388" y="3306763"/>
          <p14:tracePt t="14981" x="3219450" y="3311525"/>
          <p14:tracePt t="14982" x="3211513" y="3314700"/>
          <p14:tracePt t="14983" x="3206750" y="3314700"/>
          <p14:tracePt t="14984" x="3203575" y="3319463"/>
          <p14:tracePt t="14985" x="3195638" y="3319463"/>
          <p14:tracePt t="14986" x="3190875" y="3319463"/>
          <p14:tracePt t="14987" x="3182938" y="3322638"/>
          <p14:tracePt t="14988" x="3175000" y="3322638"/>
          <p14:tracePt t="14989" x="3171825" y="3327400"/>
          <p14:tracePt t="14992" x="3159125" y="3335338"/>
          <p14:tracePt t="14994" x="3146425" y="3338513"/>
          <p14:tracePt t="14995" x="3143250" y="3338513"/>
          <p14:tracePt t="14996" x="3138488" y="3338513"/>
          <p14:tracePt t="14997" x="3135313" y="3343275"/>
          <p14:tracePt t="14998" x="3130550" y="3343275"/>
          <p14:tracePt t="14999" x="3127375" y="3343275"/>
          <p14:tracePt t="15000" x="3122613" y="3343275"/>
          <p14:tracePt t="15001" x="3119438" y="3343275"/>
          <p14:tracePt t="15002" x="3114675" y="3343275"/>
          <p14:tracePt t="15004" x="3111500" y="3343275"/>
          <p14:tracePt t="15005" x="3106738" y="3343275"/>
          <p14:tracePt t="15007" x="3103563" y="3343275"/>
          <p14:tracePt t="15010" x="3098800" y="3343275"/>
          <p14:tracePt t="15012" x="3095625" y="3343275"/>
          <p14:tracePt t="15013" x="3090863" y="3343275"/>
          <p14:tracePt t="15014" x="3087688" y="3343275"/>
          <p14:tracePt t="15017" x="3082925" y="3343275"/>
          <p14:tracePt t="15019" x="3079750" y="3343275"/>
          <p14:tracePt t="15023" x="3074988" y="3343275"/>
          <p14:tracePt t="15024" x="3074988" y="3338513"/>
          <p14:tracePt t="15026" x="3071813" y="3338513"/>
          <p14:tracePt t="15027" x="3071813" y="3335338"/>
          <p14:tracePt t="15028" x="3067050" y="3335338"/>
          <p14:tracePt t="15030" x="3062288" y="3335338"/>
          <p14:tracePt t="15032" x="3062288" y="3330575"/>
          <p14:tracePt t="15033" x="3059113" y="3330575"/>
          <p14:tracePt t="15034" x="3059113" y="3327400"/>
          <p14:tracePt t="15035" x="3054350" y="3322638"/>
          <p14:tracePt t="15036" x="3051175" y="3322638"/>
          <p14:tracePt t="15037" x="3051175" y="3319463"/>
          <p14:tracePt t="15038" x="3046413" y="3314700"/>
          <p14:tracePt t="15039" x="3043238" y="3314700"/>
          <p14:tracePt t="15040" x="3043238" y="3311525"/>
          <p14:tracePt t="15041" x="3038475" y="3306763"/>
          <p14:tracePt t="15042" x="3035300" y="3303588"/>
          <p14:tracePt t="15043" x="3035300" y="3298825"/>
          <p14:tracePt t="15044" x="3030538" y="3295650"/>
          <p14:tracePt t="15046" x="3030538" y="3290888"/>
          <p14:tracePt t="15047" x="3027363" y="3290888"/>
          <p14:tracePt t="15048" x="3022600" y="3282950"/>
          <p14:tracePt t="15050" x="3019425" y="3278188"/>
          <p14:tracePt t="15051" x="3019425" y="3275013"/>
          <p14:tracePt t="15052" x="3019425" y="3270250"/>
          <p14:tracePt t="15053" x="3019425" y="3267075"/>
          <p14:tracePt t="15054" x="3014663" y="3262313"/>
          <p14:tracePt t="15055" x="3014663" y="3259138"/>
          <p14:tracePt t="15056" x="3014663" y="3254375"/>
          <p14:tracePt t="15058" x="3011488" y="3243263"/>
          <p14:tracePt t="15059" x="3006725" y="3243263"/>
          <p14:tracePt t="15060" x="3006725" y="3238500"/>
          <p14:tracePt t="15062" x="3003550" y="3235325"/>
          <p14:tracePt t="15063" x="3003550" y="3230563"/>
          <p14:tracePt t="15064" x="3003550" y="3227388"/>
          <p14:tracePt t="15065" x="3003550" y="3222625"/>
          <p14:tracePt t="15066" x="3003550" y="3219450"/>
          <p14:tracePt t="15067" x="3003550" y="3214688"/>
          <p14:tracePt t="15068" x="2998788" y="3211513"/>
          <p14:tracePt t="15069" x="2998788" y="3206750"/>
          <p14:tracePt t="15070" x="2995613" y="3203575"/>
          <p14:tracePt t="15071" x="2995613" y="3198813"/>
          <p14:tracePt t="15073" x="2995613" y="3194050"/>
          <p14:tracePt t="15074" x="2990850" y="3190875"/>
          <p14:tracePt t="15075" x="2990850" y="3186113"/>
          <p14:tracePt t="15076" x="2990850" y="3182938"/>
          <p14:tracePt t="15077" x="2987675" y="3178175"/>
          <p14:tracePt t="15078" x="2987675" y="3175000"/>
          <p14:tracePt t="15079" x="2987675" y="3170238"/>
          <p14:tracePt t="15080" x="2987675" y="3167063"/>
          <p14:tracePt t="15081" x="2987675" y="3162300"/>
          <p14:tracePt t="15082" x="2987675" y="3159125"/>
          <p14:tracePt t="15084" x="2987675" y="3154363"/>
          <p14:tracePt t="15085" x="2982913" y="3151188"/>
          <p14:tracePt t="15086" x="2982913" y="3146425"/>
          <p14:tracePt t="15087" x="2982913" y="3143250"/>
          <p14:tracePt t="15088" x="2982913" y="3138488"/>
          <p14:tracePt t="15089" x="2982913" y="3135313"/>
          <p14:tracePt t="15091" x="2982913" y="3130550"/>
          <p14:tracePt t="15092" x="2978150" y="3127375"/>
          <p14:tracePt t="15094" x="2974975" y="3122613"/>
          <p14:tracePt t="15095" x="2974975" y="3119438"/>
          <p14:tracePt t="15097" x="2970213" y="3114675"/>
          <p14:tracePt t="15098" x="2970213" y="3111500"/>
          <p14:tracePt t="15101" x="2970213" y="3106738"/>
          <p14:tracePt t="15102" x="2967038" y="3098800"/>
          <p14:tracePt t="15103" x="2967038" y="3094038"/>
          <p14:tracePt t="15104" x="2967038" y="3090863"/>
          <p14:tracePt t="15106" x="2967038" y="3086100"/>
          <p14:tracePt t="15107" x="2967038" y="3082925"/>
          <p14:tracePt t="15109" x="2962275" y="3078163"/>
          <p14:tracePt t="15112" x="2959100" y="3074988"/>
          <p14:tracePt t="15114" x="2959100" y="3070225"/>
          <p14:tracePt t="15116" x="2954338" y="3067050"/>
          <p14:tracePt t="15119" x="2954338" y="3062288"/>
          <p14:tracePt t="15121" x="2951163" y="3062288"/>
          <p14:tracePt t="15122" x="2951163" y="3059113"/>
          <p14:tracePt t="15125" x="2951163" y="3054350"/>
          <p14:tracePt t="15126" x="2946400" y="3054350"/>
          <p14:tracePt t="15130" x="2946400" y="3051175"/>
          <p14:tracePt t="15133" x="2946400" y="3046413"/>
          <p14:tracePt t="15143" x="2943225" y="3046413"/>
          <p14:tracePt t="15148" x="2938463" y="3043238"/>
          <p14:tracePt t="15243" x="2943225" y="3043238"/>
          <p14:tracePt t="15261" x="2946400" y="3043238"/>
          <p14:tracePt t="15263" x="2951163" y="3043238"/>
          <p14:tracePt t="15266" x="2954338" y="3038475"/>
          <p14:tracePt t="15268" x="2959100" y="3038475"/>
          <p14:tracePt t="15271" x="2962275" y="3038475"/>
          <p14:tracePt t="15273" x="2967038" y="3038475"/>
          <p14:tracePt t="15274" x="2970213" y="3038475"/>
          <p14:tracePt t="15276" x="2978150" y="3038475"/>
          <p14:tracePt t="15279" x="2982913" y="3038475"/>
          <p14:tracePt t="15283" x="2987675" y="3038475"/>
          <p14:tracePt t="15285" x="2990850" y="3035300"/>
          <p14:tracePt t="15286" x="2995613" y="3035300"/>
          <p14:tracePt t="15288" x="2998788" y="3035300"/>
          <p14:tracePt t="15289" x="3006725" y="3035300"/>
          <p14:tracePt t="15290" x="3011488" y="3035300"/>
          <p14:tracePt t="15292" x="3014663" y="3030538"/>
          <p14:tracePt t="15293" x="3019425" y="3030538"/>
          <p14:tracePt t="15294" x="3022600" y="3030538"/>
          <p14:tracePt t="15296" x="3027363" y="3030538"/>
          <p14:tracePt t="15297" x="3030538" y="3030538"/>
          <p14:tracePt t="15298" x="3035300" y="3030538"/>
          <p14:tracePt t="15299" x="3038475" y="3030538"/>
          <p14:tracePt t="15300" x="3043238" y="3030538"/>
          <p14:tracePt t="15301" x="3046413" y="3030538"/>
          <p14:tracePt t="15302" x="3054350" y="3030538"/>
          <p14:tracePt t="15303" x="3059113" y="3030538"/>
          <p14:tracePt t="15304" x="3059113" y="3027363"/>
          <p14:tracePt t="15305" x="3067050" y="3027363"/>
          <p14:tracePt t="15306" x="3071813" y="3027363"/>
          <p14:tracePt t="15307" x="3071813" y="3022600"/>
          <p14:tracePt t="15309" x="3079750" y="3022600"/>
          <p14:tracePt t="15310" x="3082925" y="3022600"/>
          <p14:tracePt t="15311" x="3090863" y="3022600"/>
          <p14:tracePt t="15312" x="3095625" y="3019425"/>
          <p14:tracePt t="15313" x="3103563" y="3019425"/>
          <p14:tracePt t="15314" x="3106738" y="3019425"/>
          <p14:tracePt t="15315" x="3111500" y="3019425"/>
          <p14:tracePt t="15316" x="3119438" y="3014663"/>
          <p14:tracePt t="15317" x="3122613" y="3014663"/>
          <p14:tracePt t="15318" x="3130550" y="3014663"/>
          <p14:tracePt t="15319" x="3135313" y="3014663"/>
          <p14:tracePt t="15320" x="3138488" y="3009900"/>
          <p14:tracePt t="15321" x="3146425" y="3009900"/>
          <p14:tracePt t="15323" x="3154363" y="3009900"/>
          <p14:tracePt t="15324" x="3159125" y="3006725"/>
          <p14:tracePt t="15325" x="3167063" y="3006725"/>
          <p14:tracePt t="15328" x="3179763" y="3001963"/>
          <p14:tracePt t="15329" x="3187700" y="2998788"/>
          <p14:tracePt t="15329" x="3190875" y="2998788"/>
          <p14:tracePt t="15330" x="3198813" y="2998788"/>
          <p14:tracePt t="15331" x="3203575" y="2994025"/>
          <p14:tracePt t="15332" x="3211513" y="2994025"/>
          <p14:tracePt t="15333" x="3214688" y="2994025"/>
          <p14:tracePt t="15334" x="3222625" y="2990850"/>
          <p14:tracePt t="15335" x="3230563" y="2990850"/>
          <p14:tracePt t="15336" x="3235325" y="2990850"/>
          <p14:tracePt t="15337" x="3243263" y="2986088"/>
          <p14:tracePt t="15338" x="3251200" y="2982913"/>
          <p14:tracePt t="15339" x="3255963" y="2982913"/>
          <p14:tracePt t="15340" x="3263900" y="2978150"/>
          <p14:tracePt t="15342" x="3275013" y="2974975"/>
          <p14:tracePt t="15344" x="3290888" y="2970213"/>
          <p14:tracePt t="15345" x="3295650" y="2970213"/>
          <p14:tracePt t="15346" x="3298825" y="2970213"/>
          <p14:tracePt t="15347" x="3306763" y="2967038"/>
          <p14:tracePt t="15348" x="3314700" y="2962275"/>
          <p14:tracePt t="15349" x="3319463" y="2959100"/>
          <p14:tracePt t="15350" x="3327400" y="2959100"/>
          <p14:tracePt t="15351" x="3330575" y="2954338"/>
          <p14:tracePt t="15352" x="3338513" y="2954338"/>
          <p14:tracePt t="15354" x="3343275" y="2951163"/>
          <p14:tracePt t="15354" x="3348038" y="2951163"/>
          <p14:tracePt t="15355" x="3355975" y="2946400"/>
          <p14:tracePt t="15356" x="3359150" y="2943225"/>
          <p14:tracePt t="15357" x="3363913" y="2938463"/>
          <p14:tracePt t="15359" x="3371850" y="2935288"/>
          <p14:tracePt t="15362" x="3379788" y="2927350"/>
          <p14:tracePt t="15363" x="3387725" y="2927350"/>
          <p14:tracePt t="15364" x="3395663" y="2922588"/>
          <p14:tracePt t="15365" x="3398838" y="2917825"/>
          <p14:tracePt t="15366" x="3403600" y="2917825"/>
          <p14:tracePt t="15367" x="3406775" y="2914650"/>
          <p14:tracePt t="15368" x="3411538" y="2909888"/>
          <p14:tracePt t="15369" x="3414713" y="2909888"/>
          <p14:tracePt t="15370" x="3422650" y="2906713"/>
          <p14:tracePt t="15371" x="3427413" y="2901950"/>
          <p14:tracePt t="15372" x="3435350" y="2898775"/>
          <p14:tracePt t="15373" x="3435350" y="2894013"/>
          <p14:tracePt t="15374" x="3440113" y="2890838"/>
          <p14:tracePt t="15376" x="3448050" y="2886075"/>
          <p14:tracePt t="15376" x="3451225" y="2886075"/>
          <p14:tracePt t="15378" x="3459163" y="2878138"/>
          <p14:tracePt t="15380" x="3471863" y="2870200"/>
          <p14:tracePt t="15381" x="3479800" y="2867025"/>
          <p14:tracePt t="15382" x="3482975" y="2867025"/>
          <p14:tracePt t="15383" x="3487738" y="2862263"/>
          <p14:tracePt t="15384" x="3495675" y="2859088"/>
          <p14:tracePt t="15385" x="3498850" y="2859088"/>
          <p14:tracePt t="15386" x="3503613" y="2854325"/>
          <p14:tracePt t="15387" x="3506788" y="2851150"/>
          <p14:tracePt t="15389" x="3514725" y="2846388"/>
          <p14:tracePt t="15390" x="3519488" y="2843213"/>
          <p14:tracePt t="15391" x="3524250" y="2843213"/>
          <p14:tracePt t="15392" x="3527425" y="2838450"/>
          <p14:tracePt t="15393" x="3532188" y="2833688"/>
          <p14:tracePt t="15395" x="3540125" y="2833688"/>
          <p14:tracePt t="15395" x="3543300" y="2830513"/>
          <p14:tracePt t="15396" x="3548063" y="2825750"/>
          <p14:tracePt t="15397" x="3556000" y="2822575"/>
          <p14:tracePt t="15398" x="3559175" y="2822575"/>
          <p14:tracePt t="15399" x="3559175" y="2817813"/>
          <p14:tracePt t="15401" x="3567113" y="2817813"/>
          <p14:tracePt t="15401" x="3571875" y="2814638"/>
          <p14:tracePt t="15402" x="3575050" y="2809875"/>
          <p14:tracePt t="15404" x="3579813" y="2809875"/>
          <p14:tracePt t="15405" x="3582988" y="2806700"/>
          <p14:tracePt t="15406" x="3587750" y="2801938"/>
          <p14:tracePt t="15407" x="3595688" y="2801938"/>
          <p14:tracePt t="15409" x="3598863" y="2798763"/>
          <p14:tracePt t="15409" x="3603625" y="2794000"/>
          <p14:tracePt t="15411" x="3611563" y="2786063"/>
          <p14:tracePt t="15412" x="3616325" y="2786063"/>
          <p14:tracePt t="15413" x="3624263" y="2782888"/>
          <p14:tracePt t="15414" x="3627438" y="2778125"/>
          <p14:tracePt t="15415" x="3632200" y="2778125"/>
          <p14:tracePt t="15416" x="3632200" y="2774950"/>
          <p14:tracePt t="15417" x="3635375" y="2770188"/>
          <p14:tracePt t="15418" x="3640138" y="2770188"/>
          <p14:tracePt t="15419" x="3643313" y="2767013"/>
          <p14:tracePt t="15420" x="3648075" y="2767013"/>
          <p14:tracePt t="15421" x="3651250" y="2767013"/>
          <p14:tracePt t="15422" x="3656013" y="2767013"/>
          <p14:tracePt t="15423" x="3656013" y="2762250"/>
          <p14:tracePt t="15424" x="3659188" y="2762250"/>
          <p14:tracePt t="15427" x="3663950" y="2759075"/>
          <p14:tracePt t="15432" x="3667125" y="2759075"/>
          <p14:tracePt t="15435" x="3667125" y="2754313"/>
          <p14:tracePt t="15442" x="3667125" y="2751138"/>
          <p14:tracePt t="15444" x="3671888" y="2751138"/>
          <p14:tracePt t="15449" x="3671888" y="2746375"/>
          <p14:tracePt t="15452" x="3675063" y="2741613"/>
          <p14:tracePt t="15455" x="3679825" y="2738438"/>
          <p14:tracePt t="15459" x="3683000" y="2733675"/>
          <p14:tracePt t="15461" x="3683000" y="2730500"/>
          <p14:tracePt t="15464" x="3687763" y="2725738"/>
          <p14:tracePt t="15466" x="3687763" y="2722563"/>
          <p14:tracePt t="15468" x="3690938" y="2722563"/>
          <p14:tracePt t="15470" x="3690938" y="2717800"/>
          <p14:tracePt t="15472" x="3690938" y="2714625"/>
          <p14:tracePt t="15474" x="3690938" y="2709863"/>
          <p14:tracePt t="15476" x="3695700" y="2706688"/>
          <p14:tracePt t="15478" x="3695700" y="2701925"/>
          <p14:tracePt t="15479" x="3695700" y="2698750"/>
          <p14:tracePt t="15480" x="3698875" y="2698750"/>
          <p14:tracePt t="15481" x="3698875" y="2693988"/>
          <p14:tracePt t="15482" x="3698875" y="2690813"/>
          <p14:tracePt t="15484" x="3698875" y="2686050"/>
          <p14:tracePt t="15485" x="3698875" y="2682875"/>
          <p14:tracePt t="15488" x="3698875" y="2678113"/>
          <p14:tracePt t="15489" x="3698875" y="2674938"/>
          <p14:tracePt t="15490" x="3698875" y="2670175"/>
          <p14:tracePt t="15491" x="3698875" y="2667000"/>
          <p14:tracePt t="15492" x="3698875" y="2662238"/>
          <p14:tracePt t="15494" x="3698875" y="2654300"/>
          <p14:tracePt t="15496" x="3698875" y="2646363"/>
          <p14:tracePt t="15497" x="3698875" y="2641600"/>
          <p14:tracePt t="15498" x="3698875" y="2638425"/>
          <p14:tracePt t="15501" x="3698875" y="2633663"/>
          <p14:tracePt t="15502" x="3698875" y="2625725"/>
          <p14:tracePt t="15503" x="3698875" y="2622550"/>
          <p14:tracePt t="15504" x="3698875" y="2617788"/>
          <p14:tracePt t="15505" x="3698875" y="2614613"/>
          <p14:tracePt t="15506" x="3698875" y="2606675"/>
          <p14:tracePt t="15507" x="3698875" y="2601913"/>
          <p14:tracePt t="15509" x="3695700" y="2598738"/>
          <p14:tracePt t="15509" x="3695700" y="2593975"/>
          <p14:tracePt t="15510" x="3695700" y="2590800"/>
          <p14:tracePt t="15511" x="3690938" y="2582863"/>
          <p14:tracePt t="15512" x="3690938" y="2578100"/>
          <p14:tracePt t="15513" x="3687763" y="2570163"/>
          <p14:tracePt t="15515" x="3683000" y="2566988"/>
          <p14:tracePt t="15516" x="3683000" y="2557463"/>
          <p14:tracePt t="15517" x="3679825" y="2554288"/>
          <p14:tracePt t="15518" x="3679825" y="2549525"/>
          <p14:tracePt t="15519" x="3675063" y="2546350"/>
          <p14:tracePt t="15520" x="3671888" y="2541588"/>
          <p14:tracePt t="15521" x="3671888" y="2538413"/>
          <p14:tracePt t="15522" x="3667125" y="2530475"/>
          <p14:tracePt t="15523" x="3667125" y="2525713"/>
          <p14:tracePt t="15524" x="3663950" y="2522538"/>
          <p14:tracePt t="15525" x="3663950" y="2517775"/>
          <p14:tracePt t="15527" x="3659188" y="2509838"/>
          <p14:tracePt t="15528" x="3656013" y="2506663"/>
          <p14:tracePt t="15529" x="3656013" y="2501900"/>
          <p14:tracePt t="15530" x="3651250" y="2498725"/>
          <p14:tracePt t="15531" x="3651250" y="2493963"/>
          <p14:tracePt t="15532" x="3648075" y="2490788"/>
          <p14:tracePt t="15533" x="3643313" y="2486025"/>
          <p14:tracePt t="15534" x="3643313" y="2482850"/>
          <p14:tracePt t="15535" x="3640138" y="2482850"/>
          <p14:tracePt t="15536" x="3635375" y="2478088"/>
          <p14:tracePt t="15537" x="3632200" y="2474913"/>
          <p14:tracePt t="15538" x="3632200" y="2470150"/>
          <p14:tracePt t="15539" x="3627438" y="2465388"/>
          <p14:tracePt t="15540" x="3624263" y="2465388"/>
          <p14:tracePt t="15541" x="3619500" y="2465388"/>
          <p14:tracePt t="15543" x="3616325" y="2462213"/>
          <p14:tracePt t="15544" x="3616325" y="2457450"/>
          <p14:tracePt t="15546" x="3611563" y="2454275"/>
          <p14:tracePt t="15547" x="3606800" y="2449513"/>
          <p14:tracePt t="15548" x="3603625" y="2446338"/>
          <p14:tracePt t="15549" x="3598863" y="2446338"/>
          <p14:tracePt t="15550" x="3598863" y="2441575"/>
          <p14:tracePt t="15551" x="3595688" y="2441575"/>
          <p14:tracePt t="15552" x="3590925" y="2438400"/>
          <p14:tracePt t="15553" x="3587750" y="2438400"/>
          <p14:tracePt t="15555" x="3582988" y="2438400"/>
          <p14:tracePt t="15557" x="3579813" y="2433638"/>
          <p14:tracePt t="15559" x="3575050" y="2433638"/>
          <p14:tracePt t="15561" x="3575050" y="2430463"/>
          <p14:tracePt t="15563" x="3571875" y="2430463"/>
          <p14:tracePt t="15566" x="3567113" y="2430463"/>
          <p14:tracePt t="15568" x="3563938" y="2430463"/>
          <p14:tracePt t="15570" x="3559175" y="2430463"/>
          <p14:tracePt t="15571" x="3559175" y="2425700"/>
          <p14:tracePt t="15572" x="3556000" y="2425700"/>
          <p14:tracePt t="15574" x="3551238" y="2425700"/>
          <p14:tracePt t="15577" x="3548063" y="2425700"/>
          <p14:tracePt t="15580" x="3543300" y="2425700"/>
          <p14:tracePt t="15583" x="3540125" y="2425700"/>
          <p14:tracePt t="15585" x="3535363" y="2425700"/>
          <p14:tracePt t="15589" x="3532188" y="2425700"/>
          <p14:tracePt t="15591" x="3527425" y="2430463"/>
          <p14:tracePt t="15594" x="3524250" y="2430463"/>
          <p14:tracePt t="15594" x="3519488" y="2433638"/>
          <p14:tracePt t="15596" x="3514725" y="2433638"/>
          <p14:tracePt t="15597" x="3511550" y="2433638"/>
          <p14:tracePt t="15598" x="3506788" y="2438400"/>
          <p14:tracePt t="15599" x="3503613" y="2441575"/>
          <p14:tracePt t="15601" x="3498850" y="2446338"/>
          <p14:tracePt t="15602" x="3495675" y="2446338"/>
          <p14:tracePt t="15603" x="3495675" y="2449513"/>
          <p14:tracePt t="15604" x="3490913" y="2454275"/>
          <p14:tracePt t="15605" x="3487738" y="2457450"/>
          <p14:tracePt t="15606" x="3482975" y="2457450"/>
          <p14:tracePt t="15607" x="3479800" y="2462213"/>
          <p14:tracePt t="15609" x="3471863" y="2465388"/>
          <p14:tracePt t="15610" x="3463925" y="2470150"/>
          <p14:tracePt t="15611" x="3459163" y="2474913"/>
          <p14:tracePt t="15612" x="3451225" y="2478088"/>
          <p14:tracePt t="15613" x="3448050" y="2482850"/>
          <p14:tracePt t="15614" x="3443288" y="2490788"/>
          <p14:tracePt t="15615" x="3440113" y="2493963"/>
          <p14:tracePt t="15616" x="3430588" y="2498725"/>
          <p14:tracePt t="15617" x="3427413" y="2501900"/>
          <p14:tracePt t="15618" x="3427413" y="2506663"/>
          <p14:tracePt t="15619" x="3414713" y="2514600"/>
          <p14:tracePt t="15620" x="3406775" y="2517775"/>
          <p14:tracePt t="15621" x="3403600" y="2522538"/>
          <p14:tracePt t="15622" x="3398838" y="2530475"/>
          <p14:tracePt t="15623" x="3390900" y="2533650"/>
          <p14:tracePt t="15624" x="3387725" y="2541588"/>
          <p14:tracePt t="15625" x="3382963" y="2546350"/>
          <p14:tracePt t="15626" x="3375025" y="2549525"/>
          <p14:tracePt t="15627" x="3371850" y="2554288"/>
          <p14:tracePt t="15629" x="3367088" y="2562225"/>
          <p14:tracePt t="15629" x="3359150" y="2570163"/>
          <p14:tracePt t="15630" x="3355975" y="2574925"/>
          <p14:tracePt t="15631" x="3351213" y="2578100"/>
          <p14:tracePt t="15632" x="3348038" y="2582863"/>
          <p14:tracePt t="15633" x="3338513" y="2586038"/>
          <p14:tracePt t="15634" x="3335338" y="2593975"/>
          <p14:tracePt t="15635" x="3330575" y="2598738"/>
          <p14:tracePt t="15636" x="3327400" y="2601913"/>
          <p14:tracePt t="15637" x="3322638" y="2606675"/>
          <p14:tracePt t="15638" x="3322638" y="2609850"/>
          <p14:tracePt t="15639" x="3311525" y="2617788"/>
          <p14:tracePt t="15640" x="3311525" y="2622550"/>
          <p14:tracePt t="15641" x="3311525" y="2625725"/>
          <p14:tracePt t="15642" x="3306763" y="2630488"/>
          <p14:tracePt t="15643" x="3303588" y="2633663"/>
          <p14:tracePt t="15644" x="3298825" y="2638425"/>
          <p14:tracePt t="15645" x="3295650" y="2638425"/>
          <p14:tracePt t="15647" x="3290888" y="2641600"/>
          <p14:tracePt t="15648" x="3287713" y="2646363"/>
          <p14:tracePt t="15649" x="3282950" y="2649538"/>
          <p14:tracePt t="15650" x="3279775" y="2654300"/>
          <p14:tracePt t="15652" x="3275013" y="2659063"/>
          <p14:tracePt t="15653" x="3275013" y="2662238"/>
          <p14:tracePt t="15654" x="3271838" y="2667000"/>
          <p14:tracePt t="15656" x="3271838" y="2670175"/>
          <p14:tracePt t="15659" x="3267075" y="2674938"/>
          <p14:tracePt t="15661" x="3263900" y="2678113"/>
          <p14:tracePt t="15663" x="3259138" y="2682875"/>
          <p14:tracePt t="15665" x="3255963" y="2682875"/>
          <p14:tracePt t="15666" x="3255963" y="2686050"/>
          <p14:tracePt t="15669" x="3255963" y="2690813"/>
          <p14:tracePt t="15670" x="3255963" y="2693988"/>
          <p14:tracePt t="15671" x="3251200" y="2693988"/>
          <p14:tracePt t="15673" x="3251200" y="2698750"/>
          <p14:tracePt t="15677" x="3246438" y="2701925"/>
          <p14:tracePt t="15682" x="3246438" y="2706688"/>
          <p14:tracePt t="15722" x="3246438" y="2709863"/>
          <p14:tracePt t="15724" x="3243263" y="2709863"/>
          <p14:tracePt t="15731" x="3243263" y="2714625"/>
          <p14:tracePt t="15736" x="3243263" y="2717800"/>
          <p14:tracePt t="15741" x="3238500" y="2717800"/>
          <p14:tracePt t="15749" x="3235325" y="2717800"/>
          <p14:tracePt t="15757" x="3235325" y="2722563"/>
          <p14:tracePt t="15760" x="3230563" y="2722563"/>
          <p14:tracePt t="15767" x="3230563" y="2725738"/>
          <p14:tracePt t="15770" x="3230563" y="2730500"/>
          <p14:tracePt t="15772" x="3230563" y="2733675"/>
          <p14:tracePt t="15774" x="3227388" y="2733675"/>
          <p14:tracePt t="15776" x="3227388" y="2738438"/>
          <p14:tracePt t="15777" x="3222625" y="2738438"/>
          <p14:tracePt t="15780" x="3219450" y="2741613"/>
          <p14:tracePt t="15784" x="3214688" y="2741613"/>
          <p14:tracePt t="15785" x="3214688" y="2746375"/>
          <p14:tracePt t="15787" x="3211513" y="2746375"/>
          <p14:tracePt t="15788" x="3211513" y="2751138"/>
          <p14:tracePt t="15791" x="3206750" y="2751138"/>
          <p14:tracePt t="15792" x="3203575" y="2754313"/>
          <p14:tracePt t="15794" x="3203575" y="2759075"/>
          <p14:tracePt t="15795" x="3198813" y="2759075"/>
          <p14:tracePt t="15797" x="3195638" y="2759075"/>
          <p14:tracePt t="15798" x="3195638" y="2762250"/>
          <p14:tracePt t="15799" x="3190875" y="2762250"/>
          <p14:tracePt t="15802" x="3187700" y="2762250"/>
          <p14:tracePt t="15803" x="3182938" y="2762250"/>
          <p14:tracePt t="15805" x="3179763" y="2767013"/>
          <p14:tracePt t="15807" x="3175000" y="2770188"/>
          <p14:tracePt t="15809" x="3171825" y="2774950"/>
          <p14:tracePt t="15811" x="3167063" y="2774950"/>
          <p14:tracePt t="15812" x="3163888" y="2778125"/>
          <p14:tracePt t="15814" x="3159125" y="2778125"/>
          <p14:tracePt t="15815" x="3154363" y="2778125"/>
          <p14:tracePt t="15816" x="3154363" y="2782888"/>
          <p14:tracePt t="15818" x="3151188" y="2786063"/>
          <p14:tracePt t="15822" x="3146425" y="2790825"/>
          <p14:tracePt t="15822" x="3143250" y="2790825"/>
          <p14:tracePt t="15823" x="3143250" y="2794000"/>
          <p14:tracePt t="15824" x="3138488" y="2794000"/>
          <p14:tracePt t="15828" x="3130550" y="2798763"/>
          <p14:tracePt t="15828" x="3127375" y="2801938"/>
          <p14:tracePt t="15830" x="3122613" y="2801938"/>
          <p14:tracePt t="15831" x="3119438" y="2801938"/>
          <p14:tracePt t="15833" x="3114675" y="2806700"/>
          <p14:tracePt t="15834" x="3111500" y="2806700"/>
          <p14:tracePt t="15835" x="3111500" y="2809875"/>
          <p14:tracePt t="15836" x="3106738" y="2809875"/>
          <p14:tracePt t="15838" x="3103563" y="2814638"/>
          <p14:tracePt t="15840" x="3095625" y="2817813"/>
          <p14:tracePt t="15841" x="3090863" y="2817813"/>
          <p14:tracePt t="15842" x="3090863" y="2822575"/>
          <p14:tracePt t="15843" x="3087688" y="2825750"/>
          <p14:tracePt t="15844" x="3082925" y="2825750"/>
          <p14:tracePt t="15845" x="3079750" y="2830513"/>
          <p14:tracePt t="15846" x="3074988" y="2830513"/>
          <p14:tracePt t="15847" x="3074988" y="2833688"/>
          <p14:tracePt t="15848" x="3071813" y="2833688"/>
          <p14:tracePt t="15849" x="3067050" y="2833688"/>
          <p14:tracePt t="15851" x="3059113" y="2838450"/>
          <p14:tracePt t="15852" x="3054350" y="2838450"/>
          <p14:tracePt t="15853" x="3051175" y="2843213"/>
          <p14:tracePt t="15854" x="3046413" y="2846388"/>
          <p14:tracePt t="15855" x="3043238" y="2846388"/>
          <p14:tracePt t="15856" x="3038475" y="2846388"/>
          <p14:tracePt t="15857" x="3038475" y="2851150"/>
          <p14:tracePt t="15859" x="3030538" y="2851150"/>
          <p14:tracePt t="15859" x="3030538" y="2854325"/>
          <p14:tracePt t="15861" x="3027363" y="2854325"/>
          <p14:tracePt t="15861" x="3022600" y="2859088"/>
          <p14:tracePt t="15862" x="3019425" y="2862263"/>
          <p14:tracePt t="15863" x="3014663" y="2862263"/>
          <p14:tracePt t="15864" x="3006725" y="2867025"/>
          <p14:tracePt t="15865" x="3006725" y="2870200"/>
          <p14:tracePt t="15867" x="3003550" y="2874963"/>
          <p14:tracePt t="15868" x="2995613" y="2874963"/>
          <p14:tracePt t="15869" x="2990850" y="2878138"/>
          <p14:tracePt t="15870" x="2987675" y="2878138"/>
          <p14:tracePt t="15871" x="2982913" y="2882900"/>
          <p14:tracePt t="15872" x="2978150" y="2886075"/>
          <p14:tracePt t="15873" x="2974975" y="2886075"/>
          <p14:tracePt t="15874" x="2967038" y="2890838"/>
          <p14:tracePt t="15875" x="2962275" y="2890838"/>
          <p14:tracePt t="15876" x="2959100" y="2894013"/>
          <p14:tracePt t="15878" x="2954338" y="2894013"/>
          <p14:tracePt t="15879" x="2951163" y="2898775"/>
          <p14:tracePt t="15880" x="2946400" y="2898775"/>
          <p14:tracePt t="15881" x="2943225" y="2901950"/>
          <p14:tracePt t="15882" x="2938463" y="2901950"/>
          <p14:tracePt t="15883" x="2935288" y="2906713"/>
          <p14:tracePt t="15884" x="2930525" y="2906713"/>
          <p14:tracePt t="15892" x="2906713" y="2917825"/>
          <p14:tracePt t="15893" x="2903538" y="2917825"/>
          <p14:tracePt t="15895" x="2898775" y="2922588"/>
          <p14:tracePt t="15896" x="2895600" y="2922588"/>
          <p14:tracePt t="15898" x="2890838" y="2922588"/>
          <p14:tracePt t="15899" x="2886075" y="2922588"/>
          <p14:tracePt t="15901" x="2882900" y="2927350"/>
          <p14:tracePt t="15902" x="2878138" y="2927350"/>
          <p14:tracePt t="15904" x="2874963" y="2927350"/>
          <p14:tracePt t="15905" x="2870200" y="2927350"/>
          <p14:tracePt t="15907" x="2867025" y="2927350"/>
          <p14:tracePt t="15910" x="2862263" y="2927350"/>
          <p14:tracePt t="15912" x="2859088" y="2927350"/>
          <p14:tracePt t="15914" x="2854325" y="2927350"/>
          <p14:tracePt t="15916" x="2851150" y="2927350"/>
          <p14:tracePt t="15919" x="2846388" y="2927350"/>
          <p14:tracePt t="15922" x="2843213" y="2927350"/>
          <p14:tracePt t="15924" x="2838450" y="2922588"/>
          <p14:tracePt t="15926" x="2835275" y="2922588"/>
          <p14:tracePt t="15928" x="2830513" y="2917825"/>
          <p14:tracePt t="15930" x="2827338" y="2914650"/>
          <p14:tracePt t="15932" x="2822575" y="2909888"/>
          <p14:tracePt t="15934" x="2819400" y="2906713"/>
          <p14:tracePt t="15935" x="2811463" y="2901950"/>
          <p14:tracePt t="15937" x="2806700" y="2898775"/>
          <p14:tracePt t="15938" x="2803525" y="2894013"/>
          <p14:tracePt t="15939" x="2794000" y="2890838"/>
          <p14:tracePt t="15940" x="2790825" y="2890838"/>
          <p14:tracePt t="15941" x="2786063" y="2886075"/>
          <p14:tracePt t="15942" x="2778125" y="2886075"/>
          <p14:tracePt t="15943" x="2774950" y="2882900"/>
          <p14:tracePt t="15944" x="2770188" y="2878138"/>
          <p14:tracePt t="15945" x="2767013" y="2874963"/>
          <p14:tracePt t="15946" x="2759075" y="2870200"/>
          <p14:tracePt t="15947" x="2754313" y="2867025"/>
          <p14:tracePt t="15948" x="2754313" y="2862263"/>
          <p14:tracePt t="15949" x="2746375" y="2859088"/>
          <p14:tracePt t="15950" x="2735263" y="2854325"/>
          <p14:tracePt t="15951" x="2730500" y="2846388"/>
          <p14:tracePt t="15952" x="2722563" y="2843213"/>
          <p14:tracePt t="15953" x="2719388" y="2838450"/>
          <p14:tracePt t="15954" x="2711450" y="2833688"/>
          <p14:tracePt t="15955" x="2706688" y="2830513"/>
          <p14:tracePt t="15956" x="2698750" y="2825750"/>
          <p14:tracePt t="15957" x="2690813" y="2822575"/>
          <p14:tracePt t="15959" x="2682875" y="2814638"/>
          <p14:tracePt t="15959" x="2678113" y="2809875"/>
          <p14:tracePt t="15960" x="2670175" y="2806700"/>
          <p14:tracePt t="15961" x="2662238" y="2801938"/>
          <p14:tracePt t="15963" x="2659063" y="2798763"/>
          <p14:tracePt t="15963" x="2651125" y="2794000"/>
          <p14:tracePt t="15964" x="2646363" y="2790825"/>
          <p14:tracePt t="15965" x="2638425" y="2786063"/>
          <p14:tracePt t="15966" x="2630488" y="2774950"/>
          <p14:tracePt t="15967" x="2627313" y="2774950"/>
          <p14:tracePt t="15968" x="2617788" y="2770188"/>
          <p14:tracePt t="15969" x="2609850" y="2762250"/>
          <p14:tracePt t="15970" x="2606675" y="2759075"/>
          <p14:tracePt t="15971" x="2598738" y="2754313"/>
          <p14:tracePt t="15972" x="2593975" y="2754313"/>
          <p14:tracePt t="15973" x="2586038" y="2751138"/>
          <p14:tracePt t="15974" x="2582863" y="2746375"/>
          <p14:tracePt t="15975" x="2578100" y="2741613"/>
          <p14:tracePt t="15976" x="2570163" y="2733675"/>
          <p14:tracePt t="15977" x="2566988" y="2733675"/>
          <p14:tracePt t="15979" x="2559050" y="2730500"/>
          <p14:tracePt t="15981" x="2543175" y="2717800"/>
          <p14:tracePt t="15982" x="2538413" y="2714625"/>
          <p14:tracePt t="15983" x="2535238" y="2709863"/>
          <p14:tracePt t="15984" x="2530475" y="2706688"/>
          <p14:tracePt t="15985" x="2525713" y="2706688"/>
          <p14:tracePt t="15986" x="2525713" y="2701925"/>
          <p14:tracePt t="15987" x="2522538" y="2698750"/>
          <p14:tracePt t="15988" x="2517775" y="2698750"/>
          <p14:tracePt t="15989" x="2514600" y="2693988"/>
          <p14:tracePt t="15990" x="2509838" y="2693988"/>
          <p14:tracePt t="15991" x="2506663" y="2693988"/>
          <p14:tracePt t="15992" x="2501900" y="2693988"/>
          <p14:tracePt t="15993" x="2498725" y="2693988"/>
          <p14:tracePt t="15995" x="2493963" y="2690813"/>
          <p14:tracePt t="15997" x="2486025" y="2686050"/>
          <p14:tracePt t="15999" x="2486025" y="2682875"/>
          <p14:tracePt t="16002" x="2482850" y="2682875"/>
          <p14:tracePt t="16004" x="2478088" y="2682875"/>
          <p14:tracePt t="16006" x="2478088" y="2678113"/>
          <p14:tracePt t="16007" x="2474913" y="2678113"/>
          <p14:tracePt t="16051" x="2474913" y="2682875"/>
          <p14:tracePt t="16062" x="2474913" y="2686050"/>
          <p14:tracePt t="16068" x="2470150" y="2686050"/>
          <p14:tracePt t="16071" x="2470150" y="2690813"/>
          <p14:tracePt t="16078" x="2466975" y="2693988"/>
          <p14:tracePt t="16080" x="2466975" y="2698750"/>
          <p14:tracePt t="16083" x="2462213" y="2701925"/>
          <p14:tracePt t="16086" x="2462213" y="2706688"/>
          <p14:tracePt t="16089" x="2462213" y="2709863"/>
          <p14:tracePt t="16091" x="2459038" y="2709863"/>
          <p14:tracePt t="16097" x="2459038" y="2714625"/>
          <p14:tracePt t="16103" x="2459038" y="2717800"/>
          <p14:tracePt t="16124" x="2459038" y="2722563"/>
          <p14:tracePt t="16145" x="2462213" y="2722563"/>
          <p14:tracePt t="16146" x="2462213" y="2725738"/>
          <p14:tracePt t="16151" x="2466975" y="2725738"/>
          <p14:tracePt t="16152" x="2470150" y="2725738"/>
          <p14:tracePt t="16155" x="2474913" y="2730500"/>
          <p14:tracePt t="16157" x="2478088" y="2730500"/>
          <p14:tracePt t="16159" x="2482850" y="2730500"/>
          <p14:tracePt t="16162" x="2486025" y="2730500"/>
          <p14:tracePt t="16164" x="2490788" y="2730500"/>
          <p14:tracePt t="16166" x="2493963" y="2730500"/>
          <p14:tracePt t="16169" x="2498725" y="2730500"/>
          <p14:tracePt t="16170" x="2501900" y="2730500"/>
          <p14:tracePt t="16172" x="2506663" y="2730500"/>
          <p14:tracePt t="16173" x="2509838" y="2730500"/>
          <p14:tracePt t="16175" x="2514600" y="2730500"/>
          <p14:tracePt t="16176" x="2517775" y="2730500"/>
          <p14:tracePt t="16177" x="2522538" y="2730500"/>
          <p14:tracePt t="16180" x="2525713" y="2730500"/>
          <p14:tracePt t="16182" x="2535238" y="2730500"/>
          <p14:tracePt t="16183" x="2538413" y="2730500"/>
          <p14:tracePt t="16185" x="2546350" y="2730500"/>
          <p14:tracePt t="16187" x="2551113" y="2730500"/>
          <p14:tracePt t="16188" x="2554288" y="2730500"/>
          <p14:tracePt t="16189" x="2559050" y="2730500"/>
          <p14:tracePt t="16190" x="2566988" y="2730500"/>
          <p14:tracePt t="16191" x="2570163" y="2730500"/>
          <p14:tracePt t="16193" x="2574925" y="2730500"/>
          <p14:tracePt t="16195" x="2582863" y="2730500"/>
          <p14:tracePt t="16196" x="2586038" y="2730500"/>
          <p14:tracePt t="16197" x="2590800" y="2730500"/>
          <p14:tracePt t="16198" x="2593975" y="2730500"/>
          <p14:tracePt t="16199" x="2598738" y="2730500"/>
          <p14:tracePt t="16200" x="2606675" y="2730500"/>
          <p14:tracePt t="16201" x="2609850" y="2730500"/>
          <p14:tracePt t="16202" x="2614613" y="2730500"/>
          <p14:tracePt t="16203" x="2622550" y="2730500"/>
          <p14:tracePt t="16204" x="2627313" y="2730500"/>
          <p14:tracePt t="16206" x="2635250" y="2730500"/>
          <p14:tracePt t="16207" x="2638425" y="2730500"/>
          <p14:tracePt t="16209" x="2651125" y="2730500"/>
          <p14:tracePt t="16210" x="2659063" y="2725738"/>
          <p14:tracePt t="16211" x="2662238" y="2725738"/>
          <p14:tracePt t="16212" x="2667000" y="2725738"/>
          <p14:tracePt t="16214" x="2678113" y="2725738"/>
          <p14:tracePt t="16215" x="2686050" y="2725738"/>
          <p14:tracePt t="16216" x="2693988" y="2722563"/>
          <p14:tracePt t="16217" x="2701925" y="2722563"/>
          <p14:tracePt t="16218" x="2706688" y="2722563"/>
          <p14:tracePt t="16219" x="2714625" y="2722563"/>
          <p14:tracePt t="16220" x="2719388" y="2722563"/>
          <p14:tracePt t="16221" x="2730500" y="2722563"/>
          <p14:tracePt t="16222" x="2735263" y="2722563"/>
          <p14:tracePt t="16223" x="2743200" y="2722563"/>
          <p14:tracePt t="16224" x="2746375" y="2722563"/>
          <p14:tracePt t="16225" x="2754313" y="2722563"/>
          <p14:tracePt t="16226" x="2762250" y="2714625"/>
          <p14:tracePt t="16227" x="2770188" y="2714625"/>
          <p14:tracePt t="16228" x="2778125" y="2714625"/>
          <p14:tracePt t="16230" x="2794000" y="2709863"/>
          <p14:tracePt t="16231" x="2803525" y="2709863"/>
          <p14:tracePt t="16232" x="2811463" y="2709863"/>
          <p14:tracePt t="16233" x="2819400" y="2709863"/>
          <p14:tracePt t="16234" x="2827338" y="2709863"/>
          <p14:tracePt t="16235" x="2835275" y="2709863"/>
          <p14:tracePt t="16236" x="2843213" y="2706688"/>
          <p14:tracePt t="16237" x="2854325" y="2706688"/>
          <p14:tracePt t="16238" x="2862263" y="2706688"/>
          <p14:tracePt t="16240" x="2870200" y="2706688"/>
          <p14:tracePt t="16242" x="2890838" y="2701925"/>
          <p14:tracePt t="16243" x="2898775" y="2701925"/>
          <p14:tracePt t="16245" x="2914650" y="2701925"/>
          <p14:tracePt t="16246" x="2922588" y="2701925"/>
          <p14:tracePt t="16247" x="2930525" y="2701925"/>
          <p14:tracePt t="16248" x="2938463" y="2698750"/>
          <p14:tracePt t="16249" x="2946400" y="2698750"/>
          <p14:tracePt t="16250" x="2954338" y="2698750"/>
          <p14:tracePt t="16251" x="2962275" y="2698750"/>
          <p14:tracePt t="16252" x="2970213" y="2698750"/>
          <p14:tracePt t="16253" x="2978150" y="2698750"/>
          <p14:tracePt t="16254" x="2987675" y="2698750"/>
          <p14:tracePt t="16255" x="2995613" y="2698750"/>
          <p14:tracePt t="16256" x="3003550" y="2698750"/>
          <p14:tracePt t="16257" x="3014663" y="2698750"/>
          <p14:tracePt t="16259" x="3022600" y="2698750"/>
          <p14:tracePt t="16260" x="3035300" y="2698750"/>
          <p14:tracePt t="16261" x="3038475" y="2698750"/>
          <p14:tracePt t="16262" x="3046413" y="2698750"/>
          <p14:tracePt t="16263" x="3059113" y="2698750"/>
          <p14:tracePt t="16264" x="3067050" y="2693988"/>
          <p14:tracePt t="16265" x="3074988" y="2693988"/>
          <p14:tracePt t="16266" x="3079750" y="2693988"/>
          <p14:tracePt t="16267" x="3090863" y="2693988"/>
          <p14:tracePt t="16268" x="3095625" y="2693988"/>
          <p14:tracePt t="16269" x="3103563" y="2693988"/>
          <p14:tracePt t="16270" x="3106738" y="2693988"/>
          <p14:tracePt t="16271" x="3111500" y="2693988"/>
          <p14:tracePt t="16272" x="3119438" y="2693988"/>
          <p14:tracePt t="16273" x="3130550" y="2693988"/>
          <p14:tracePt t="16275" x="3138488" y="2693988"/>
          <p14:tracePt t="16277" x="3146425" y="2693988"/>
          <p14:tracePt t="16277" x="3154363" y="2693988"/>
          <p14:tracePt t="16278" x="3159125" y="2693988"/>
          <p14:tracePt t="16279" x="3167063" y="2693988"/>
          <p14:tracePt t="16280" x="3171825" y="2693988"/>
          <p14:tracePt t="16281" x="3179763" y="2693988"/>
          <p14:tracePt t="16282" x="3182938" y="2693988"/>
          <p14:tracePt t="16283" x="3190875" y="2693988"/>
          <p14:tracePt t="16284" x="3195638" y="2693988"/>
          <p14:tracePt t="16285" x="3203575" y="2693988"/>
          <p14:tracePt t="16286" x="3206750" y="2693988"/>
          <p14:tracePt t="16287" x="3214688" y="2693988"/>
          <p14:tracePt t="16288" x="3219450" y="2693988"/>
          <p14:tracePt t="16289" x="3227388" y="2693988"/>
          <p14:tracePt t="16291" x="3230563" y="2693988"/>
          <p14:tracePt t="16292" x="3238500" y="2693988"/>
          <p14:tracePt t="16293" x="3243263" y="2693988"/>
          <p14:tracePt t="16294" x="3246438" y="2693988"/>
          <p14:tracePt t="16295" x="3255963" y="2693988"/>
          <p14:tracePt t="16296" x="3259138" y="2693988"/>
          <p14:tracePt t="16297" x="3263900" y="2693988"/>
          <p14:tracePt t="16298" x="3271838" y="2693988"/>
          <p14:tracePt t="16299" x="3279775" y="2693988"/>
          <p14:tracePt t="16300" x="3282950" y="2693988"/>
          <p14:tracePt t="16301" x="3287713" y="2693988"/>
          <p14:tracePt t="16302" x="3295650" y="2693988"/>
          <p14:tracePt t="16303" x="3303588" y="2693988"/>
          <p14:tracePt t="16304" x="3306763" y="2693988"/>
          <p14:tracePt t="16305" x="3314700" y="2693988"/>
          <p14:tracePt t="16306" x="3322638" y="2698750"/>
          <p14:tracePt t="16308" x="3327400" y="2698750"/>
          <p14:tracePt t="16309" x="3343275" y="2698750"/>
          <p14:tracePt t="16310" x="3348038" y="2701925"/>
          <p14:tracePt t="16311" x="3351213" y="2701925"/>
          <p14:tracePt t="16312" x="3363913" y="2701925"/>
          <p14:tracePt t="16313" x="3371850" y="2701925"/>
          <p14:tracePt t="16314" x="3379788" y="2701925"/>
          <p14:tracePt t="16315" x="3382963" y="2701925"/>
          <p14:tracePt t="16316" x="3387725" y="2701925"/>
          <p14:tracePt t="16317" x="3398838" y="2701925"/>
          <p14:tracePt t="16318" x="3406775" y="2706688"/>
          <p14:tracePt t="16319" x="3414713" y="2706688"/>
          <p14:tracePt t="16320" x="3422650" y="2706688"/>
          <p14:tracePt t="16321" x="3427413" y="2706688"/>
          <p14:tracePt t="16322" x="3435350" y="2706688"/>
          <p14:tracePt t="16323" x="3443288" y="2706688"/>
          <p14:tracePt t="16324" x="3451225" y="2706688"/>
          <p14:tracePt t="16325" x="3455988" y="2706688"/>
          <p14:tracePt t="16327" x="3471863" y="2709863"/>
          <p14:tracePt t="16328" x="3479800" y="2709863"/>
          <p14:tracePt t="16329" x="3482975" y="2709863"/>
          <p14:tracePt t="16330" x="3490913" y="2709863"/>
          <p14:tracePt t="16331" x="3495675" y="2709863"/>
          <p14:tracePt t="16332" x="3503613" y="2709863"/>
          <p14:tracePt t="16333" x="3511550" y="2709863"/>
          <p14:tracePt t="16335" x="3519488" y="2709863"/>
          <p14:tracePt t="16336" x="3524250" y="2709863"/>
          <p14:tracePt t="16337" x="3527425" y="2709863"/>
          <p14:tracePt t="16338" x="3535363" y="2709863"/>
          <p14:tracePt t="16339" x="3540125" y="2709863"/>
          <p14:tracePt t="16340" x="3543300" y="2709863"/>
          <p14:tracePt t="16341" x="3551238" y="2709863"/>
          <p14:tracePt t="16342" x="3556000" y="2709863"/>
          <p14:tracePt t="16343" x="3559175" y="2709863"/>
          <p14:tracePt t="16344" x="3567113" y="2709863"/>
          <p14:tracePt t="16345" x="3571875" y="2709863"/>
          <p14:tracePt t="16347" x="3575050" y="2709863"/>
          <p14:tracePt t="16348" x="3582988" y="2709863"/>
          <p14:tracePt t="16349" x="3587750" y="2709863"/>
          <p14:tracePt t="16350" x="3590925" y="2709863"/>
          <p14:tracePt t="16351" x="3595688" y="2709863"/>
          <p14:tracePt t="16353" x="3603625" y="2709863"/>
          <p14:tracePt t="16354" x="3606800" y="2709863"/>
          <p14:tracePt t="16356" x="3611563" y="2709863"/>
          <p14:tracePt t="16357" x="3616325" y="2709863"/>
          <p14:tracePt t="16359" x="3619500" y="2709863"/>
          <p14:tracePt t="16360" x="3624263" y="2709863"/>
          <p14:tracePt t="16362" x="3627438" y="2709863"/>
          <p14:tracePt t="16364" x="3632200" y="2709863"/>
          <p14:tracePt t="16365" x="3635375" y="2709863"/>
          <p14:tracePt t="16367" x="3640138" y="2709863"/>
          <p14:tracePt t="16370" x="3643313" y="2709863"/>
          <p14:tracePt t="16388" x="3648075" y="2709863"/>
          <p14:tracePt t="16424" x="3651250" y="2709863"/>
          <p14:tracePt t="16435" x="3656013" y="2709863"/>
          <p14:tracePt t="16437" x="3659188" y="2709863"/>
          <p14:tracePt t="16439" x="3663950" y="2714625"/>
          <p14:tracePt t="16444" x="3667125" y="2714625"/>
          <p14:tracePt t="16445" x="3671888" y="2717800"/>
          <p14:tracePt t="16447" x="3675063" y="2717800"/>
          <p14:tracePt t="16448" x="3679825" y="2717800"/>
          <p14:tracePt t="16450" x="3683000" y="2722563"/>
          <p14:tracePt t="16451" x="3687763" y="2722563"/>
          <p14:tracePt t="16453" x="3690938" y="2725738"/>
          <p14:tracePt t="16454" x="3695700" y="2725738"/>
          <p14:tracePt t="16456" x="3698875" y="2730500"/>
          <p14:tracePt t="16457" x="3703638" y="2730500"/>
          <p14:tracePt t="16460" x="3711575" y="2733675"/>
          <p14:tracePt t="16462" x="3719513" y="2738438"/>
          <p14:tracePt t="16465" x="3724275" y="2738438"/>
          <p14:tracePt t="16466" x="3727450" y="2738438"/>
          <p14:tracePt t="16468" x="3740150" y="2746375"/>
          <p14:tracePt t="16470" x="3743325" y="2751138"/>
          <p14:tracePt t="16471" x="3751263" y="2751138"/>
          <p14:tracePt t="16472" x="3751263" y="2754313"/>
          <p14:tracePt t="16473" x="3756025" y="2754313"/>
          <p14:tracePt t="16474" x="3759200" y="2754313"/>
          <p14:tracePt t="16477" x="3771900" y="2762250"/>
          <p14:tracePt t="16481" x="3783013" y="2767013"/>
          <p14:tracePt t="16482" x="3790950" y="2770188"/>
          <p14:tracePt t="16485" x="3800475" y="2774950"/>
          <p14:tracePt t="16486" x="3808413" y="2778125"/>
          <p14:tracePt t="16487" x="3811588" y="2778125"/>
          <p14:tracePt t="16488" x="3816350" y="2778125"/>
          <p14:tracePt t="16489" x="3819525" y="2778125"/>
          <p14:tracePt t="16490" x="3824288" y="2782888"/>
          <p14:tracePt t="16491" x="3827463" y="2782888"/>
          <p14:tracePt t="16492" x="3832225" y="2786063"/>
          <p14:tracePt t="16493" x="3835400" y="2786063"/>
          <p14:tracePt t="16495" x="3840163" y="2790825"/>
          <p14:tracePt t="16496" x="3848100" y="2790825"/>
          <p14:tracePt t="16497" x="3851275" y="2790825"/>
          <p14:tracePt t="16498" x="3856038" y="2794000"/>
          <p14:tracePt t="16499" x="3859213" y="2794000"/>
          <p14:tracePt t="16500" x="3863975" y="2798763"/>
          <p14:tracePt t="16501" x="3867150" y="2798763"/>
          <p14:tracePt t="16502" x="3871913" y="2801938"/>
          <p14:tracePt t="16503" x="3875088" y="2801938"/>
          <p14:tracePt t="16504" x="3879850" y="2801938"/>
          <p14:tracePt t="16505" x="3884613" y="2806700"/>
          <p14:tracePt t="16507" x="3892550" y="2806700"/>
          <p14:tracePt t="16509" x="3900488" y="2809875"/>
          <p14:tracePt t="16511" x="3908425" y="2814638"/>
          <p14:tracePt t="16512" x="3916363" y="2814638"/>
          <p14:tracePt t="16513" x="3919538" y="2817813"/>
          <p14:tracePt t="16515" x="3924300" y="2817813"/>
          <p14:tracePt t="16516" x="3927475" y="2817813"/>
          <p14:tracePt t="16517" x="3932238" y="2817813"/>
          <p14:tracePt t="16519" x="3935413" y="2817813"/>
          <p14:tracePt t="16520" x="3940175" y="2817813"/>
          <p14:tracePt t="16521" x="3943350" y="2817813"/>
          <p14:tracePt t="16522" x="3948113" y="2822575"/>
          <p14:tracePt t="16523" x="3951288" y="2822575"/>
          <p14:tracePt t="16524" x="3956050" y="2822575"/>
          <p14:tracePt t="16525" x="3959225" y="2822575"/>
          <p14:tracePt t="16527" x="3967163" y="2825750"/>
          <p14:tracePt t="16528" x="3971925" y="2825750"/>
          <p14:tracePt t="16529" x="3976688" y="2825750"/>
          <p14:tracePt t="16531" x="3976688" y="2830513"/>
          <p14:tracePt t="16532" x="3979863" y="2830513"/>
          <p14:tracePt t="16533" x="3984625" y="2830513"/>
          <p14:tracePt t="16534" x="3987800" y="2830513"/>
          <p14:tracePt t="16535" x="3992563" y="2830513"/>
          <p14:tracePt t="16536" x="3995738" y="2833688"/>
          <p14:tracePt t="16538" x="4000500" y="2833688"/>
          <p14:tracePt t="16539" x="4003675" y="2833688"/>
          <p14:tracePt t="16540" x="4008438" y="2833688"/>
          <p14:tracePt t="16541" x="4011613" y="2838450"/>
          <p14:tracePt t="16542" x="4016375" y="2838450"/>
          <p14:tracePt t="16545" x="4019550" y="2838450"/>
          <p14:tracePt t="16546" x="4019550" y="2843213"/>
          <p14:tracePt t="16547" x="4024313" y="2843213"/>
          <p14:tracePt t="16548" x="4027488" y="2843213"/>
          <p14:tracePt t="16549" x="4032250" y="2843213"/>
          <p14:tracePt t="16550" x="4035425" y="2843213"/>
          <p14:tracePt t="16552" x="4040188" y="2843213"/>
          <p14:tracePt t="16553" x="4043363" y="2843213"/>
          <p14:tracePt t="16555" x="4048125" y="2846388"/>
          <p14:tracePt t="16557" x="4051300" y="2846388"/>
          <p14:tracePt t="16559" x="4056063" y="2846388"/>
          <p14:tracePt t="16563" x="4059238" y="2846388"/>
          <p14:tracePt t="16571" x="4064000" y="2846388"/>
          <p14:tracePt t="16618" x="4064000" y="2851150"/>
          <p14:tracePt t="16640" x="4068763" y="2851150"/>
          <p14:tracePt t="16647" x="4068763" y="2854325"/>
          <p14:tracePt t="16653" x="4071938" y="2854325"/>
          <p14:tracePt t="16659" x="4071938" y="2859088"/>
          <p14:tracePt t="16662" x="4076700" y="2859088"/>
          <p14:tracePt t="16665" x="4079875" y="2859088"/>
          <p14:tracePt t="16668" x="4084638" y="2859088"/>
          <p14:tracePt t="16670" x="4087813" y="2859088"/>
          <p14:tracePt t="16672" x="4092575" y="2859088"/>
          <p14:tracePt t="16673" x="4092575" y="2862263"/>
          <p14:tracePt t="16676" x="4095750" y="2862263"/>
          <p14:tracePt t="16677" x="4095750" y="2867025"/>
          <p14:tracePt t="16680" x="4100513" y="2867025"/>
          <p14:tracePt t="16681" x="4100513" y="2870200"/>
          <p14:tracePt t="16683" x="4103688" y="2874963"/>
          <p14:tracePt t="16685" x="4108450" y="2874963"/>
          <p14:tracePt t="16686" x="4111625" y="2878138"/>
          <p14:tracePt t="16688" x="4116388" y="2882900"/>
          <p14:tracePt t="16689" x="4119563" y="2882900"/>
          <p14:tracePt t="16690" x="4124325" y="2886075"/>
          <p14:tracePt t="16692" x="4127500" y="2890838"/>
          <p14:tracePt t="16694" x="4132263" y="2894013"/>
          <p14:tracePt t="16694" x="4135438" y="2894013"/>
          <p14:tracePt t="16695" x="4135438" y="2898775"/>
          <p14:tracePt t="16696" x="4140200" y="2898775"/>
          <p14:tracePt t="16697" x="4143375" y="2898775"/>
          <p14:tracePt t="16698" x="4148138" y="2901950"/>
          <p14:tracePt t="16700" x="4156075" y="2906713"/>
          <p14:tracePt t="16701" x="4160838" y="2909888"/>
          <p14:tracePt t="16702" x="4164013" y="2914650"/>
          <p14:tracePt t="16703" x="4168775" y="2917825"/>
          <p14:tracePt t="16704" x="4171950" y="2922588"/>
          <p14:tracePt t="16705" x="4176713" y="2927350"/>
          <p14:tracePt t="16706" x="4184650" y="2930525"/>
          <p14:tracePt t="16707" x="4184650" y="2935288"/>
          <p14:tracePt t="16709" x="4192588" y="2938463"/>
          <p14:tracePt t="16711" x="4203700" y="2946400"/>
          <p14:tracePt t="16712" x="4208463" y="2951163"/>
          <p14:tracePt t="16714" x="4219575" y="2954338"/>
          <p14:tracePt t="16715" x="4224338" y="2959100"/>
          <p14:tracePt t="16716" x="4227513" y="2962275"/>
          <p14:tracePt t="16717" x="4235450" y="2962275"/>
          <p14:tracePt t="16718" x="4240213" y="2967038"/>
          <p14:tracePt t="16719" x="4243388" y="2970213"/>
          <p14:tracePt t="16720" x="4248150" y="2974975"/>
          <p14:tracePt t="16721" x="4248150" y="2978150"/>
          <p14:tracePt t="16722" x="4256088" y="2982913"/>
          <p14:tracePt t="16723" x="4260850" y="2982913"/>
          <p14:tracePt t="16724" x="4264025" y="2986088"/>
          <p14:tracePt t="16725" x="4268788" y="2990850"/>
          <p14:tracePt t="16726" x="4276725" y="2994025"/>
          <p14:tracePt t="16728" x="4279900" y="2998788"/>
          <p14:tracePt t="16730" x="4287838" y="3001963"/>
          <p14:tracePt t="16731" x="4295775" y="3001963"/>
          <p14:tracePt t="16732" x="4300538" y="3006725"/>
          <p14:tracePt t="16733" x="4303713" y="3009900"/>
          <p14:tracePt t="16734" x="4308475" y="3014663"/>
          <p14:tracePt t="16736" x="4311650" y="3019425"/>
          <p14:tracePt t="16737" x="4316413" y="3022600"/>
          <p14:tracePt t="16739" x="4319588" y="3022600"/>
          <p14:tracePt t="16740" x="4324350" y="3027363"/>
          <p14:tracePt t="16741" x="4327525" y="3027363"/>
          <p14:tracePt t="16742" x="4332288" y="3030538"/>
          <p14:tracePt t="16743" x="4332288" y="3035300"/>
          <p14:tracePt t="16746" x="4340225" y="3038475"/>
          <p14:tracePt t="16747" x="4344988" y="3043238"/>
          <p14:tracePt t="16749" x="4348163" y="3043238"/>
          <p14:tracePt t="16751" x="4348163" y="3046413"/>
          <p14:tracePt t="16753" x="4352925" y="3046413"/>
          <p14:tracePt t="16754" x="4352925" y="3051175"/>
          <p14:tracePt t="16755" x="4356100" y="3051175"/>
          <p14:tracePt t="16757" x="4356100" y="3054350"/>
          <p14:tracePt t="16759" x="4360863" y="3054350"/>
          <p14:tracePt t="16761" x="4360863" y="3059113"/>
          <p14:tracePt t="16762" x="4364038" y="3059113"/>
          <p14:tracePt t="16763" x="4364038" y="3062288"/>
          <p14:tracePt t="16766" x="4368800" y="3062288"/>
          <p14:tracePt t="16767" x="4368800" y="3067050"/>
          <p14:tracePt t="16772" x="4368800" y="3070225"/>
          <p14:tracePt t="16776" x="4371975" y="3074988"/>
          <p14:tracePt t="16780" x="4371975" y="3078163"/>
          <p14:tracePt t="16783" x="4371975" y="3082925"/>
          <p14:tracePt t="16784" x="4376738" y="3082925"/>
          <p14:tracePt t="16790" x="4379913" y="3082925"/>
          <p14:tracePt t="16792" x="4379913" y="3086100"/>
          <p14:tracePt t="16797" x="4379913" y="3090863"/>
          <p14:tracePt t="16801" x="4384675" y="3094038"/>
          <p14:tracePt t="16805" x="4384675" y="3098800"/>
          <p14:tracePt t="16809" x="4384675" y="3101975"/>
          <p14:tracePt t="16811" x="4384675" y="3106738"/>
          <p14:tracePt t="16813" x="4387850" y="3106738"/>
          <p14:tracePt t="16814" x="4387850" y="3111500"/>
          <p14:tracePt t="16816" x="4387850" y="3114675"/>
          <p14:tracePt t="16818" x="4387850" y="3119438"/>
          <p14:tracePt t="16820" x="4387850" y="3122613"/>
          <p14:tracePt t="16823" x="4387850" y="3127375"/>
          <p14:tracePt t="16825" x="4392613" y="3130550"/>
          <p14:tracePt t="16827" x="4392613" y="3135313"/>
          <p14:tracePt t="16828" x="4392613" y="3138488"/>
          <p14:tracePt t="16829" x="4392613" y="3143250"/>
          <p14:tracePt t="16831" x="4392613" y="3146425"/>
          <p14:tracePt t="16833" x="4395788" y="3151188"/>
          <p14:tracePt t="16834" x="4395788" y="3154363"/>
          <p14:tracePt t="16835" x="4395788" y="3159125"/>
          <p14:tracePt t="16836" x="4395788" y="3162300"/>
          <p14:tracePt t="16839" x="4395788" y="3167063"/>
          <p14:tracePt t="16842" x="4395788" y="3175000"/>
          <p14:tracePt t="16843" x="4395788" y="3178175"/>
          <p14:tracePt t="16844" x="4400550" y="3182938"/>
          <p14:tracePt t="16845" x="4400550" y="3186113"/>
          <p14:tracePt t="16847" x="4400550" y="3190875"/>
          <p14:tracePt t="16848" x="4400550" y="3194050"/>
          <p14:tracePt t="16849" x="4400550" y="3198813"/>
          <p14:tracePt t="16850" x="4400550" y="3203575"/>
          <p14:tracePt t="16852" x="4400550" y="3206750"/>
          <p14:tracePt t="16853" x="4400550" y="3211513"/>
          <p14:tracePt t="16854" x="4400550" y="3214688"/>
          <p14:tracePt t="16855" x="4400550" y="3219450"/>
          <p14:tracePt t="16857" x="4400550" y="3222625"/>
          <p14:tracePt t="16859" x="4400550" y="3227388"/>
          <p14:tracePt t="16860" x="4400550" y="3230563"/>
          <p14:tracePt t="16860" x="4400550" y="3235325"/>
          <p14:tracePt t="16861" x="4400550" y="3238500"/>
          <p14:tracePt t="16862" x="4400550" y="3243263"/>
          <p14:tracePt t="16863" x="4400550" y="3246438"/>
          <p14:tracePt t="16865" x="4400550" y="3251200"/>
          <p14:tracePt t="16866" x="4400550" y="3254375"/>
          <p14:tracePt t="16867" x="4400550" y="3259138"/>
          <p14:tracePt t="16869" x="4400550" y="3262313"/>
          <p14:tracePt t="16869" x="4400550" y="3267075"/>
          <p14:tracePt t="16870" x="4400550" y="3270250"/>
          <p14:tracePt t="16871" x="4400550" y="3275013"/>
          <p14:tracePt t="16872" x="4400550" y="3278188"/>
          <p14:tracePt t="16873" x="4400550" y="3282950"/>
          <p14:tracePt t="16874" x="4400550" y="3290888"/>
          <p14:tracePt t="16876" x="4400550" y="3295650"/>
          <p14:tracePt t="16877" x="4400550" y="3298825"/>
          <p14:tracePt t="16878" x="4400550" y="3306763"/>
          <p14:tracePt t="16893" x="4384675" y="3387725"/>
          <p14:tracePt t="16894" x="4379913" y="3395663"/>
          <p14:tracePt t="16894" x="4379913" y="3403600"/>
          <p14:tracePt t="16895" x="4379913" y="3411538"/>
          <p14:tracePt t="16896" x="4376738" y="3419475"/>
          <p14:tracePt t="16897" x="4376738" y="3422650"/>
          <p14:tracePt t="16898" x="4371975" y="3430588"/>
          <p14:tracePt t="16899" x="4368800" y="3435350"/>
          <p14:tracePt t="16901" x="4364038" y="3451225"/>
          <p14:tracePt t="16902" x="4364038" y="3459163"/>
          <p14:tracePt t="16903" x="4360863" y="3467100"/>
          <p14:tracePt t="16904" x="4360863" y="3479800"/>
          <p14:tracePt t="16905" x="4356100" y="3487738"/>
          <p14:tracePt t="16906" x="4352925" y="3490913"/>
          <p14:tracePt t="16907" x="4348163" y="3498850"/>
          <p14:tracePt t="16909" x="4344988" y="3519488"/>
          <p14:tracePt t="16910" x="4340225" y="3530600"/>
          <p14:tracePt t="16911" x="4337050" y="3538538"/>
          <p14:tracePt t="16912" x="4332288" y="3546475"/>
          <p14:tracePt t="16913" x="4332288" y="3554413"/>
          <p14:tracePt t="16914" x="4327525" y="3567113"/>
          <p14:tracePt t="16915" x="4324350" y="3579813"/>
          <p14:tracePt t="16917" x="4311650" y="3598863"/>
          <p14:tracePt t="16918" x="4308475" y="3606800"/>
          <p14:tracePt t="16919" x="4303713" y="3614738"/>
          <p14:tracePt t="16920" x="4300538" y="3627438"/>
          <p14:tracePt t="16921" x="4300538" y="3638550"/>
          <p14:tracePt t="16922" x="4295775" y="3646488"/>
          <p14:tracePt t="16923" x="4292600" y="3654425"/>
          <p14:tracePt t="16924" x="4287838" y="3663950"/>
          <p14:tracePt t="16925" x="4284663" y="3671888"/>
          <p14:tracePt t="16926" x="4279900" y="3679825"/>
          <p14:tracePt t="16927" x="4271963" y="3690938"/>
          <p14:tracePt t="16929" x="4268788" y="3698875"/>
          <p14:tracePt t="16930" x="4260850" y="3711575"/>
          <p14:tracePt t="16932" x="4256088" y="3727450"/>
          <p14:tracePt t="16933" x="4252913" y="3730625"/>
          <p14:tracePt t="16934" x="4252913" y="3735388"/>
          <p14:tracePt t="16935" x="4252913" y="3743325"/>
          <p14:tracePt t="16936" x="4243388" y="3751263"/>
          <p14:tracePt t="16937" x="4243388" y="3756025"/>
          <p14:tracePt t="16938" x="4240213" y="3759200"/>
          <p14:tracePt t="16939" x="4240213" y="3763963"/>
          <p14:tracePt t="16940" x="4235450" y="3767138"/>
          <p14:tracePt t="16941" x="4232275" y="3767138"/>
          <p14:tracePt t="16942" x="4232275" y="3771900"/>
          <p14:tracePt t="16943" x="4227513" y="3775075"/>
          <p14:tracePt t="16944" x="4227513" y="3779838"/>
          <p14:tracePt t="16945" x="4224338" y="3783013"/>
          <p14:tracePt t="16946" x="4224338" y="3787775"/>
          <p14:tracePt t="16948" x="4219575" y="3790950"/>
          <p14:tracePt t="16949" x="4219575" y="3795713"/>
          <p14:tracePt t="16950" x="4216400" y="3798888"/>
          <p14:tracePt t="16951" x="4216400" y="3803650"/>
          <p14:tracePt t="16952" x="4211638" y="3803650"/>
          <p14:tracePt t="16953" x="4211638" y="3806825"/>
          <p14:tracePt t="16955" x="4208463" y="3806825"/>
          <p14:tracePt t="16956" x="4208463" y="3811588"/>
          <p14:tracePt t="16959" x="4203700" y="3814763"/>
          <p14:tracePt t="16961" x="4203700" y="3819525"/>
          <p14:tracePt t="16962" x="4203700" y="3822700"/>
          <p14:tracePt t="16963" x="4200525" y="3822700"/>
          <p14:tracePt t="16965" x="4195763" y="3827463"/>
          <p14:tracePt t="16967" x="4195763" y="3830638"/>
          <p14:tracePt t="16968" x="4192588" y="3830638"/>
          <p14:tracePt t="16970" x="4192588" y="3835400"/>
          <p14:tracePt t="16973" x="4192588" y="3838575"/>
          <p14:tracePt t="16977" x="4187825" y="3838575"/>
          <p14:tracePt t="16978" x="4187825" y="3843338"/>
          <p14:tracePt t="16980" x="4184650" y="3843338"/>
          <p14:tracePt t="16987" x="4179888" y="3848100"/>
          <p14:tracePt t="16991" x="4176713" y="3848100"/>
          <p14:tracePt t="16996" x="4171950" y="3848100"/>
          <p14:tracePt t="16999" x="4168775" y="3848100"/>
          <p14:tracePt t="17001" x="4168775" y="3851275"/>
          <p14:tracePt t="17002" x="4164013" y="3851275"/>
          <p14:tracePt t="17007" x="4160838" y="3851275"/>
          <p14:tracePt t="17009" x="4156075" y="3856038"/>
          <p14:tracePt t="17011" x="4151313" y="3856038"/>
          <p14:tracePt t="17012" x="4148138" y="3856038"/>
          <p14:tracePt t="17013" x="4148138" y="3859213"/>
          <p14:tracePt t="17015" x="4143375" y="3859213"/>
          <p14:tracePt t="17017" x="4140200" y="3859213"/>
          <p14:tracePt t="17018" x="4135438" y="3859213"/>
          <p14:tracePt t="17020" x="4132263" y="3859213"/>
          <p14:tracePt t="17021" x="4127500" y="3859213"/>
          <p14:tracePt t="17022" x="4124325" y="3863975"/>
          <p14:tracePt t="17025" x="4116388" y="3863975"/>
          <p14:tracePt t="17027" x="4111625" y="3863975"/>
          <p14:tracePt t="17028" x="4108450" y="3863975"/>
          <p14:tracePt t="17029" x="4103688" y="3863975"/>
          <p14:tracePt t="17030" x="4100513" y="3867150"/>
          <p14:tracePt t="17031" x="4095750" y="3867150"/>
          <p14:tracePt t="17032" x="4092575" y="3867150"/>
          <p14:tracePt t="17033" x="4087813" y="3867150"/>
          <p14:tracePt t="17034" x="4084638" y="3867150"/>
          <p14:tracePt t="17036" x="4079875" y="3871913"/>
          <p14:tracePt t="17037" x="4076700" y="3871913"/>
          <p14:tracePt t="17038" x="4068763" y="3871913"/>
          <p14:tracePt t="17039" x="4064000" y="3871913"/>
          <p14:tracePt t="17040" x="4059238" y="3871913"/>
          <p14:tracePt t="17042" x="4051300" y="3875088"/>
          <p14:tracePt t="17043" x="4048125" y="3875088"/>
          <p14:tracePt t="17044" x="4043363" y="3875088"/>
          <p14:tracePt t="17045" x="4040188" y="3875088"/>
          <p14:tracePt t="17046" x="4032250" y="3875088"/>
          <p14:tracePt t="17048" x="4027488" y="3879850"/>
          <p14:tracePt t="17049" x="4024313" y="3879850"/>
          <p14:tracePt t="17050" x="4016375" y="3879850"/>
          <p14:tracePt t="17051" x="4011613" y="3879850"/>
          <p14:tracePt t="17052" x="4008438" y="3879850"/>
          <p14:tracePt t="17053" x="4000500" y="3879850"/>
          <p14:tracePt t="17054" x="3992563" y="3883025"/>
          <p14:tracePt t="17055" x="3987800" y="3883025"/>
          <p14:tracePt t="17056" x="3984625" y="3883025"/>
          <p14:tracePt t="17058" x="3971925" y="3883025"/>
          <p14:tracePt t="17059" x="3963988" y="3883025"/>
          <p14:tracePt t="17060" x="3959225" y="3883025"/>
          <p14:tracePt t="17061" x="3956050" y="3883025"/>
          <p14:tracePt t="17062" x="3948113" y="3883025"/>
          <p14:tracePt t="17063" x="3940175" y="3883025"/>
          <p14:tracePt t="17064" x="3932238" y="3883025"/>
          <p14:tracePt t="17065" x="3927475" y="3883025"/>
          <p14:tracePt t="17066" x="3919538" y="3883025"/>
          <p14:tracePt t="17068" x="3903663" y="3883025"/>
          <p14:tracePt t="17070" x="3895725" y="3883025"/>
          <p14:tracePt t="17071" x="3892550" y="3883025"/>
          <p14:tracePt t="17072" x="3884613" y="3883025"/>
          <p14:tracePt t="17073" x="3875088" y="3883025"/>
          <p14:tracePt t="17074" x="3867150" y="3883025"/>
          <p14:tracePt t="17075" x="3863975" y="3883025"/>
          <p14:tracePt t="17076" x="3856038" y="3883025"/>
          <p14:tracePt t="17077" x="3848100" y="3883025"/>
          <p14:tracePt t="17078" x="3840163" y="3883025"/>
          <p14:tracePt t="17079" x="3832225" y="3883025"/>
          <p14:tracePt t="17080" x="3819525" y="3883025"/>
          <p14:tracePt t="17082" x="3811588" y="3879850"/>
          <p14:tracePt t="17083" x="3803650" y="3879850"/>
          <p14:tracePt t="17084" x="3787775" y="3875088"/>
          <p14:tracePt t="17085" x="3783013" y="3875088"/>
          <p14:tracePt t="17086" x="3775075" y="3871913"/>
          <p14:tracePt t="17087" x="3767138" y="3871913"/>
          <p14:tracePt t="17088" x="3756025" y="3863975"/>
          <p14:tracePt t="17089" x="3743325" y="3859213"/>
          <p14:tracePt t="17090" x="3735388" y="3859213"/>
          <p14:tracePt t="17091" x="3727450" y="3856038"/>
          <p14:tracePt t="17092" x="3719513" y="3851275"/>
          <p14:tracePt t="17093" x="3711575" y="3851275"/>
          <p14:tracePt t="17094" x="3703638" y="3848100"/>
          <p14:tracePt t="17095" x="3695700" y="3843338"/>
          <p14:tracePt t="17096" x="3679825" y="3838575"/>
          <p14:tracePt t="17097" x="3671888" y="3835400"/>
          <p14:tracePt t="17098" x="3663950" y="3830638"/>
          <p14:tracePt t="17099" x="3648075" y="3819525"/>
          <p14:tracePt t="17100" x="3640138" y="3814763"/>
          <p14:tracePt t="17101" x="3632200" y="3811588"/>
          <p14:tracePt t="17102" x="3616325" y="3806825"/>
          <p14:tracePt t="17103" x="3606800" y="3803650"/>
          <p14:tracePt t="17104" x="3587750" y="3798888"/>
          <p14:tracePt t="17105" x="3579813" y="3787775"/>
          <p14:tracePt t="17106" x="3563938" y="3783013"/>
          <p14:tracePt t="17107" x="3556000" y="3779838"/>
          <p14:tracePt t="17108" x="3543300" y="3775075"/>
          <p14:tracePt t="17109" x="3527425" y="3763963"/>
          <p14:tracePt t="17110" x="3511550" y="3759200"/>
          <p14:tracePt t="17112" x="3490913" y="3751263"/>
          <p14:tracePt t="17113" x="3475038" y="3743325"/>
          <p14:tracePt t="17114" x="3455988" y="3735388"/>
          <p14:tracePt t="17115" x="3448050" y="3727450"/>
          <p14:tracePt t="17116" x="3430588" y="3722688"/>
          <p14:tracePt t="17117" x="3419475" y="3719513"/>
          <p14:tracePt t="17118" x="3411538" y="3714750"/>
          <p14:tracePt t="17119" x="3390900" y="3703638"/>
          <p14:tracePt t="17120" x="3379788" y="3698875"/>
          <p14:tracePt t="17121" x="3367088" y="3695700"/>
          <p14:tracePt t="17122" x="3359150" y="3690938"/>
          <p14:tracePt t="17123" x="3343275" y="3687763"/>
          <p14:tracePt t="17124" x="3330575" y="3675063"/>
          <p14:tracePt t="17125" x="3314700" y="3671888"/>
          <p14:tracePt t="17126" x="3306763" y="3667125"/>
          <p14:tracePt t="17127" x="3290888" y="3663950"/>
          <p14:tracePt t="17129" x="3263900" y="3651250"/>
          <p14:tracePt t="17131" x="3246438" y="3643313"/>
          <p14:tracePt t="17132" x="3238500" y="3638550"/>
          <p14:tracePt t="17133" x="3222625" y="3635375"/>
          <p14:tracePt t="17134" x="3214688" y="3630613"/>
          <p14:tracePt t="17135" x="3206750" y="3627438"/>
          <p14:tracePt t="17136" x="3198813" y="3622675"/>
          <p14:tracePt t="17137" x="3190875" y="3622675"/>
          <p14:tracePt t="17138" x="3182938" y="3619500"/>
          <p14:tracePt t="17139" x="3171825" y="3611563"/>
          <p14:tracePt t="17140" x="3163888" y="3606800"/>
          <p14:tracePt t="17141" x="3154363" y="3606800"/>
          <p14:tracePt t="17142" x="3146425" y="3603625"/>
          <p14:tracePt t="17143" x="3143250" y="3603625"/>
          <p14:tracePt t="17144" x="3135313" y="3598863"/>
          <p14:tracePt t="17145" x="3130550" y="3595688"/>
          <p14:tracePt t="17146" x="3122613" y="3595688"/>
          <p14:tracePt t="17147" x="3119438" y="3590925"/>
          <p14:tracePt t="17148" x="3114675" y="3590925"/>
          <p14:tracePt t="17149" x="3106738" y="3587750"/>
          <p14:tracePt t="17151" x="3095625" y="3582988"/>
          <p14:tracePt t="17153" x="3090863" y="3582988"/>
          <p14:tracePt t="17154" x="3087688" y="3582988"/>
          <p14:tracePt t="17155" x="3082925" y="3582988"/>
          <p14:tracePt t="17157" x="3079750" y="3579813"/>
          <p14:tracePt t="17158" x="3074988" y="3579813"/>
          <p14:tracePt t="17159" x="3071813" y="3579813"/>
          <p14:tracePt t="17160" x="3067050" y="3579813"/>
          <p14:tracePt t="17161" x="3067050" y="3575050"/>
          <p14:tracePt t="17162" x="3062288" y="3575050"/>
          <p14:tracePt t="17164" x="3059113" y="3575050"/>
          <p14:tracePt t="17165" x="3059113" y="3571875"/>
          <p14:tracePt t="17167" x="3054350" y="3571875"/>
          <p14:tracePt t="17171" x="3051175" y="3571875"/>
          <p14:tracePt t="17176" x="3051175" y="3567113"/>
          <p14:tracePt t="17185" x="3046413" y="3567113"/>
          <p14:tracePt t="17217" x="3046413" y="3571875"/>
          <p14:tracePt t="17221" x="3046413" y="3575050"/>
          <p14:tracePt t="17223" x="3046413" y="3579813"/>
          <p14:tracePt t="17227" x="3046413" y="3582988"/>
          <p14:tracePt t="17229" x="3046413" y="3587750"/>
          <p14:tracePt t="17231" x="3046413" y="3590925"/>
          <p14:tracePt t="17232" x="3046413" y="3595688"/>
          <p14:tracePt t="17233" x="3046413" y="3598863"/>
          <p14:tracePt t="17234" x="3046413" y="3603625"/>
          <p14:tracePt t="17236" x="3046413" y="3606800"/>
          <p14:tracePt t="17237" x="3046413" y="3611563"/>
          <p14:tracePt t="17238" x="3046413" y="3614738"/>
          <p14:tracePt t="17239" x="3046413" y="3619500"/>
          <p14:tracePt t="17241" x="3046413" y="3622675"/>
          <p14:tracePt t="17242" x="3046413" y="3630613"/>
          <p14:tracePt t="17243" x="3051175" y="3635375"/>
          <p14:tracePt t="17244" x="3051175" y="3638550"/>
          <p14:tracePt t="17245" x="3051175" y="3643313"/>
          <p14:tracePt t="17246" x="3051175" y="3646488"/>
          <p14:tracePt t="17247" x="3051175" y="3651250"/>
          <p14:tracePt t="17248" x="3051175" y="3654425"/>
          <p14:tracePt t="17249" x="3054350" y="3659188"/>
          <p14:tracePt t="17250" x="3054350" y="3663950"/>
          <p14:tracePt t="17251" x="3059113" y="3663950"/>
          <p14:tracePt t="17252" x="3059113" y="3667125"/>
          <p14:tracePt t="17254" x="3059113" y="3671888"/>
          <p14:tracePt t="17255" x="3062288" y="3675063"/>
          <p14:tracePt t="17256" x="3062288" y="3679825"/>
          <p14:tracePt t="17257" x="3067050" y="3683000"/>
          <p14:tracePt t="17259" x="3071813" y="3687763"/>
          <p14:tracePt t="17261" x="3074988" y="3687763"/>
          <p14:tracePt t="17262" x="3079750" y="3690938"/>
          <p14:tracePt t="17263" x="3079750" y="3695700"/>
          <p14:tracePt t="17265" x="3082925" y="3698875"/>
          <p14:tracePt t="17267" x="3082925" y="3703638"/>
          <p14:tracePt t="17269" x="3087688" y="3703638"/>
          <p14:tracePt t="17272" x="3090863" y="3706813"/>
          <p14:tracePt t="17292" x="3095625" y="3703638"/>
          <p14:tracePt t="17296" x="3098800" y="3703638"/>
          <p14:tracePt t="17300" x="3103563" y="3703638"/>
          <p14:tracePt t="17301" x="3103563" y="3698875"/>
          <p14:tracePt t="17302" x="3106738" y="3698875"/>
          <p14:tracePt t="17303" x="3106738" y="3695700"/>
          <p14:tracePt t="17304" x="3111500" y="3695700"/>
          <p14:tracePt t="17305" x="3114675" y="3695700"/>
          <p14:tracePt t="17307" x="3122613" y="3690938"/>
          <p14:tracePt t="17309" x="3127375" y="3687763"/>
          <p14:tracePt t="17310" x="3130550" y="3687763"/>
          <p14:tracePt t="17311" x="3130550" y="3683000"/>
          <p14:tracePt t="17312" x="3135313" y="3679825"/>
          <p14:tracePt t="17313" x="3138488" y="3679825"/>
          <p14:tracePt t="17314" x="3138488" y="3675063"/>
          <p14:tracePt t="17315" x="3143250" y="3675063"/>
          <p14:tracePt t="17316" x="3146425" y="3671888"/>
          <p14:tracePt t="17317" x="3151188" y="3671888"/>
          <p14:tracePt t="17318" x="3159125" y="3667125"/>
          <p14:tracePt t="17319" x="3163888" y="3663950"/>
          <p14:tracePt t="17320" x="3167063" y="3663950"/>
          <p14:tracePt t="17321" x="3171825" y="3663950"/>
          <p14:tracePt t="17322" x="3175000" y="3659188"/>
          <p14:tracePt t="17323" x="3179763" y="3654425"/>
          <p14:tracePt t="17324" x="3187700" y="3654425"/>
          <p14:tracePt t="17325" x="3187700" y="3651250"/>
          <p14:tracePt t="17326" x="3190875" y="3651250"/>
          <p14:tracePt t="17328" x="3203575" y="3643313"/>
          <p14:tracePt t="17329" x="3206750" y="3643313"/>
          <p14:tracePt t="17330" x="3211513" y="3638550"/>
          <p14:tracePt t="17331" x="3219450" y="3635375"/>
          <p14:tracePt t="17332" x="3222625" y="3635375"/>
          <p14:tracePt t="17333" x="3230563" y="3630613"/>
          <p14:tracePt t="17334" x="3235325" y="3627438"/>
          <p14:tracePt t="17335" x="3243263" y="3622675"/>
          <p14:tracePt t="17336" x="3246438" y="3622675"/>
          <p14:tracePt t="17337" x="3251200" y="3619500"/>
          <p14:tracePt t="17338" x="3259138" y="3619500"/>
          <p14:tracePt t="17339" x="3267075" y="3614738"/>
          <p14:tracePt t="17340" x="3271838" y="3614738"/>
          <p14:tracePt t="17341" x="3279775" y="3611563"/>
          <p14:tracePt t="17342" x="3287713" y="3606800"/>
          <p14:tracePt t="17343" x="3290888" y="3606800"/>
          <p14:tracePt t="17345" x="3306763" y="3598863"/>
          <p14:tracePt t="17346" x="3314700" y="3595688"/>
          <p14:tracePt t="17347" x="3322638" y="3595688"/>
          <p14:tracePt t="17348" x="3330575" y="3590925"/>
          <p14:tracePt t="17349" x="3338513" y="3587750"/>
          <p14:tracePt t="17350" x="3343275" y="3587750"/>
          <p14:tracePt t="17351" x="3351213" y="3582988"/>
          <p14:tracePt t="17352" x="3359150" y="3579813"/>
          <p14:tracePt t="17353" x="3371850" y="3575050"/>
          <p14:tracePt t="17354" x="3382963" y="3571875"/>
          <p14:tracePt t="17355" x="3390900" y="3571875"/>
          <p14:tracePt t="17356" x="3398838" y="3562350"/>
          <p14:tracePt t="17357" x="3403600" y="3562350"/>
          <p14:tracePt t="17358" x="3414713" y="3554413"/>
          <p14:tracePt t="17359" x="3427413" y="3551238"/>
          <p14:tracePt t="17360" x="3435350" y="3546475"/>
          <p14:tracePt t="17361" x="3443288" y="3543300"/>
          <p14:tracePt t="17362" x="3451225" y="3543300"/>
          <p14:tracePt t="17363" x="3459163" y="3538538"/>
          <p14:tracePt t="17364" x="3467100" y="3535363"/>
          <p14:tracePt t="17365" x="3479800" y="3530600"/>
          <p14:tracePt t="17367" x="3487738" y="3527425"/>
          <p14:tracePt t="17367" x="3495675" y="3522663"/>
          <p14:tracePt t="17368" x="3506788" y="3519488"/>
          <p14:tracePt t="17370" x="3527425" y="3506788"/>
          <p14:tracePt t="17371" x="3532188" y="3503613"/>
          <p14:tracePt t="17372" x="3540125" y="3498850"/>
          <p14:tracePt t="17373" x="3548063" y="3495675"/>
          <p14:tracePt t="17374" x="3559175" y="3490913"/>
          <p14:tracePt t="17375" x="3563938" y="3487738"/>
          <p14:tracePt t="17376" x="3571875" y="3482975"/>
          <p14:tracePt t="17377" x="3582988" y="3479800"/>
          <p14:tracePt t="17378" x="3590925" y="3475038"/>
          <p14:tracePt t="17379" x="3598863" y="3470275"/>
          <p14:tracePt t="17380" x="3606800" y="3467100"/>
          <p14:tracePt t="17381" x="3611563" y="3462338"/>
          <p14:tracePt t="17382" x="3619500" y="3459163"/>
          <p14:tracePt t="17385" x="3640138" y="3446463"/>
          <p14:tracePt t="17386" x="3643313" y="3443288"/>
          <p14:tracePt t="17387" x="3648075" y="3438525"/>
          <p14:tracePt t="17388" x="3656013" y="3435350"/>
          <p14:tracePt t="17389" x="3659188" y="3430588"/>
          <p14:tracePt t="17390" x="3667125" y="3427413"/>
          <p14:tracePt t="17391" x="3671888" y="3422650"/>
          <p14:tracePt t="17392" x="3675063" y="3419475"/>
          <p14:tracePt t="17393" x="3679825" y="3419475"/>
          <p14:tracePt t="17394" x="3683000" y="3411538"/>
          <p14:tracePt t="17396" x="3687763" y="3406775"/>
          <p14:tracePt t="17397" x="3695700" y="3403600"/>
          <p14:tracePt t="17398" x="3698875" y="3398838"/>
          <p14:tracePt t="17399" x="3703638" y="3395663"/>
          <p14:tracePt t="17402" x="3716338" y="3382963"/>
          <p14:tracePt t="17403" x="3719513" y="3378200"/>
          <p14:tracePt t="17404" x="3724275" y="3370263"/>
          <p14:tracePt t="17405" x="3727450" y="3367088"/>
          <p14:tracePt t="17406" x="3732213" y="3362325"/>
          <p14:tracePt t="17407" x="3735388" y="3359150"/>
          <p14:tracePt t="17409" x="3735388" y="3354388"/>
          <p14:tracePt t="17410" x="3740150" y="3351213"/>
          <p14:tracePt t="17413" x="3748088" y="3338513"/>
          <p14:tracePt t="17414" x="3751263" y="3330575"/>
          <p14:tracePt t="17415" x="3756025" y="3327400"/>
          <p14:tracePt t="17416" x="3756025" y="3322638"/>
          <p14:tracePt t="17417" x="3759200" y="3314700"/>
          <p14:tracePt t="17418" x="3759200" y="3311525"/>
          <p14:tracePt t="17419" x="3763963" y="3306763"/>
          <p14:tracePt t="17420" x="3767138" y="3298825"/>
          <p14:tracePt t="17421" x="3767138" y="3295650"/>
          <p14:tracePt t="17422" x="3771900" y="3286125"/>
          <p14:tracePt t="17423" x="3771900" y="3282950"/>
          <p14:tracePt t="17425" x="3775075" y="3275013"/>
          <p14:tracePt t="17426" x="3775075" y="3267075"/>
          <p14:tracePt t="17428" x="3779838" y="3254375"/>
          <p14:tracePt t="17429" x="3779838" y="3251200"/>
          <p14:tracePt t="17430" x="3783013" y="3238500"/>
          <p14:tracePt t="17431" x="3783013" y="3235325"/>
          <p14:tracePt t="17432" x="3783013" y="3227388"/>
          <p14:tracePt t="17433" x="3783013" y="3219450"/>
          <p14:tracePt t="17434" x="3783013" y="3214688"/>
          <p14:tracePt t="17435" x="3783013" y="3203575"/>
          <p14:tracePt t="17436" x="3783013" y="3194050"/>
          <p14:tracePt t="17437" x="3783013" y="3186113"/>
          <p14:tracePt t="17438" x="3783013" y="3178175"/>
          <p14:tracePt t="17439" x="3783013" y="3170238"/>
          <p14:tracePt t="17440" x="3787775" y="3159125"/>
          <p14:tracePt t="17441" x="3787775" y="3151188"/>
          <p14:tracePt t="17442" x="3787775" y="3143250"/>
          <p14:tracePt t="17443" x="3787775" y="3135313"/>
          <p14:tracePt t="17444" x="3787775" y="3127375"/>
          <p14:tracePt t="17445" x="3787775" y="3114675"/>
          <p14:tracePt t="17446" x="3787775" y="3106738"/>
          <p14:tracePt t="17447" x="3787775" y="3098800"/>
          <p14:tracePt t="17448" x="3787775" y="3090863"/>
          <p14:tracePt t="17449" x="3787775" y="3082925"/>
          <p14:tracePt t="17450" x="3787775" y="3074988"/>
          <p14:tracePt t="17451" x="3787775" y="3067050"/>
          <p14:tracePt t="17452" x="3787775" y="3054350"/>
          <p14:tracePt t="17453" x="3787775" y="3051175"/>
          <p14:tracePt t="17454" x="3787775" y="3043238"/>
          <p14:tracePt t="17455" x="3787775" y="3035300"/>
          <p14:tracePt t="17456" x="3783013" y="3027363"/>
          <p14:tracePt t="17457" x="3783013" y="3019425"/>
          <p14:tracePt t="17459" x="3779838" y="3009900"/>
          <p14:tracePt t="17460" x="3779838" y="3001963"/>
          <p14:tracePt t="17460" x="3775075" y="2994025"/>
          <p14:tracePt t="17461" x="3771900" y="2986088"/>
          <p14:tracePt t="17462" x="3771900" y="2982913"/>
          <p14:tracePt t="17463" x="3767138" y="2974975"/>
          <p14:tracePt t="17464" x="3767138" y="2967038"/>
          <p14:tracePt t="17465" x="3763963" y="2962275"/>
          <p14:tracePt t="17466" x="3759200" y="2954338"/>
          <p14:tracePt t="17467" x="3756025" y="2946400"/>
          <p14:tracePt t="17468" x="3751263" y="2935288"/>
          <p14:tracePt t="17469" x="3748088" y="2930525"/>
          <p14:tracePt t="17470" x="3743325" y="2922588"/>
          <p14:tracePt t="17471" x="3740150" y="2914650"/>
          <p14:tracePt t="17472" x="3735388" y="2909888"/>
          <p14:tracePt t="17473" x="3732213" y="2901950"/>
          <p14:tracePt t="17474" x="3727450" y="2894013"/>
          <p14:tracePt t="17475" x="3724275" y="2890838"/>
          <p14:tracePt t="17476" x="3719513" y="2878138"/>
          <p14:tracePt t="17478" x="3708400" y="2874963"/>
          <p14:tracePt t="17480" x="3698875" y="2862263"/>
          <p14:tracePt t="17480" x="3695700" y="2854325"/>
          <p14:tracePt t="17481" x="3687763" y="2846388"/>
          <p14:tracePt t="17482" x="3683000" y="2843213"/>
          <p14:tracePt t="17483" x="3675063" y="2833688"/>
          <p14:tracePt t="17484" x="3671888" y="2830513"/>
          <p14:tracePt t="17485" x="3663950" y="2825750"/>
          <p14:tracePt t="17486" x="3659188" y="2817813"/>
          <p14:tracePt t="17487" x="3651250" y="2809875"/>
          <p14:tracePt t="17488" x="3648075" y="2809875"/>
          <p14:tracePt t="17489" x="3640138" y="2801938"/>
          <p14:tracePt t="17490" x="3635375" y="2798763"/>
          <p14:tracePt t="17491" x="3627438" y="2794000"/>
          <p14:tracePt t="17492" x="3619500" y="2782888"/>
          <p14:tracePt t="17493" x="3611563" y="2778125"/>
          <p14:tracePt t="17494" x="3606800" y="2774950"/>
          <p14:tracePt t="17496" x="3587750" y="2767013"/>
          <p14:tracePt t="17497" x="3579813" y="2762250"/>
          <p14:tracePt t="17498" x="3571875" y="2759075"/>
          <p14:tracePt t="17499" x="3567113" y="2754313"/>
          <p14:tracePt t="17500" x="3559175" y="2751138"/>
          <p14:tracePt t="17501" x="3551238" y="2746375"/>
          <p14:tracePt t="17502" x="3543300" y="2741613"/>
          <p14:tracePt t="17503" x="3535363" y="2738438"/>
          <p14:tracePt t="17504" x="3524250" y="2733675"/>
          <p14:tracePt t="17505" x="3514725" y="2730500"/>
          <p14:tracePt t="17506" x="3506788" y="2725738"/>
          <p14:tracePt t="17507" x="3498850" y="2717800"/>
          <p14:tracePt t="17509" x="3482975" y="2714625"/>
          <p14:tracePt t="17510" x="3479800" y="2709863"/>
          <p14:tracePt t="17511" x="3471863" y="2706688"/>
          <p14:tracePt t="17513" x="3448050" y="2701925"/>
          <p14:tracePt t="17514" x="3440113" y="2698750"/>
          <p14:tracePt t="17515" x="3430588" y="2693988"/>
          <p14:tracePt t="17516" x="3422650" y="2693988"/>
          <p14:tracePt t="17517" x="3414713" y="2690813"/>
          <p14:tracePt t="17518" x="3406775" y="2690813"/>
          <p14:tracePt t="17519" x="3395663" y="2686050"/>
          <p14:tracePt t="17520" x="3387725" y="2686050"/>
          <p14:tracePt t="17521" x="3379788" y="2682875"/>
          <p14:tracePt t="17522" x="3371850" y="2682875"/>
          <p14:tracePt t="17523" x="3363913" y="2678113"/>
          <p14:tracePt t="17524" x="3355975" y="2678113"/>
          <p14:tracePt t="17525" x="3348038" y="2678113"/>
          <p14:tracePt t="17526" x="3338513" y="2674938"/>
          <p14:tracePt t="17527" x="3330575" y="2674938"/>
          <p14:tracePt t="17528" x="3319463" y="2674938"/>
          <p14:tracePt t="17529" x="3311525" y="2674938"/>
          <p14:tracePt t="17530" x="3303588" y="2670175"/>
          <p14:tracePt t="17531" x="3295650" y="2670175"/>
          <p14:tracePt t="17532" x="3287713" y="2670175"/>
          <p14:tracePt t="17533" x="3279775" y="2670175"/>
          <p14:tracePt t="17534" x="3271838" y="2667000"/>
          <p14:tracePt t="17535" x="3263900" y="2667000"/>
          <p14:tracePt t="17536" x="3255963" y="2667000"/>
          <p14:tracePt t="17537" x="3238500" y="2667000"/>
          <p14:tracePt t="17538" x="3230563" y="2667000"/>
          <p14:tracePt t="17539" x="3227388" y="2667000"/>
          <p14:tracePt t="17540" x="3222625" y="2667000"/>
          <p14:tracePt t="17541" x="3206750" y="2667000"/>
          <p14:tracePt t="17542" x="3198813" y="2667000"/>
          <p14:tracePt t="17544" x="3190875" y="2667000"/>
          <p14:tracePt t="17545" x="3182938" y="2667000"/>
          <p14:tracePt t="17545" x="3175000" y="2667000"/>
          <p14:tracePt t="17546" x="3167063" y="2667000"/>
          <p14:tracePt t="17547" x="3163888" y="2667000"/>
          <p14:tracePt t="17548" x="3151188" y="2667000"/>
          <p14:tracePt t="17549" x="3143250" y="2667000"/>
          <p14:tracePt t="17550" x="3135313" y="2667000"/>
          <p14:tracePt t="17551" x="3130550" y="2667000"/>
          <p14:tracePt t="17552" x="3119438" y="2667000"/>
          <p14:tracePt t="17553" x="3111500" y="2667000"/>
          <p14:tracePt t="17554" x="3103563" y="2667000"/>
          <p14:tracePt t="17555" x="3098800" y="2667000"/>
          <p14:tracePt t="17556" x="3090863" y="2667000"/>
          <p14:tracePt t="17557" x="3082925" y="2667000"/>
          <p14:tracePt t="17559" x="3074988" y="2667000"/>
          <p14:tracePt t="17560" x="3054350" y="2670175"/>
          <p14:tracePt t="17561" x="3046413" y="2670175"/>
          <p14:tracePt t="17562" x="3038475" y="2670175"/>
          <p14:tracePt t="17563" x="3030538" y="2674938"/>
          <p14:tracePt t="17564" x="3027363" y="2674938"/>
          <p14:tracePt t="17565" x="3019425" y="2674938"/>
          <p14:tracePt t="17566" x="3011488" y="2674938"/>
          <p14:tracePt t="17567" x="3006725" y="2678113"/>
          <p14:tracePt t="17568" x="2995613" y="2678113"/>
          <p14:tracePt t="17569" x="2990850" y="2682875"/>
          <p14:tracePt t="17570" x="2982913" y="2682875"/>
          <p14:tracePt t="17571" x="2978150" y="2686050"/>
          <p14:tracePt t="17572" x="2974975" y="2686050"/>
          <p14:tracePt t="17573" x="2962275" y="2690813"/>
          <p14:tracePt t="17574" x="2954338" y="2693988"/>
          <p14:tracePt t="17575" x="2946400" y="2693988"/>
          <p14:tracePt t="17576" x="2938463" y="2698750"/>
          <p14:tracePt t="17577" x="2935288" y="2701925"/>
          <p14:tracePt t="17578" x="2927350" y="2701925"/>
          <p14:tracePt t="17579" x="2919413" y="2706688"/>
          <p14:tracePt t="17580" x="2914650" y="2709863"/>
          <p14:tracePt t="17581" x="2906713" y="2709863"/>
          <p14:tracePt t="17582" x="2903538" y="2714625"/>
          <p14:tracePt t="17583" x="2895600" y="2717800"/>
          <p14:tracePt t="17584" x="2886075" y="2722563"/>
          <p14:tracePt t="17585" x="2882900" y="2725738"/>
          <p14:tracePt t="17586" x="2878138" y="2730500"/>
          <p14:tracePt t="17587" x="2870200" y="2730500"/>
          <p14:tracePt t="17588" x="2862263" y="2733675"/>
          <p14:tracePt t="17589" x="2859088" y="2738438"/>
          <p14:tracePt t="17590" x="2854325" y="2741613"/>
          <p14:tracePt t="17591" x="2846388" y="2741613"/>
          <p14:tracePt t="17592" x="2843213" y="2741613"/>
          <p14:tracePt t="17593" x="2835275" y="2746375"/>
          <p14:tracePt t="17594" x="2830513" y="2751138"/>
          <p14:tracePt t="17595" x="2830513" y="2754313"/>
          <p14:tracePt t="17596" x="2827338" y="2759075"/>
          <p14:tracePt t="17597" x="2822575" y="2762250"/>
          <p14:tracePt t="17598" x="2814638" y="2770188"/>
          <p14:tracePt t="17599" x="2811463" y="2774950"/>
          <p14:tracePt t="17600" x="2806700" y="2778125"/>
          <p14:tracePt t="17601" x="2806700" y="2782888"/>
          <p14:tracePt t="17602" x="2803525" y="2786063"/>
          <p14:tracePt t="17603" x="2798763" y="2790825"/>
          <p14:tracePt t="17604" x="2794000" y="2794000"/>
          <p14:tracePt t="17605" x="2790825" y="2794000"/>
          <p14:tracePt t="17606" x="2786063" y="2798763"/>
          <p14:tracePt t="17607" x="2782888" y="2801938"/>
          <p14:tracePt t="17608" x="2778125" y="2809875"/>
          <p14:tracePt t="17609" x="2774950" y="2814638"/>
          <p14:tracePt t="17610" x="2774950" y="2817813"/>
          <p14:tracePt t="17612" x="2774950" y="2825750"/>
          <p14:tracePt t="17613" x="2770188" y="2830513"/>
          <p14:tracePt t="17614" x="2770188" y="2833688"/>
          <p14:tracePt t="17615" x="2767013" y="2838450"/>
          <p14:tracePt t="17616" x="2767013" y="2843213"/>
          <p14:tracePt t="17617" x="2762250" y="2843213"/>
          <p14:tracePt t="17618" x="2759075" y="2851150"/>
          <p14:tracePt t="17619" x="2759075" y="2854325"/>
          <p14:tracePt t="17620" x="2754313" y="2859088"/>
          <p14:tracePt t="17621" x="2754313" y="2862263"/>
          <p14:tracePt t="17622" x="2754313" y="2867025"/>
          <p14:tracePt t="17623" x="2751138" y="2867025"/>
          <p14:tracePt t="17624" x="2751138" y="2874963"/>
          <p14:tracePt t="17625" x="2751138" y="2878138"/>
          <p14:tracePt t="17626" x="2751138" y="2882900"/>
          <p14:tracePt t="17628" x="2746375" y="2890838"/>
          <p14:tracePt t="17629" x="2746375" y="2894013"/>
          <p14:tracePt t="17630" x="2746375" y="2898775"/>
          <p14:tracePt t="17632" x="2746375" y="2901950"/>
          <p14:tracePt t="17633" x="2746375" y="2906713"/>
          <p14:tracePt t="17634" x="2746375" y="2909888"/>
          <p14:tracePt t="17635" x="2746375" y="2914650"/>
          <p14:tracePt t="17636" x="2746375" y="2917825"/>
          <p14:tracePt t="17637" x="2746375" y="2922588"/>
          <p14:tracePt t="17638" x="2746375" y="2930525"/>
          <p14:tracePt t="17639" x="2746375" y="2935288"/>
          <p14:tracePt t="17640" x="2746375" y="2938463"/>
          <p14:tracePt t="17641" x="2746375" y="2943225"/>
          <p14:tracePt t="17642" x="2746375" y="2951163"/>
          <p14:tracePt t="17644" x="2746375" y="2959100"/>
          <p14:tracePt t="17645" x="2746375" y="2962275"/>
          <p14:tracePt t="17646" x="2746375" y="2967038"/>
          <p14:tracePt t="17647" x="2751138" y="2974975"/>
          <p14:tracePt t="17648" x="2751138" y="2978150"/>
          <p14:tracePt t="17649" x="2754313" y="2986088"/>
          <p14:tracePt t="17650" x="2759075" y="2990850"/>
          <p14:tracePt t="17651" x="2759075" y="2998788"/>
          <p14:tracePt t="17652" x="2762250" y="3006725"/>
          <p14:tracePt t="17653" x="2767013" y="3009900"/>
          <p14:tracePt t="17654" x="2770188" y="3019425"/>
          <p14:tracePt t="17655" x="2774950" y="3027363"/>
          <p14:tracePt t="17656" x="2778125" y="3035300"/>
          <p14:tracePt t="17657" x="2782888" y="3038475"/>
          <p14:tracePt t="17658" x="2786063" y="3046413"/>
          <p14:tracePt t="17659" x="2794000" y="3059113"/>
          <p14:tracePt t="17660" x="2798763" y="3067050"/>
          <p14:tracePt t="17661" x="2803525" y="3074988"/>
          <p14:tracePt t="17662" x="2811463" y="3082925"/>
          <p14:tracePt t="17663" x="2819400" y="3090863"/>
          <p14:tracePt t="17664" x="2822575" y="3101975"/>
          <p14:tracePt t="17665" x="2830513" y="3111500"/>
          <p14:tracePt t="17666" x="2843213" y="3119438"/>
          <p14:tracePt t="17667" x="2846388" y="3127375"/>
          <p14:tracePt t="17668" x="2854325" y="3138488"/>
          <p14:tracePt t="17669" x="2859088" y="3146425"/>
          <p14:tracePt t="17670" x="2874963" y="3154363"/>
          <p14:tracePt t="17671" x="2882900" y="3162300"/>
          <p14:tracePt t="17672" x="2886075" y="3175000"/>
          <p14:tracePt t="17673" x="2895600" y="3182938"/>
          <p14:tracePt t="17674" x="2903538" y="3190875"/>
          <p14:tracePt t="17675" x="2919413" y="3203575"/>
          <p14:tracePt t="17676" x="2927350" y="3211513"/>
          <p14:tracePt t="17677" x="2938463" y="3219450"/>
          <p14:tracePt t="17678" x="2946400" y="3227388"/>
          <p14:tracePt t="17680" x="2974975" y="3246438"/>
          <p14:tracePt t="17681" x="2982913" y="3259138"/>
          <p14:tracePt t="17682" x="2995613" y="3267075"/>
          <p14:tracePt t="17683" x="3006725" y="3275013"/>
          <p14:tracePt t="17684" x="3014663" y="3278188"/>
          <p14:tracePt t="17685" x="3038475" y="3295650"/>
          <p14:tracePt t="17686" x="3046413" y="3306763"/>
          <p14:tracePt t="17687" x="3059113" y="3311525"/>
          <p14:tracePt t="17688" x="3071813" y="3319463"/>
          <p14:tracePt t="17689" x="3082925" y="3327400"/>
          <p14:tracePt t="17690" x="3103563" y="3338513"/>
          <p14:tracePt t="17691" x="3114675" y="3343275"/>
          <p14:tracePt t="17692" x="3127375" y="3351213"/>
          <p14:tracePt t="17693" x="3143250" y="3359150"/>
          <p14:tracePt t="17695" x="3175000" y="3370263"/>
          <p14:tracePt t="17697" x="3190875" y="3382963"/>
          <p14:tracePt t="17698" x="3219450" y="3390900"/>
          <p14:tracePt t="17699" x="3230563" y="3395663"/>
          <p14:tracePt t="17700" x="3251200" y="3406775"/>
          <p14:tracePt t="17701" x="3263900" y="3411538"/>
          <p14:tracePt t="17702" x="3275013" y="3414713"/>
          <p14:tracePt t="17703" x="3290888" y="3419475"/>
          <p14:tracePt t="17704" x="3303588" y="3422650"/>
          <p14:tracePt t="17705" x="3319463" y="3427413"/>
          <p14:tracePt t="17706" x="3338513" y="3438525"/>
          <p14:tracePt t="17707" x="3351213" y="3438525"/>
          <p14:tracePt t="17709" x="3367088" y="3443288"/>
          <p14:tracePt t="17709" x="3379788" y="3446463"/>
          <p14:tracePt t="17710" x="3398838" y="3459163"/>
          <p14:tracePt t="17713" x="3435350" y="3467100"/>
          <p14:tracePt t="17714" x="3451225" y="3467100"/>
          <p14:tracePt t="17715" x="3463925" y="3470275"/>
          <p14:tracePt t="17716" x="3482975" y="3479800"/>
          <p14:tracePt t="17717" x="3498850" y="3482975"/>
          <p14:tracePt t="17718" x="3511550" y="3482975"/>
          <p14:tracePt t="17719" x="3527425" y="3487738"/>
          <p14:tracePt t="17720" x="3548063" y="3487738"/>
          <p14:tracePt t="17721" x="3559175" y="3490913"/>
          <p14:tracePt t="17722" x="3567113" y="3490913"/>
          <p14:tracePt t="17723" x="3582988" y="3490913"/>
          <p14:tracePt t="17724" x="3595688" y="3490913"/>
          <p14:tracePt t="17725" x="3603625" y="3495675"/>
          <p14:tracePt t="17726" x="3624263" y="3495675"/>
          <p14:tracePt t="17727" x="3632200" y="3495675"/>
          <p14:tracePt t="17729" x="3651250" y="3495675"/>
          <p14:tracePt t="17730" x="3667125" y="3495675"/>
          <p14:tracePt t="17731" x="3675063" y="3495675"/>
          <p14:tracePt t="17732" x="3683000" y="3495675"/>
          <p14:tracePt t="17733" x="3690938" y="3495675"/>
          <p14:tracePt t="17734" x="3698875" y="3495675"/>
          <p14:tracePt t="17735" x="3708400" y="3495675"/>
          <p14:tracePt t="17736" x="3716338" y="3490913"/>
          <p14:tracePt t="17737" x="3727450" y="3487738"/>
          <p14:tracePt t="17738" x="3735388" y="3487738"/>
          <p14:tracePt t="17739" x="3740150" y="3482975"/>
          <p14:tracePt t="17740" x="3748088" y="3482975"/>
          <p14:tracePt t="17741" x="3756025" y="3479800"/>
          <p14:tracePt t="17742" x="3759200" y="3475038"/>
          <p14:tracePt t="17743" x="3763963" y="3470275"/>
          <p14:tracePt t="17744" x="3763963" y="3467100"/>
          <p14:tracePt t="17745" x="3771900" y="3462338"/>
          <p14:tracePt t="17746" x="3775075" y="3459163"/>
          <p14:tracePt t="17747" x="3779838" y="3454400"/>
          <p14:tracePt t="17748" x="3787775" y="3451225"/>
          <p14:tracePt t="17749" x="3790950" y="3446463"/>
          <p14:tracePt t="17750" x="3795713" y="3443288"/>
          <p14:tracePt t="17751" x="3800475" y="3443288"/>
          <p14:tracePt t="17752" x="3803650" y="3435350"/>
          <p14:tracePt t="17753" x="3808413" y="3430588"/>
          <p14:tracePt t="17754" x="3811588" y="3427413"/>
          <p14:tracePt t="17755" x="3816350" y="3419475"/>
          <p14:tracePt t="17756" x="3819525" y="3414713"/>
          <p14:tracePt t="17757" x="3824288" y="3406775"/>
          <p14:tracePt t="17759" x="3827463" y="3395663"/>
          <p14:tracePt t="17760" x="3832225" y="3390900"/>
          <p14:tracePt t="17762" x="3835400" y="3375025"/>
          <p14:tracePt t="17763" x="3835400" y="3370263"/>
          <p14:tracePt t="17764" x="3840163" y="3362325"/>
          <p14:tracePt t="17765" x="3840163" y="3354388"/>
          <p14:tracePt t="17766" x="3848100" y="3346450"/>
          <p14:tracePt t="17767" x="3851275" y="3338513"/>
          <p14:tracePt t="17768" x="3851275" y="3335338"/>
          <p14:tracePt t="17769" x="3856038" y="3327400"/>
          <p14:tracePt t="17770" x="3856038" y="3322638"/>
          <p14:tracePt t="17771" x="3856038" y="3314700"/>
          <p14:tracePt t="17772" x="3859213" y="3306763"/>
          <p14:tracePt t="17773" x="3859213" y="3298825"/>
          <p14:tracePt t="17774" x="3859213" y="3290888"/>
          <p14:tracePt t="17775" x="3859213" y="3286125"/>
          <p14:tracePt t="17776" x="3859213" y="3275013"/>
          <p14:tracePt t="17777" x="3859213" y="3267075"/>
          <p14:tracePt t="17779" x="3859213" y="3262313"/>
          <p14:tracePt t="17779" x="3859213" y="3254375"/>
          <p14:tracePt t="17780" x="3859213" y="3246438"/>
          <p14:tracePt t="17781" x="3859213" y="3238500"/>
          <p14:tracePt t="17782" x="3859213" y="3230563"/>
          <p14:tracePt t="17783" x="3859213" y="3222625"/>
          <p14:tracePt t="17784" x="3859213" y="3214688"/>
          <p14:tracePt t="17785" x="3859213" y="3211513"/>
          <p14:tracePt t="17786" x="3859213" y="3203575"/>
          <p14:tracePt t="17787" x="3859213" y="3186113"/>
          <p14:tracePt t="17788" x="3859213" y="3182938"/>
          <p14:tracePt t="17789" x="3859213" y="3175000"/>
          <p14:tracePt t="17790" x="3856038" y="3167063"/>
          <p14:tracePt t="17791" x="3856038" y="3159125"/>
          <p14:tracePt t="17792" x="3851275" y="3146425"/>
          <p14:tracePt t="17793" x="3848100" y="3138488"/>
          <p14:tracePt t="17794" x="3848100" y="3135313"/>
          <p14:tracePt t="17795" x="3840163" y="3127375"/>
          <p14:tracePt t="17796" x="3840163" y="3119438"/>
          <p14:tracePt t="17797" x="3835400" y="3101975"/>
          <p14:tracePt t="17798" x="3832225" y="3094038"/>
          <p14:tracePt t="17799" x="3827463" y="3086100"/>
          <p14:tracePt t="17800" x="3824288" y="3074988"/>
          <p14:tracePt t="17802" x="3816350" y="3059113"/>
          <p14:tracePt t="17803" x="3816350" y="3051175"/>
          <p14:tracePt t="17804" x="3808413" y="3046413"/>
          <p14:tracePt t="17805" x="3808413" y="3038475"/>
          <p14:tracePt t="17806" x="3803650" y="3030538"/>
          <p14:tracePt t="17807" x="3790950" y="3022600"/>
          <p14:tracePt t="17809" x="3783013" y="3001963"/>
          <p14:tracePt t="17810" x="3779838" y="2994025"/>
          <p14:tracePt t="17811" x="3775075" y="2986088"/>
          <p14:tracePt t="17812" x="3767138" y="2978150"/>
          <p14:tracePt t="17813" x="3763963" y="2970213"/>
          <p14:tracePt t="17814" x="3751263" y="2962275"/>
          <p14:tracePt t="17815" x="3748088" y="2954338"/>
          <p14:tracePt t="17816" x="3743325" y="2946400"/>
          <p14:tracePt t="17817" x="3740150" y="2943225"/>
          <p14:tracePt t="17818" x="3732213" y="2935288"/>
          <p14:tracePt t="17819" x="3724275" y="2927350"/>
          <p14:tracePt t="17820" x="3719513" y="2917825"/>
          <p14:tracePt t="17821" x="3711575" y="2914650"/>
          <p14:tracePt t="17822" x="3708400" y="2901950"/>
          <p14:tracePt t="17823" x="3695700" y="2894013"/>
          <p14:tracePt t="17824" x="3687763" y="2890838"/>
          <p14:tracePt t="17825" x="3683000" y="2886075"/>
          <p14:tracePt t="17826" x="3675063" y="2882900"/>
          <p14:tracePt t="17827" x="3671888" y="2874963"/>
          <p14:tracePt t="17829" x="3656013" y="2862263"/>
          <p14:tracePt t="17830" x="3651250" y="2859088"/>
          <p14:tracePt t="17831" x="3643313" y="2854325"/>
          <p14:tracePt t="17832" x="3640138" y="2851150"/>
          <p14:tracePt t="17833" x="3632200" y="2846388"/>
          <p14:tracePt t="17834" x="3627438" y="2843213"/>
          <p14:tracePt t="17835" x="3619500" y="2838450"/>
          <p14:tracePt t="17836" x="3616325" y="2833688"/>
          <p14:tracePt t="17837" x="3606800" y="2833688"/>
          <p14:tracePt t="17838" x="3598863" y="2830513"/>
          <p14:tracePt t="17839" x="3595688" y="2825750"/>
          <p14:tracePt t="17840" x="3590925" y="2822575"/>
          <p14:tracePt t="17841" x="3582988" y="2822575"/>
          <p14:tracePt t="17842" x="3579813" y="2817813"/>
          <p14:tracePt t="17843" x="3571875" y="2814638"/>
          <p14:tracePt t="17845" x="3563938" y="2809875"/>
          <p14:tracePt t="17847" x="3556000" y="2806700"/>
          <p14:tracePt t="17848" x="3551238" y="2806700"/>
          <p14:tracePt t="17849" x="3548063" y="2806700"/>
          <p14:tracePt t="17850" x="3543300" y="2806700"/>
          <p14:tracePt t="17851" x="3535363" y="2801938"/>
          <p14:tracePt t="17852" x="3532188" y="2801938"/>
          <p14:tracePt t="17853" x="3527425" y="2801938"/>
          <p14:tracePt t="17855" x="3519488" y="2801938"/>
          <p14:tracePt t="17855" x="3514725" y="2798763"/>
          <p14:tracePt t="17856" x="3511550" y="2798763"/>
          <p14:tracePt t="17857" x="3506788" y="2798763"/>
          <p14:tracePt t="17859" x="3498850" y="2798763"/>
          <p14:tracePt t="17859" x="3495675" y="2798763"/>
          <p14:tracePt t="17861" x="3490913" y="2798763"/>
          <p14:tracePt t="17862" x="3482975" y="2798763"/>
          <p14:tracePt t="17863" x="3479800" y="2798763"/>
          <p14:tracePt t="17864" x="3475038" y="2798763"/>
          <p14:tracePt t="17865" x="3471863" y="2798763"/>
          <p14:tracePt t="17866" x="3463925" y="2798763"/>
          <p14:tracePt t="17867" x="3459163" y="2798763"/>
          <p14:tracePt t="17868" x="3451225" y="2798763"/>
          <p14:tracePt t="17870" x="3443288" y="2798763"/>
          <p14:tracePt t="17871" x="3440113" y="2798763"/>
          <p14:tracePt t="17872" x="3435350" y="2798763"/>
          <p14:tracePt t="17873" x="3430588" y="2798763"/>
          <p14:tracePt t="17874" x="3427413" y="2798763"/>
          <p14:tracePt t="17875" x="3419475" y="2801938"/>
          <p14:tracePt t="17876" x="3414713" y="2806700"/>
          <p14:tracePt t="17877" x="3411538" y="2806700"/>
          <p14:tracePt t="17878" x="3406775" y="2809875"/>
          <p14:tracePt t="17879" x="3398838" y="2814638"/>
          <p14:tracePt t="17880" x="3395663" y="2814638"/>
          <p14:tracePt t="17881" x="3390900" y="2817813"/>
          <p14:tracePt t="17882" x="3382963" y="2822575"/>
          <p14:tracePt t="17883" x="3379788" y="2825750"/>
          <p14:tracePt t="17884" x="3375025" y="2830513"/>
          <p14:tracePt t="17885" x="3371850" y="2838450"/>
          <p14:tracePt t="17886" x="3363913" y="2843213"/>
          <p14:tracePt t="17887" x="3359150" y="2846388"/>
          <p14:tracePt t="17888" x="3355975" y="2851150"/>
          <p14:tracePt t="17889" x="3351213" y="2859088"/>
          <p14:tracePt t="17890" x="3343275" y="2862263"/>
          <p14:tracePt t="17891" x="3338513" y="2870200"/>
          <p14:tracePt t="17892" x="3335338" y="2874963"/>
          <p14:tracePt t="17893" x="3330575" y="2882900"/>
          <p14:tracePt t="17895" x="3322638" y="2898775"/>
          <p14:tracePt t="17896" x="3319463" y="2906713"/>
          <p14:tracePt t="17897" x="3314700" y="2917825"/>
          <p14:tracePt t="17898" x="3311525" y="2927350"/>
          <p14:tracePt t="17899" x="3298825" y="2938463"/>
          <p14:tracePt t="17900" x="3295650" y="2951163"/>
          <p14:tracePt t="17901" x="3290888" y="2959100"/>
          <p14:tracePt t="17902" x="3287713" y="2967038"/>
          <p14:tracePt t="17903" x="3282950" y="2978150"/>
          <p14:tracePt t="17904" x="3279775" y="2994025"/>
          <p14:tracePt t="17905" x="3275013" y="3001963"/>
          <p14:tracePt t="17906" x="3267075" y="3019425"/>
          <p14:tracePt t="17907" x="3267075" y="3027363"/>
          <p14:tracePt t="17909" x="3259138" y="3046413"/>
          <p14:tracePt t="17910" x="3255963" y="3067050"/>
          <p14:tracePt t="17912" x="3251200" y="3090863"/>
          <p14:tracePt t="17913" x="3246438" y="3101975"/>
          <p14:tracePt t="17914" x="3238500" y="3119438"/>
          <p14:tracePt t="17915" x="3238500" y="3130550"/>
          <p14:tracePt t="17916" x="3235325" y="3146425"/>
          <p14:tracePt t="17917" x="3235325" y="3154363"/>
          <p14:tracePt t="17918" x="3230563" y="3167063"/>
          <p14:tracePt t="17919" x="3230563" y="3182938"/>
          <p14:tracePt t="17920" x="3230563" y="3194050"/>
          <p14:tracePt t="17921" x="3230563" y="3211513"/>
          <p14:tracePt t="17922" x="3227388" y="3219450"/>
          <p14:tracePt t="17923" x="3227388" y="3230563"/>
          <p14:tracePt t="17924" x="3227388" y="3246438"/>
          <p14:tracePt t="17925" x="3227388" y="3254375"/>
          <p14:tracePt t="17926" x="3227388" y="3267075"/>
          <p14:tracePt t="17928" x="3227388" y="3282950"/>
          <p14:tracePt t="17929" x="3227388" y="3290888"/>
          <p14:tracePt t="17930" x="3227388" y="3306763"/>
          <p14:tracePt t="17932" x="3230563" y="3327400"/>
          <p14:tracePt t="17933" x="3235325" y="3338513"/>
          <p14:tracePt t="17934" x="3243263" y="3346450"/>
          <p14:tracePt t="17935" x="3246438" y="3354388"/>
          <p14:tracePt t="17936" x="3246438" y="3362325"/>
          <p14:tracePt t="17937" x="3251200" y="3370263"/>
          <p14:tracePt t="17938" x="3255963" y="3378200"/>
          <p14:tracePt t="17939" x="3259138" y="3390900"/>
          <p14:tracePt t="17940" x="3263900" y="3398838"/>
          <p14:tracePt t="17941" x="3267075" y="3406775"/>
          <p14:tracePt t="17942" x="3271838" y="3411538"/>
          <p14:tracePt t="17943" x="3279775" y="3419475"/>
          <p14:tracePt t="17944" x="3282950" y="3422650"/>
          <p14:tracePt t="17945" x="3287713" y="3430588"/>
          <p14:tracePt t="17946" x="3290888" y="3435350"/>
          <p14:tracePt t="17947" x="3295650" y="3443288"/>
          <p14:tracePt t="17948" x="3303588" y="3446463"/>
          <p14:tracePt t="17949" x="3306763" y="3451225"/>
          <p14:tracePt t="17950" x="3311525" y="3454400"/>
          <p14:tracePt t="17951" x="3319463" y="3459163"/>
          <p14:tracePt t="17952" x="3322638" y="3462338"/>
          <p14:tracePt t="17953" x="3327400" y="3462338"/>
          <p14:tracePt t="17954" x="3330575" y="3462338"/>
          <p14:tracePt t="17955" x="3338513" y="3467100"/>
          <p14:tracePt t="17956" x="3338513" y="3470275"/>
          <p14:tracePt t="17957" x="3348038" y="3470275"/>
          <p14:tracePt t="17958" x="3351213" y="3475038"/>
          <p14:tracePt t="17959" x="3355975" y="3475038"/>
          <p14:tracePt t="17960" x="3363913" y="3479800"/>
          <p14:tracePt t="17961" x="3367088" y="3479800"/>
          <p14:tracePt t="17964" x="3379788" y="3479800"/>
          <p14:tracePt t="17965" x="3387725" y="3479800"/>
          <p14:tracePt t="17966" x="3390900" y="3479800"/>
          <p14:tracePt t="17967" x="3395663" y="3479800"/>
          <p14:tracePt t="17968" x="3398838" y="3479800"/>
          <p14:tracePt t="17970" x="3406775" y="3479800"/>
          <p14:tracePt t="17971" x="3411538" y="3479800"/>
          <p14:tracePt t="17973" x="3414713" y="3479800"/>
          <p14:tracePt t="17974" x="3419475" y="3479800"/>
          <p14:tracePt t="17975" x="3422650" y="3479800"/>
          <p14:tracePt t="17976" x="3427413" y="3479800"/>
          <p14:tracePt t="17977" x="3430588" y="3479800"/>
          <p14:tracePt t="17979" x="3435350" y="3475038"/>
          <p14:tracePt t="17981" x="3443288" y="3475038"/>
          <p14:tracePt t="17982" x="3448050" y="3475038"/>
          <p14:tracePt t="17983" x="3448050" y="3470275"/>
          <p14:tracePt t="17984" x="3451225" y="3470275"/>
          <p14:tracePt t="17985" x="3455988" y="3467100"/>
          <p14:tracePt t="17986" x="3459163" y="3462338"/>
          <p14:tracePt t="17987" x="3463925" y="3459163"/>
          <p14:tracePt t="17988" x="3467100" y="3459163"/>
          <p14:tracePt t="17989" x="3467100" y="3454400"/>
          <p14:tracePt t="17990" x="3471863" y="3451225"/>
          <p14:tracePt t="17991" x="3475038" y="3446463"/>
          <p14:tracePt t="17992" x="3479800" y="3443288"/>
          <p14:tracePt t="17993" x="3482975" y="3438525"/>
          <p14:tracePt t="17994" x="3487738" y="3438525"/>
          <p14:tracePt t="17995" x="3487738" y="3435350"/>
          <p14:tracePt t="17996" x="3490913" y="3427413"/>
          <p14:tracePt t="17997" x="3495675" y="3427413"/>
          <p14:tracePt t="17998" x="3495675" y="3422650"/>
          <p14:tracePt t="17999" x="3498850" y="3419475"/>
          <p14:tracePt t="18000" x="3498850" y="3414713"/>
          <p14:tracePt t="18001" x="3503613" y="3411538"/>
          <p14:tracePt t="18002" x="3503613" y="3406775"/>
          <p14:tracePt t="18003" x="3506788" y="3398838"/>
          <p14:tracePt t="18004" x="3506788" y="3395663"/>
          <p14:tracePt t="18005" x="3511550" y="3390900"/>
          <p14:tracePt t="18006" x="3511550" y="3387725"/>
          <p14:tracePt t="18007" x="3514725" y="3382963"/>
          <p14:tracePt t="18008" x="3514725" y="3375025"/>
          <p14:tracePt t="18010" x="3519488" y="3370263"/>
          <p14:tracePt t="18013" x="3524250" y="3359150"/>
          <p14:tracePt t="18014" x="3524250" y="3354388"/>
          <p14:tracePt t="18015" x="3524250" y="3351213"/>
          <p14:tracePt t="18016" x="3524250" y="3343275"/>
          <p14:tracePt t="18017" x="3524250" y="3338513"/>
          <p14:tracePt t="18018" x="3524250" y="3335338"/>
          <p14:tracePt t="18019" x="3527425" y="3330575"/>
          <p14:tracePt t="18020" x="3527425" y="3327400"/>
          <p14:tracePt t="18022" x="3527425" y="3319463"/>
          <p14:tracePt t="18023" x="3527425" y="3314700"/>
          <p14:tracePt t="18024" x="3527425" y="3311525"/>
          <p14:tracePt t="18026" x="3527425" y="3306763"/>
          <p14:tracePt t="18026" x="3527425" y="3303588"/>
          <p14:tracePt t="18028" x="3527425" y="3298825"/>
          <p14:tracePt t="18028" x="3527425" y="3295650"/>
          <p14:tracePt t="18030" x="3527425" y="3290888"/>
          <p14:tracePt t="18031" x="3527425" y="3286125"/>
          <p14:tracePt t="18032" x="3527425" y="3282950"/>
          <p14:tracePt t="18034" x="3527425" y="3278188"/>
          <p14:tracePt t="18036" x="3527425" y="3275013"/>
          <p14:tracePt t="18038" x="3527425" y="3270250"/>
          <p14:tracePt t="18040" x="3524250" y="3267075"/>
          <p14:tracePt t="18042" x="3524250" y="3262313"/>
          <p14:tracePt t="18047" x="3524250" y="3259138"/>
          <p14:tracePt t="18058" x="3519488" y="3259138"/>
          <p14:tracePt t="18079" x="3519488" y="3262313"/>
          <p14:tracePt t="18083" x="3519488" y="3267075"/>
          <p14:tracePt t="18086" x="3519488" y="3270250"/>
          <p14:tracePt t="18087" x="3514725" y="3270250"/>
          <p14:tracePt t="18088" x="3514725" y="3275013"/>
          <p14:tracePt t="18090" x="3514725" y="3278188"/>
          <p14:tracePt t="18093" x="3511550" y="3282950"/>
          <p14:tracePt t="18095" x="3511550" y="3286125"/>
          <p14:tracePt t="18096" x="3506788" y="3290888"/>
          <p14:tracePt t="18097" x="3506788" y="3295650"/>
          <p14:tracePt t="18098" x="3506788" y="3298825"/>
          <p14:tracePt t="18100" x="3503613" y="3303588"/>
          <p14:tracePt t="18101" x="3503613" y="3306763"/>
          <p14:tracePt t="18102" x="3503613" y="3311525"/>
          <p14:tracePt t="18104" x="3503613" y="3319463"/>
          <p14:tracePt t="18106" x="3503613" y="3322638"/>
          <p14:tracePt t="18107" x="3503613" y="3327400"/>
          <p14:tracePt t="18108" x="3498850" y="3330575"/>
          <p14:tracePt t="18109" x="3498850" y="3335338"/>
          <p14:tracePt t="18111" x="3498850" y="3343275"/>
          <p14:tracePt t="18112" x="3498850" y="3346450"/>
          <p14:tracePt t="18113" x="3498850" y="3354388"/>
          <p14:tracePt t="18115" x="3498850" y="3359150"/>
          <p14:tracePt t="18116" x="3498850" y="3362325"/>
          <p14:tracePt t="18118" x="3498850" y="3367088"/>
          <p14:tracePt t="18119" x="3498850" y="3370263"/>
          <p14:tracePt t="18120" x="3498850" y="3375025"/>
          <p14:tracePt t="18121" x="3498850" y="3378200"/>
          <p14:tracePt t="18122" x="3498850" y="3382963"/>
          <p14:tracePt t="18124" x="3498850" y="3387725"/>
          <p14:tracePt t="18125" x="3498850" y="3390900"/>
          <p14:tracePt t="18127" x="3498850" y="3395663"/>
          <p14:tracePt t="18128" x="3498850" y="3398838"/>
          <p14:tracePt t="18130" x="3498850" y="3403600"/>
          <p14:tracePt t="18132" x="3498850" y="3406775"/>
          <p14:tracePt t="18138" x="3503613" y="3406775"/>
          <p14:tracePt t="18139" x="3503613" y="3411538"/>
          <p14:tracePt t="18145" x="3506788" y="3411538"/>
          <p14:tracePt t="18154" x="3511550" y="3411538"/>
          <p14:tracePt t="18172" x="3514725" y="3411538"/>
          <p14:tracePt t="18178" x="3519488" y="3411538"/>
          <p14:tracePt t="18193" x="3535363" y="3390900"/>
          <p14:tracePt t="18195" x="3540125" y="3387725"/>
          <p14:tracePt t="18197" x="3540125" y="3382963"/>
          <p14:tracePt t="18198" x="3543300" y="3382963"/>
          <p14:tracePt t="18201" x="3543300" y="3378200"/>
          <p14:tracePt t="18202" x="3548063" y="3375025"/>
          <p14:tracePt t="18203" x="3548063" y="3370263"/>
          <p14:tracePt t="18205" x="3548063" y="3367088"/>
          <p14:tracePt t="18207" x="3551238" y="3367088"/>
          <p14:tracePt t="18209" x="3551238" y="3362325"/>
          <p14:tracePt t="18210" x="3551238" y="3359150"/>
          <p14:tracePt t="18211" x="3551238" y="3354388"/>
          <p14:tracePt t="18212" x="3551238" y="3351213"/>
          <p14:tracePt t="18214" x="3556000" y="3346450"/>
          <p14:tracePt t="18215" x="3556000" y="3343275"/>
          <p14:tracePt t="18216" x="3556000" y="3338513"/>
          <p14:tracePt t="18218" x="3556000" y="3335338"/>
          <p14:tracePt t="18219" x="3556000" y="3330575"/>
          <p14:tracePt t="18220" x="3556000" y="3327400"/>
          <p14:tracePt t="18222" x="3556000" y="3322638"/>
          <p14:tracePt t="18223" x="3556000" y="3319463"/>
          <p14:tracePt t="18224" x="3556000" y="3314700"/>
          <p14:tracePt t="18225" x="3556000" y="3311525"/>
          <p14:tracePt t="18226" x="3556000" y="3306763"/>
          <p14:tracePt t="18227" x="3556000" y="3303588"/>
          <p14:tracePt t="18229" x="3556000" y="3298825"/>
          <p14:tracePt t="18231" x="3556000" y="3286125"/>
          <p14:tracePt t="18232" x="3556000" y="3282950"/>
          <p14:tracePt t="18234" x="3556000" y="3278188"/>
          <p14:tracePt t="18235" x="3556000" y="3275013"/>
          <p14:tracePt t="18236" x="3556000" y="3270250"/>
          <p14:tracePt t="18237" x="3556000" y="3262313"/>
          <p14:tracePt t="18238" x="3556000" y="3259138"/>
          <p14:tracePt t="18239" x="3551238" y="3254375"/>
          <p14:tracePt t="18240" x="3551238" y="3246438"/>
          <p14:tracePt t="18241" x="3548063" y="3243263"/>
          <p14:tracePt t="18242" x="3548063" y="3235325"/>
          <p14:tracePt t="18243" x="3543300" y="3230563"/>
          <p14:tracePt t="18244" x="3540125" y="3227388"/>
          <p14:tracePt t="18245" x="3540125" y="3222625"/>
          <p14:tracePt t="18246" x="3535363" y="3211513"/>
          <p14:tracePt t="18247" x="3532188" y="3206750"/>
          <p14:tracePt t="18248" x="3527425" y="3198813"/>
          <p14:tracePt t="18250" x="3519488" y="3186113"/>
          <p14:tracePt t="18252" x="3514725" y="3178175"/>
          <p14:tracePt t="18252" x="3511550" y="3175000"/>
          <p14:tracePt t="18253" x="3506788" y="3167063"/>
          <p14:tracePt t="18254" x="3503613" y="3162300"/>
          <p14:tracePt t="18256" x="3490913" y="3146425"/>
          <p14:tracePt t="18257" x="3490913" y="3143250"/>
          <p14:tracePt t="18258" x="3487738" y="3135313"/>
          <p14:tracePt t="18259" x="3482975" y="3135313"/>
          <p14:tracePt t="18260" x="3475038" y="3127375"/>
          <p14:tracePt t="18263" x="3459163" y="3111500"/>
          <p14:tracePt t="18263" x="3451225" y="3101975"/>
          <p14:tracePt t="18265" x="3440113" y="3090863"/>
          <p14:tracePt t="18266" x="3427413" y="3086100"/>
          <p14:tracePt t="18267" x="3422650" y="3082925"/>
          <p14:tracePt t="18268" x="3414713" y="3074988"/>
          <p14:tracePt t="18269" x="3403600" y="3070225"/>
          <p14:tracePt t="18270" x="3395663" y="3059113"/>
          <p14:tracePt t="18271" x="3387725" y="3054350"/>
          <p14:tracePt t="18272" x="3379788" y="3051175"/>
          <p14:tracePt t="18273" x="3371850" y="3046413"/>
          <p14:tracePt t="18274" x="3359150" y="3043238"/>
          <p14:tracePt t="18276" x="3351213" y="3038475"/>
          <p14:tracePt t="18276" x="3343275" y="3035300"/>
          <p14:tracePt t="18278" x="3327400" y="3027363"/>
          <p14:tracePt t="18280" x="3314700" y="3022600"/>
          <p14:tracePt t="18281" x="3306763" y="3019425"/>
          <p14:tracePt t="18282" x="3295650" y="3014663"/>
          <p14:tracePt t="18283" x="3290888" y="3014663"/>
          <p14:tracePt t="18284" x="3282950" y="3009900"/>
          <p14:tracePt t="18286" x="3275013" y="3009900"/>
          <p14:tracePt t="18287" x="3271838" y="3009900"/>
          <p14:tracePt t="18288" x="3267075" y="3006725"/>
          <p14:tracePt t="18289" x="3263900" y="3006725"/>
          <p14:tracePt t="18290" x="3259138" y="3006725"/>
          <p14:tracePt t="18291" x="3255963" y="3006725"/>
          <p14:tracePt t="18292" x="3251200" y="3006725"/>
          <p14:tracePt t="18293" x="3246438" y="3006725"/>
          <p14:tracePt t="18294" x="3243263" y="3006725"/>
          <p14:tracePt t="18295" x="3238500" y="3006725"/>
          <p14:tracePt t="18297" x="3235325" y="3006725"/>
          <p14:tracePt t="18298" x="3230563" y="3006725"/>
          <p14:tracePt t="18300" x="3227388" y="3006725"/>
          <p14:tracePt t="18301" x="3222625" y="3006725"/>
          <p14:tracePt t="18302" x="3219450" y="3006725"/>
          <p14:tracePt t="18304" x="3214688" y="3006725"/>
          <p14:tracePt t="18306" x="3211513" y="3006725"/>
          <p14:tracePt t="18307" x="3206750" y="3006725"/>
          <p14:tracePt t="18309" x="3203575" y="3006725"/>
          <p14:tracePt t="18310" x="3198813" y="3009900"/>
          <p14:tracePt t="18311" x="3198813" y="3014663"/>
          <p14:tracePt t="18312" x="3195638" y="3019425"/>
          <p14:tracePt t="18314" x="3195638" y="3022600"/>
          <p14:tracePt t="18315" x="3190875" y="3027363"/>
          <p14:tracePt t="18316" x="3187700" y="3030538"/>
          <p14:tracePt t="18317" x="3182938" y="3035300"/>
          <p14:tracePt t="18318" x="3182938" y="3038475"/>
          <p14:tracePt t="18319" x="3179763" y="3043238"/>
          <p14:tracePt t="18320" x="3179763" y="3046413"/>
          <p14:tracePt t="18321" x="3175000" y="3046413"/>
          <p14:tracePt t="18322" x="3171825" y="3054350"/>
          <p14:tracePt t="18323" x="3167063" y="3059113"/>
          <p14:tracePt t="18324" x="3167063" y="3067050"/>
          <p14:tracePt t="18325" x="3163888" y="3070225"/>
          <p14:tracePt t="18327" x="3163888" y="3074988"/>
          <p14:tracePt t="18327" x="3159125" y="3082925"/>
          <p14:tracePt t="18328" x="3159125" y="3090863"/>
          <p14:tracePt t="18329" x="3154363" y="3094038"/>
          <p14:tracePt t="18330" x="3154363" y="3101975"/>
          <p14:tracePt t="18331" x="3151188" y="3111500"/>
          <p14:tracePt t="18332" x="3151188" y="3119438"/>
          <p14:tracePt t="18333" x="3146425" y="3127375"/>
          <p14:tracePt t="18334" x="3146425" y="3138488"/>
          <p14:tracePt t="18335" x="3146425" y="3146425"/>
          <p14:tracePt t="18336" x="3143250" y="3154363"/>
          <p14:tracePt t="18337" x="3143250" y="3162300"/>
          <p14:tracePt t="18338" x="3143250" y="3170238"/>
          <p14:tracePt t="18339" x="3138488" y="3178175"/>
          <p14:tracePt t="18340" x="3138488" y="3186113"/>
          <p14:tracePt t="18341" x="3138488" y="3194050"/>
          <p14:tracePt t="18342" x="3138488" y="3211513"/>
          <p14:tracePt t="18344" x="3138488" y="3227388"/>
          <p14:tracePt t="18345" x="3135313" y="3235325"/>
          <p14:tracePt t="18346" x="3135313" y="3243263"/>
          <p14:tracePt t="18347" x="3135313" y="3251200"/>
          <p14:tracePt t="18348" x="3135313" y="3259138"/>
          <p14:tracePt t="18349" x="3135313" y="3267075"/>
          <p14:tracePt t="18350" x="3135313" y="3275013"/>
          <p14:tracePt t="18351" x="3135313" y="3282950"/>
          <p14:tracePt t="18352" x="3135313" y="3290888"/>
          <p14:tracePt t="18353" x="3135313" y="3298825"/>
          <p14:tracePt t="18354" x="3135313" y="3303588"/>
          <p14:tracePt t="18355" x="3135313" y="3311525"/>
          <p14:tracePt t="18356" x="3135313" y="3314700"/>
          <p14:tracePt t="18357" x="3135313" y="3322638"/>
          <p14:tracePt t="18358" x="3135313" y="3327400"/>
          <p14:tracePt t="18359" x="3138488" y="3335338"/>
          <p14:tracePt t="18360" x="3138488" y="3338513"/>
          <p14:tracePt t="18361" x="3138488" y="3343275"/>
          <p14:tracePt t="18362" x="3143250" y="3351213"/>
          <p14:tracePt t="18363" x="3143250" y="3354388"/>
          <p14:tracePt t="18365" x="3146425" y="3359150"/>
          <p14:tracePt t="18366" x="3146425" y="3362325"/>
          <p14:tracePt t="18367" x="3151188" y="3367088"/>
          <p14:tracePt t="18368" x="3151188" y="3370263"/>
          <p14:tracePt t="18369" x="3151188" y="3375025"/>
          <p14:tracePt t="18371" x="3154363" y="3378200"/>
          <p14:tracePt t="18372" x="3159125" y="3382963"/>
          <p14:tracePt t="18373" x="3159125" y="3387725"/>
          <p14:tracePt t="18374" x="3163888" y="3387725"/>
          <p14:tracePt t="18375" x="3163888" y="3390900"/>
          <p14:tracePt t="18377" x="3167063" y="3395663"/>
          <p14:tracePt t="18379" x="3171825" y="3395663"/>
          <p14:tracePt t="18381" x="3175000" y="3398838"/>
          <p14:tracePt t="18382" x="3179763" y="3398838"/>
          <p14:tracePt t="18383" x="3179763" y="3403600"/>
          <p14:tracePt t="18384" x="3182938" y="3403600"/>
          <p14:tracePt t="18387" x="3187700" y="3403600"/>
          <p14:tracePt t="18389" x="3187700" y="3406775"/>
          <p14:tracePt t="18390" x="3190875" y="3406775"/>
          <p14:tracePt t="18396" x="3195638" y="3406775"/>
          <p14:tracePt t="18399" x="3198813" y="3406775"/>
          <p14:tracePt t="18405" x="3203575" y="3406775"/>
          <p14:tracePt t="18411" x="3206750" y="3406775"/>
          <p14:tracePt t="18415" x="3211513" y="3406775"/>
          <p14:tracePt t="18419" x="3214688" y="3406775"/>
          <p14:tracePt t="18422" x="3214688" y="3403600"/>
          <p14:tracePt t="18423" x="3219450" y="3403600"/>
          <p14:tracePt t="18424" x="3219450" y="3398838"/>
          <p14:tracePt t="18428" x="3222625" y="3398838"/>
          <p14:tracePt t="18431" x="3227388" y="3398838"/>
          <p14:tracePt t="18433" x="3230563" y="3398838"/>
          <p14:tracePt t="18435" x="3230563" y="3395663"/>
          <p14:tracePt t="18439" x="3230563" y="3390900"/>
          <p14:tracePt t="18440" x="3235325" y="3390900"/>
          <p14:tracePt t="18441" x="3235325" y="3387725"/>
          <p14:tracePt t="18443" x="3235325" y="3382963"/>
          <p14:tracePt t="18444" x="3238500" y="3382963"/>
          <p14:tracePt t="18445" x="3238500" y="3378200"/>
          <p14:tracePt t="18446" x="3243263" y="3378200"/>
          <p14:tracePt t="18449" x="3246438" y="3378200"/>
          <p14:tracePt t="18450" x="3246438" y="3375025"/>
          <p14:tracePt t="18451" x="3251200" y="3375025"/>
          <p14:tracePt t="18454" x="3251200" y="3370263"/>
          <p14:tracePt t="18455" x="3255963" y="3370263"/>
          <p14:tracePt t="18456" x="3255963" y="3367088"/>
          <p14:tracePt t="18459" x="3259138" y="3362325"/>
          <p14:tracePt t="18461" x="3263900" y="3362325"/>
          <p14:tracePt t="18462" x="3263900" y="3359150"/>
          <p14:tracePt t="18464" x="3267075" y="3359150"/>
          <p14:tracePt t="18468" x="3271838" y="3359150"/>
          <p14:tracePt t="18470" x="3271838" y="3354388"/>
          <p14:tracePt t="18472" x="3275013" y="3354388"/>
          <p14:tracePt t="18473" x="3275013" y="3351213"/>
          <p14:tracePt t="18476" x="3275013" y="3346450"/>
          <p14:tracePt t="18480" x="3275013" y="3343275"/>
          <p14:tracePt t="18483" x="3279775" y="3343275"/>
          <p14:tracePt t="18485" x="3279775" y="3338513"/>
          <p14:tracePt t="18486" x="3282950" y="3338513"/>
          <p14:tracePt t="18488" x="3282950" y="3335338"/>
          <p14:tracePt t="18489" x="3287713" y="3335338"/>
          <p14:tracePt t="18490" x="3287713" y="3330575"/>
          <p14:tracePt t="18492" x="3290888" y="3330575"/>
          <p14:tracePt t="18493" x="3290888" y="3327400"/>
          <p14:tracePt t="18495" x="3295650" y="3322638"/>
          <p14:tracePt t="18498" x="3298825" y="3319463"/>
          <p14:tracePt t="18501" x="3303588" y="3319463"/>
          <p14:tracePt t="18503" x="3303588" y="3314700"/>
          <p14:tracePt t="18504" x="3306763" y="3314700"/>
          <p14:tracePt t="18505" x="3306763" y="3311525"/>
          <p14:tracePt t="18506" x="3311525" y="3311525"/>
          <p14:tracePt t="18507" x="3311525" y="3306763"/>
          <p14:tracePt t="18509" x="3314700" y="3306763"/>
          <p14:tracePt t="18510" x="3314700" y="3303588"/>
          <p14:tracePt t="18512" x="3314700" y="3298825"/>
          <p14:tracePt t="18514" x="3319463" y="3295650"/>
          <p14:tracePt t="18516" x="3322638" y="3290888"/>
          <p14:tracePt t="18518" x="3327400" y="3286125"/>
          <p14:tracePt t="18520" x="3330575" y="3286125"/>
          <p14:tracePt t="18521" x="3330575" y="3282950"/>
          <p14:tracePt t="18522" x="3335338" y="3282950"/>
          <p14:tracePt t="18524" x="3338513" y="3278188"/>
          <p14:tracePt t="18527" x="3343275" y="3278188"/>
          <p14:tracePt t="18528" x="3343275" y="3275013"/>
          <p14:tracePt t="18530" x="3348038" y="3275013"/>
          <p14:tracePt t="18531" x="3348038" y="3270250"/>
          <p14:tracePt t="18532" x="3351213" y="3270250"/>
          <p14:tracePt t="18536" x="3355975" y="3267075"/>
          <p14:tracePt t="18543" x="3359150" y="3262313"/>
          <p14:tracePt t="18549" x="3363913" y="3262313"/>
          <p14:tracePt t="18552" x="3363913" y="3259138"/>
          <p14:tracePt t="18585" x="3367088" y="3259138"/>
          <p14:tracePt t="18593" x="3367088" y="3262313"/>
          <p14:tracePt t="18595" x="3371850" y="3262313"/>
          <p14:tracePt t="18596" x="3371850" y="3267075"/>
          <p14:tracePt t="18599" x="3375025" y="3270250"/>
          <p14:tracePt t="18601" x="3379788" y="3275013"/>
          <p14:tracePt t="18605" x="3382963" y="3278188"/>
          <p14:tracePt t="18607" x="3382963" y="3282950"/>
          <p14:tracePt t="18609" x="3387725" y="3286125"/>
          <p14:tracePt t="18610" x="3390900" y="3286125"/>
          <p14:tracePt t="18611" x="3390900" y="3290888"/>
          <p14:tracePt t="18612" x="3395663" y="3295650"/>
          <p14:tracePt t="18615" x="3395663" y="3298825"/>
          <p14:tracePt t="18617" x="3395663" y="3303588"/>
          <p14:tracePt t="18618" x="3395663" y="3306763"/>
          <p14:tracePt t="18619" x="3398838" y="3306763"/>
          <p14:tracePt t="18620" x="3398838" y="3311525"/>
          <p14:tracePt t="18621" x="3403600" y="3311525"/>
          <p14:tracePt t="18622" x="3403600" y="3314700"/>
          <p14:tracePt t="18625" x="3406775" y="3314700"/>
          <p14:tracePt t="18626" x="3406775" y="3319463"/>
          <p14:tracePt t="18628" x="3411538" y="3322638"/>
          <p14:tracePt t="18629" x="3411538" y="3327400"/>
          <p14:tracePt t="18630" x="3414713" y="3327400"/>
          <p14:tracePt t="18631" x="3414713" y="3330575"/>
          <p14:tracePt t="18633" x="3419475" y="3330575"/>
          <p14:tracePt t="18634" x="3419475" y="3335338"/>
          <p14:tracePt t="18637" x="3419475" y="3338513"/>
          <p14:tracePt t="18638" x="3422650" y="3338513"/>
          <p14:tracePt t="18641" x="3422650" y="3343275"/>
          <p14:tracePt t="18642" x="3427413" y="3343275"/>
          <p14:tracePt t="18645" x="3430588" y="3343275"/>
          <p14:tracePt t="18646" x="3430588" y="3346450"/>
          <p14:tracePt t="18648" x="3435350" y="3346450"/>
          <p14:tracePt t="18649" x="3435350" y="3351213"/>
          <p14:tracePt t="18653" x="3440113" y="3351213"/>
          <p14:tracePt t="18654" x="3440113" y="3354388"/>
          <p14:tracePt t="18655" x="3443288" y="3354388"/>
          <p14:tracePt t="18657" x="3448050" y="3354388"/>
          <p14:tracePt t="18659" x="3451225" y="3354388"/>
          <p14:tracePt t="18661" x="3455988" y="3354388"/>
          <p14:tracePt t="18662" x="3455988" y="3359150"/>
          <p14:tracePt t="18664" x="3459163" y="3359150"/>
          <p14:tracePt t="18666" x="3463925" y="3359150"/>
          <p14:tracePt t="18668" x="3467100" y="3359150"/>
          <p14:tracePt t="18670" x="3471863" y="3359150"/>
          <p14:tracePt t="18673" x="3475038" y="3359150"/>
          <p14:tracePt t="18677" x="3479800" y="3359150"/>
          <p14:tracePt t="18683" x="3482975" y="3359150"/>
          <p14:tracePt t="18685" x="3482975" y="3362325"/>
          <p14:tracePt t="18689" x="3487738" y="3362325"/>
          <p14:tracePt t="18697" x="3490913" y="3362325"/>
          <p14:tracePt t="18808" x="3490913" y="3359150"/>
          <p14:tracePt t="18826" x="3490913" y="3354388"/>
          <p14:tracePt t="18836" x="3490913" y="3351213"/>
          <p14:tracePt t="18838" x="3495675" y="3351213"/>
          <p14:tracePt t="18842" x="3495675" y="3346450"/>
          <p14:tracePt t="18843" x="3498850" y="3346450"/>
          <p14:tracePt t="18846" x="3503613" y="3346450"/>
          <p14:tracePt t="18848" x="3506788" y="3346450"/>
          <p14:tracePt t="18851" x="3511550" y="3346450"/>
          <p14:tracePt t="18852" x="3514725" y="3346450"/>
          <p14:tracePt t="18854" x="3519488" y="3346450"/>
          <p14:tracePt t="18856" x="3524250" y="3346450"/>
          <p14:tracePt t="18857" x="3532188" y="3346450"/>
          <p14:tracePt t="18858" x="3535363" y="3346450"/>
          <p14:tracePt t="18859" x="3540125" y="3346450"/>
          <p14:tracePt t="18860" x="3543300" y="3346450"/>
          <p14:tracePt t="18861" x="3548063" y="3346450"/>
          <p14:tracePt t="18862" x="3556000" y="3346450"/>
          <p14:tracePt t="18863" x="3559175" y="3346450"/>
          <p14:tracePt t="18864" x="3567113" y="3346450"/>
          <p14:tracePt t="18865" x="3571875" y="3346450"/>
          <p14:tracePt t="18867" x="3579813" y="3346450"/>
          <p14:tracePt t="18868" x="3582988" y="3346450"/>
          <p14:tracePt t="18869" x="3590925" y="3346450"/>
          <p14:tracePt t="18870" x="3595688" y="3351213"/>
          <p14:tracePt t="18871" x="3603625" y="3351213"/>
          <p14:tracePt t="18872" x="3611563" y="3351213"/>
          <p14:tracePt t="18877" x="3640138" y="3354388"/>
          <p14:tracePt t="18878" x="3643313" y="3359150"/>
          <p14:tracePt t="18879" x="3651250" y="3359150"/>
          <p14:tracePt t="18880" x="3656013" y="3359150"/>
          <p14:tracePt t="18881" x="3656013" y="3362325"/>
          <p14:tracePt t="18882" x="3659188" y="3362325"/>
          <p14:tracePt t="18883" x="3663950" y="3367088"/>
          <p14:tracePt t="18884" x="3667125" y="3367088"/>
          <p14:tracePt t="18885" x="3671888" y="3367088"/>
          <p14:tracePt t="18886" x="3675063" y="3370263"/>
          <p14:tracePt t="18887" x="3683000" y="3370263"/>
          <p14:tracePt t="18888" x="3687763" y="3375025"/>
          <p14:tracePt t="18889" x="3690938" y="3375025"/>
          <p14:tracePt t="18890" x="3695700" y="3378200"/>
          <p14:tracePt t="18891" x="3698875" y="3378200"/>
          <p14:tracePt t="18894" x="3703638" y="3382963"/>
          <p14:tracePt t="18895" x="3708400" y="3382963"/>
          <p14:tracePt t="18896" x="3708400" y="3387725"/>
          <p14:tracePt t="18897" x="3711575" y="3387725"/>
          <p14:tracePt t="18898" x="3716338" y="3390900"/>
          <p14:tracePt t="18899" x="3719513" y="3390900"/>
          <p14:tracePt t="18901" x="3724275" y="3395663"/>
          <p14:tracePt t="18903" x="3727450" y="3395663"/>
          <p14:tracePt t="18906" x="3732213" y="3395663"/>
          <p14:tracePt t="18907" x="3732213" y="3398838"/>
          <p14:tracePt t="18908" x="3735388" y="3398838"/>
          <p14:tracePt t="18910" x="3735388" y="3403600"/>
          <p14:tracePt t="18913" x="3740150" y="3403600"/>
          <p14:tracePt t="18920" x="3740150" y="3406775"/>
          <p14:tracePt t="18940" x="3740150" y="3411538"/>
          <p14:tracePt t="18944" x="3740150" y="3414713"/>
          <p14:tracePt t="18949" x="3740150" y="3419475"/>
          <p14:tracePt t="18954" x="3740150" y="3422650"/>
          <p14:tracePt t="18957" x="3740150" y="3427413"/>
          <p14:tracePt t="18961" x="3740150" y="3430588"/>
          <p14:tracePt t="18964" x="3740150" y="3435350"/>
          <p14:tracePt t="18968" x="3740150" y="3438525"/>
          <p14:tracePt t="18969" x="3740150" y="3443288"/>
          <p14:tracePt t="18971" x="3740150" y="3446463"/>
          <p14:tracePt t="18973" x="3740150" y="3451225"/>
          <p14:tracePt t="18974" x="3735388" y="3454400"/>
          <p14:tracePt t="18976" x="3735388" y="3459163"/>
          <p14:tracePt t="18978" x="3735388" y="3462338"/>
          <p14:tracePt t="18980" x="3735388" y="3470275"/>
          <p14:tracePt t="18981" x="3735388" y="3475038"/>
          <p14:tracePt t="18983" x="3732213" y="3475038"/>
          <p14:tracePt t="18984" x="3732213" y="3479800"/>
          <p14:tracePt t="18985" x="3732213" y="3482975"/>
          <p14:tracePt t="18986" x="3732213" y="3487738"/>
          <p14:tracePt t="18987" x="3732213" y="3490913"/>
          <p14:tracePt t="18989" x="3727450" y="3495675"/>
          <p14:tracePt t="18990" x="3727450" y="3498850"/>
          <p14:tracePt t="18991" x="3727450" y="3503613"/>
          <p14:tracePt t="18992" x="3727450" y="3506788"/>
          <p14:tracePt t="18994" x="3727450" y="3511550"/>
          <p14:tracePt t="18994" x="3724275" y="3514725"/>
          <p14:tracePt t="18996" x="3724275" y="3519488"/>
          <p14:tracePt t="18997" x="3719513" y="3522663"/>
          <p14:tracePt t="18998" x="3719513" y="3527425"/>
          <p14:tracePt t="18999" x="3719513" y="3530600"/>
          <p14:tracePt t="19000" x="3719513" y="3535363"/>
          <p14:tracePt t="19001" x="3716338" y="3538538"/>
          <p14:tracePt t="19002" x="3716338" y="3543300"/>
          <p14:tracePt t="19003" x="3716338" y="3546475"/>
          <p14:tracePt t="19004" x="3711575" y="3546475"/>
          <p14:tracePt t="19005" x="3711575" y="3554413"/>
          <p14:tracePt t="19006" x="3708400" y="3559175"/>
          <p14:tracePt t="19007" x="3708400" y="3562350"/>
          <p14:tracePt t="19008" x="3703638" y="3562350"/>
          <p14:tracePt t="19011" x="3703638" y="3567113"/>
          <p14:tracePt t="19011" x="3703638" y="3571875"/>
          <p14:tracePt t="19012" x="3703638" y="3575050"/>
          <p14:tracePt t="19014" x="3698875" y="3579813"/>
          <p14:tracePt t="19015" x="3695700" y="3582988"/>
          <p14:tracePt t="19017" x="3690938" y="3587750"/>
          <p14:tracePt t="19018" x="3690938" y="3590925"/>
          <p14:tracePt t="19019" x="3687763" y="3595688"/>
          <p14:tracePt t="19020" x="3683000" y="3595688"/>
          <p14:tracePt t="19021" x="3683000" y="3598863"/>
          <p14:tracePt t="19023" x="3679825" y="3603625"/>
          <p14:tracePt t="19024" x="3675063" y="3603625"/>
          <p14:tracePt t="19026" x="3675063" y="3606800"/>
          <p14:tracePt t="19027" x="3671888" y="3606800"/>
          <p14:tracePt t="19028" x="3667125" y="3611563"/>
          <p14:tracePt t="19029" x="3663950" y="3614738"/>
          <p14:tracePt t="19030" x="3663950" y="3619500"/>
          <p14:tracePt t="19032" x="3659188" y="3619500"/>
          <p14:tracePt t="19033" x="3656013" y="3622675"/>
          <p14:tracePt t="19035" x="3651250" y="3627438"/>
          <p14:tracePt t="19036" x="3648075" y="3627438"/>
          <p14:tracePt t="19037" x="3643313" y="3630613"/>
          <p14:tracePt t="19038" x="3640138" y="3630613"/>
          <p14:tracePt t="19039" x="3635375" y="3635375"/>
          <p14:tracePt t="19040" x="3632200" y="3635375"/>
          <p14:tracePt t="19041" x="3627438" y="3638550"/>
          <p14:tracePt t="19044" x="3624263" y="3643313"/>
          <p14:tracePt t="19045" x="3619500" y="3643313"/>
          <p14:tracePt t="19046" x="3616325" y="3643313"/>
          <p14:tracePt t="19047" x="3611563" y="3643313"/>
          <p14:tracePt t="19048" x="3611563" y="3646488"/>
          <p14:tracePt t="19049" x="3606800" y="3646488"/>
          <p14:tracePt t="19050" x="3603625" y="3646488"/>
          <p14:tracePt t="19051" x="3598863" y="3651250"/>
          <p14:tracePt t="19052" x="3595688" y="3651250"/>
          <p14:tracePt t="19053" x="3590925" y="3651250"/>
          <p14:tracePt t="19054" x="3587750" y="3651250"/>
          <p14:tracePt t="19055" x="3582988" y="3651250"/>
          <p14:tracePt t="19056" x="3582988" y="3654425"/>
          <p14:tracePt t="19058" x="3579813" y="3654425"/>
          <p14:tracePt t="19059" x="3575050" y="3654425"/>
          <p14:tracePt t="19060" x="3571875" y="3654425"/>
          <p14:tracePt t="19062" x="3567113" y="3654425"/>
          <p14:tracePt t="19063" x="3563938" y="3654425"/>
          <p14:tracePt t="19065" x="3559175" y="3654425"/>
          <p14:tracePt t="19066" x="3556000" y="3654425"/>
          <p14:tracePt t="19067" x="3551238" y="3654425"/>
          <p14:tracePt t="19069" x="3548063" y="3654425"/>
          <p14:tracePt t="19070" x="3543300" y="3654425"/>
          <p14:tracePt t="19071" x="3540125" y="3654425"/>
          <p14:tracePt t="19074" x="3535363" y="3654425"/>
          <p14:tracePt t="19076" x="3532188" y="3654425"/>
          <p14:tracePt t="19077" x="3532188" y="3659188"/>
          <p14:tracePt t="19077" x="3527425" y="3659188"/>
          <p14:tracePt t="19078" x="3524250" y="3659188"/>
          <p14:tracePt t="19079" x="3519488" y="3659188"/>
          <p14:tracePt t="19080" x="3514725" y="3659188"/>
          <p14:tracePt t="19082" x="3511550" y="3659188"/>
          <p14:tracePt t="19084" x="3506788" y="3659188"/>
          <p14:tracePt t="19085" x="3503613" y="3659188"/>
          <p14:tracePt t="19087" x="3498850" y="3659188"/>
          <p14:tracePt t="19094" x="3495675" y="3659188"/>
          <p14:tracePt t="19101" x="3495675" y="3654425"/>
          <p14:tracePt t="19107" x="3495675" y="3651250"/>
          <p14:tracePt t="19110" x="3495675" y="3646488"/>
          <p14:tracePt t="19114" x="3495675" y="3643313"/>
          <p14:tracePt t="19115" x="3498850" y="3638550"/>
          <p14:tracePt t="19117" x="3503613" y="3630613"/>
          <p14:tracePt t="19118" x="3506788" y="3627438"/>
          <p14:tracePt t="19119" x="3511550" y="3622675"/>
          <p14:tracePt t="19120" x="3514725" y="3619500"/>
          <p14:tracePt t="19121" x="3519488" y="3614738"/>
          <p14:tracePt t="19122" x="3524250" y="3606800"/>
          <p14:tracePt t="19123" x="3527425" y="3598863"/>
          <p14:tracePt t="19124" x="3532188" y="3595688"/>
          <p14:tracePt t="19126" x="3540125" y="3579813"/>
          <p14:tracePt t="19127" x="3543300" y="3571875"/>
          <p14:tracePt t="19128" x="3548063" y="3559175"/>
          <p14:tracePt t="19129" x="3551238" y="3551238"/>
          <p14:tracePt t="19130" x="3559175" y="3543300"/>
          <p14:tracePt t="19131" x="3563938" y="3535363"/>
          <p14:tracePt t="19132" x="3567113" y="3527425"/>
          <p14:tracePt t="19133" x="3571875" y="3522663"/>
          <p14:tracePt t="19134" x="3575050" y="3514725"/>
          <p14:tracePt t="19136" x="3587750" y="3503613"/>
          <p14:tracePt t="19137" x="3590925" y="3487738"/>
          <p14:tracePt t="19138" x="3595688" y="3487738"/>
          <p14:tracePt t="19139" x="3598863" y="3479800"/>
          <p14:tracePt t="19140" x="3603625" y="3467100"/>
          <p14:tracePt t="19141" x="3606800" y="3462338"/>
          <p14:tracePt t="19142" x="3611563" y="3454400"/>
          <p14:tracePt t="19143" x="3616325" y="3454400"/>
          <p14:tracePt t="19144" x="3619500" y="3451225"/>
          <p14:tracePt t="19145" x="3619500" y="3446463"/>
          <p14:tracePt t="19146" x="3624263" y="3438525"/>
          <p14:tracePt t="19148" x="3627438" y="3430588"/>
          <p14:tracePt t="19149" x="3632200" y="3430588"/>
          <p14:tracePt t="19150" x="3632200" y="3427413"/>
          <p14:tracePt t="19151" x="3635375" y="3427413"/>
          <p14:tracePt t="19152" x="3635375" y="3422650"/>
          <p14:tracePt t="19154" x="3640138" y="3419475"/>
          <p14:tracePt t="19156" x="3643313" y="3419475"/>
          <p14:tracePt t="19158" x="3648075" y="3419475"/>
          <p14:tracePt t="19160" x="3651250" y="3419475"/>
          <p14:tracePt t="19162" x="3656013" y="3414713"/>
          <p14:tracePt t="19163" x="3659188" y="3414713"/>
          <p14:tracePt t="19164" x="3659188" y="3411538"/>
          <p14:tracePt t="19165" x="3663950" y="3411538"/>
          <p14:tracePt t="19167" x="3667125" y="3406775"/>
          <p14:tracePt t="19168" x="3671888" y="3406775"/>
          <p14:tracePt t="19169" x="3675063" y="3403600"/>
          <p14:tracePt t="19170" x="3679825" y="3403600"/>
          <p14:tracePt t="19171" x="3683000" y="3398838"/>
          <p14:tracePt t="19172" x="3690938" y="3398838"/>
          <p14:tracePt t="19173" x="3698875" y="3395663"/>
          <p14:tracePt t="19174" x="3703638" y="3390900"/>
          <p14:tracePt t="19175" x="3711575" y="3390900"/>
          <p14:tracePt t="19176" x="3719513" y="3387725"/>
          <p14:tracePt t="19177" x="3727450" y="3382963"/>
          <p14:tracePt t="19178" x="3743325" y="3382963"/>
          <p14:tracePt t="19179" x="3751263" y="3378200"/>
          <p14:tracePt t="19180" x="3759200" y="3375025"/>
          <p14:tracePt t="19181" x="3767138" y="3375025"/>
          <p14:tracePt t="19182" x="3775075" y="3370263"/>
          <p14:tracePt t="19183" x="3790950" y="3367088"/>
          <p14:tracePt t="19184" x="3808413" y="3362325"/>
          <p14:tracePt t="19185" x="3816350" y="3359150"/>
          <p14:tracePt t="19186" x="3827463" y="3359150"/>
          <p14:tracePt t="19187" x="3835400" y="3351213"/>
          <p14:tracePt t="19188" x="3856038" y="3346450"/>
          <p14:tracePt t="19189" x="3871913" y="3346450"/>
          <p14:tracePt t="19190" x="3879850" y="3343275"/>
          <p14:tracePt t="19191" x="3892550" y="3338513"/>
          <p14:tracePt t="19192" x="3908425" y="3335338"/>
          <p14:tracePt t="19193" x="3927475" y="3335338"/>
          <p14:tracePt t="19194" x="3940175" y="3330575"/>
          <p14:tracePt t="19195" x="3956050" y="3322638"/>
          <p14:tracePt t="19196" x="3967163" y="3319463"/>
          <p14:tracePt t="19197" x="3987800" y="3319463"/>
          <p14:tracePt t="19198" x="4008438" y="3314700"/>
          <p14:tracePt t="19199" x="4019550" y="3311525"/>
          <p14:tracePt t="19200" x="4040188" y="3311525"/>
          <p14:tracePt t="19201" x="4056063" y="3311525"/>
          <p14:tracePt t="19202" x="4068763" y="3306763"/>
          <p14:tracePt t="19203" x="4084638" y="3306763"/>
          <p14:tracePt t="19204" x="4100513" y="3298825"/>
          <p14:tracePt t="19205" x="4116388" y="3298825"/>
          <p14:tracePt t="19206" x="4127500" y="3295650"/>
          <p14:tracePt t="19207" x="4143375" y="3295650"/>
          <p14:tracePt t="19208" x="4156075" y="3295650"/>
          <p14:tracePt t="19209" x="4164013" y="3295650"/>
          <p14:tracePt t="19210" x="4171950" y="3290888"/>
          <p14:tracePt t="19212" x="4179888" y="3290888"/>
          <p14:tracePt t="19213" x="4187825" y="3290888"/>
          <p14:tracePt t="19214" x="4192588" y="3290888"/>
          <p14:tracePt t="19220" x="4192588" y="3286125"/>
          <p14:tracePt t="19229" x="4187825" y="3286125"/>
          <p14:tracePt t="19232" x="4184650" y="3286125"/>
          <p14:tracePt t="19235" x="4184650" y="3282950"/>
          <p14:tracePt t="19236" x="4179888" y="3282950"/>
          <p14:tracePt t="19238" x="4176713" y="3282950"/>
          <p14:tracePt t="19239" x="4171950" y="3278188"/>
          <p14:tracePt t="19240" x="4168775" y="3278188"/>
          <p14:tracePt t="19241" x="4164013" y="3278188"/>
          <p14:tracePt t="19242" x="4160838" y="3278188"/>
          <p14:tracePt t="19243" x="4156075" y="3278188"/>
          <p14:tracePt t="19244" x="4148138" y="3275013"/>
          <p14:tracePt t="19245" x="4143375" y="3275013"/>
          <p14:tracePt t="19246" x="4140200" y="3270250"/>
          <p14:tracePt t="19247" x="4135438" y="3270250"/>
          <p14:tracePt t="19248" x="4135438" y="3267075"/>
          <p14:tracePt t="19249" x="4132263" y="3262313"/>
          <p14:tracePt t="19250" x="4124325" y="3259138"/>
          <p14:tracePt t="19251" x="4119563" y="3259138"/>
          <p14:tracePt t="19252" x="4116388" y="3254375"/>
          <p14:tracePt t="19253" x="4111625" y="3251200"/>
          <p14:tracePt t="19254" x="4103688" y="3246438"/>
          <p14:tracePt t="19255" x="4100513" y="3243263"/>
          <p14:tracePt t="19256" x="4095750" y="3243263"/>
          <p14:tracePt t="19257" x="4087813" y="3238500"/>
          <p14:tracePt t="19258" x="4084638" y="3235325"/>
          <p14:tracePt t="19259" x="4079875" y="3230563"/>
          <p14:tracePt t="19260" x="4076700" y="3227388"/>
          <p14:tracePt t="19261" x="4068763" y="3222625"/>
          <p14:tracePt t="19262" x="4064000" y="3219450"/>
          <p14:tracePt t="19264" x="4056063" y="3214688"/>
          <p14:tracePt t="19265" x="4051300" y="3211513"/>
          <p14:tracePt t="19266" x="4043363" y="3206750"/>
          <p14:tracePt t="19267" x="4040188" y="3203575"/>
          <p14:tracePt t="19268" x="4035425" y="3198813"/>
          <p14:tracePt t="19269" x="4027488" y="3194050"/>
          <p14:tracePt t="19270" x="4019550" y="3186113"/>
          <p14:tracePt t="19271" x="4016375" y="3182938"/>
          <p14:tracePt t="19272" x="4008438" y="3178175"/>
          <p14:tracePt t="19273" x="3995738" y="3167063"/>
          <p14:tracePt t="19274" x="3987800" y="3162300"/>
          <p14:tracePt t="19276" x="3979863" y="3154363"/>
          <p14:tracePt t="19276" x="3971925" y="3151188"/>
          <p14:tracePt t="19277" x="3967163" y="3143250"/>
          <p14:tracePt t="19279" x="3956050" y="3138488"/>
          <p14:tracePt t="19279" x="3948113" y="3130550"/>
          <p14:tracePt t="19280" x="3940175" y="3122613"/>
          <p14:tracePt t="19281" x="3932238" y="3114675"/>
          <p14:tracePt t="19282" x="3919538" y="3111500"/>
          <p14:tracePt t="19283" x="3911600" y="3106738"/>
          <p14:tracePt t="19284" x="3903663" y="3094038"/>
          <p14:tracePt t="19285" x="3895725" y="3086100"/>
          <p14:tracePt t="19286" x="3887788" y="3082925"/>
          <p14:tracePt t="19287" x="3875088" y="3074988"/>
          <p14:tracePt t="19288" x="3867150" y="3067050"/>
          <p14:tracePt t="19289" x="3851275" y="3059113"/>
          <p14:tracePt t="19290" x="3840163" y="3051175"/>
          <p14:tracePt t="19291" x="3832225" y="3043238"/>
          <p14:tracePt t="19292" x="3819525" y="3030538"/>
          <p14:tracePt t="19293" x="3811588" y="3027363"/>
          <p14:tracePt t="19294" x="3803650" y="3019425"/>
          <p14:tracePt t="19295" x="3787775" y="3009900"/>
          <p14:tracePt t="19296" x="3779838" y="2998788"/>
          <p14:tracePt t="19297" x="3763963" y="2994025"/>
          <p14:tracePt t="19298" x="3756025" y="2986088"/>
          <p14:tracePt t="19299" x="3748088" y="2978150"/>
          <p14:tracePt t="19300" x="3732213" y="2967038"/>
          <p14:tracePt t="19301" x="3719513" y="2959100"/>
          <p14:tracePt t="19302" x="3708400" y="2951163"/>
          <p14:tracePt t="19303" x="3695700" y="2943225"/>
          <p14:tracePt t="19304" x="3687763" y="2935288"/>
          <p14:tracePt t="19305" x="3675063" y="2927350"/>
          <p14:tracePt t="19306" x="3656013" y="2914650"/>
          <p14:tracePt t="19307" x="3648075" y="2906713"/>
          <p14:tracePt t="19308" x="3640138" y="2901950"/>
          <p14:tracePt t="19309" x="3624263" y="2894013"/>
          <p14:tracePt t="19310" x="3611563" y="2882900"/>
          <p14:tracePt t="19311" x="3598863" y="2874963"/>
          <p14:tracePt t="19312" x="3587750" y="2870200"/>
          <p14:tracePt t="19313" x="3579813" y="2859088"/>
          <p14:tracePt t="19314" x="3563938" y="2851150"/>
          <p14:tracePt t="19315" x="3548063" y="2846388"/>
          <p14:tracePt t="19316" x="3540125" y="2838450"/>
          <p14:tracePt t="19317" x="3527425" y="2825750"/>
          <p14:tracePt t="19318" x="3514725" y="2822575"/>
          <p14:tracePt t="19319" x="3506788" y="2814638"/>
          <p14:tracePt t="19320" x="3495675" y="2801938"/>
          <p14:tracePt t="19321" x="3479800" y="2798763"/>
          <p14:tracePt t="19322" x="3471863" y="2790825"/>
          <p14:tracePt t="19323" x="3463925" y="2786063"/>
          <p14:tracePt t="19324" x="3451225" y="2782888"/>
          <p14:tracePt t="19325" x="3443288" y="2774950"/>
          <p14:tracePt t="19326" x="3430588" y="2767013"/>
          <p14:tracePt t="19327" x="3414713" y="2759075"/>
          <p14:tracePt t="19329" x="3406775" y="2754313"/>
          <p14:tracePt t="19329" x="3398838" y="2751138"/>
          <p14:tracePt t="19330" x="3387725" y="2738438"/>
          <p14:tracePt t="19331" x="3375025" y="2733675"/>
          <p14:tracePt t="19332" x="3367088" y="2730500"/>
          <p14:tracePt t="19333" x="3355975" y="2725738"/>
          <p14:tracePt t="19334" x="3348038" y="2717800"/>
          <p14:tracePt t="19335" x="3338513" y="2714625"/>
          <p14:tracePt t="19336" x="3330575" y="2701925"/>
          <p14:tracePt t="19337" x="3322638" y="2698750"/>
          <p14:tracePt t="19338" x="3311525" y="2693988"/>
          <p14:tracePt t="19339" x="3303588" y="2690813"/>
          <p14:tracePt t="19340" x="3295650" y="2686050"/>
          <p14:tracePt t="19341" x="3279775" y="2682875"/>
          <p14:tracePt t="19342" x="3271838" y="2678113"/>
          <p14:tracePt t="19343" x="3263900" y="2674938"/>
          <p14:tracePt t="19344" x="3259138" y="2674938"/>
          <p14:tracePt t="19346" x="3251200" y="2670175"/>
          <p14:tracePt t="19346" x="3243263" y="2667000"/>
          <p14:tracePt t="19347" x="3238500" y="2662238"/>
          <p14:tracePt t="19348" x="3230563" y="2659063"/>
          <p14:tracePt t="19349" x="3227388" y="2654300"/>
          <p14:tracePt t="19350" x="3219450" y="2649538"/>
          <p14:tracePt t="19351" x="3214688" y="2646363"/>
          <p14:tracePt t="19352" x="3206750" y="2646363"/>
          <p14:tracePt t="19353" x="3203575" y="2641600"/>
          <p14:tracePt t="19354" x="3198813" y="2638425"/>
          <p14:tracePt t="19355" x="3198813" y="2633663"/>
          <p14:tracePt t="19356" x="3190875" y="2633663"/>
          <p14:tracePt t="19357" x="3187700" y="2630488"/>
          <p14:tracePt t="19358" x="3182938" y="2630488"/>
          <p14:tracePt t="19359" x="3179763" y="2625725"/>
          <p14:tracePt t="19360" x="3171825" y="2625725"/>
          <p14:tracePt t="19361" x="3167063" y="2622550"/>
          <p14:tracePt t="19362" x="3163888" y="2622550"/>
          <p14:tracePt t="19363" x="3159125" y="2622550"/>
          <p14:tracePt t="19364" x="3154363" y="2622550"/>
          <p14:tracePt t="19365" x="3151188" y="2617788"/>
          <p14:tracePt t="19368" x="3146425" y="2614613"/>
          <p14:tracePt t="19370" x="3143250" y="2614613"/>
          <p14:tracePt t="19371" x="3138488" y="2614613"/>
          <p14:tracePt t="19372" x="3135313" y="2614613"/>
          <p14:tracePt t="19374" x="3130550" y="2614613"/>
          <p14:tracePt t="19376" x="3130550" y="2609850"/>
          <p14:tracePt t="19376" x="3127375" y="2609850"/>
          <p14:tracePt t="19377" x="3122613" y="2609850"/>
          <p14:tracePt t="19379" x="3119438" y="2609850"/>
          <p14:tracePt t="19381" x="3114675" y="2609850"/>
          <p14:tracePt t="19383" x="3111500" y="2609850"/>
          <p14:tracePt t="19385" x="3111500" y="2606675"/>
          <p14:tracePt t="19387" x="3106738" y="2606675"/>
          <p14:tracePt t="19389" x="3103563" y="2606675"/>
          <p14:tracePt t="19391" x="3098800" y="2606675"/>
          <p14:tracePt t="19392" x="3095625" y="2606675"/>
          <p14:tracePt t="19394" x="3090863" y="2606675"/>
          <p14:tracePt t="19395" x="3087688" y="2606675"/>
          <p14:tracePt t="19397" x="3082925" y="2606675"/>
          <p14:tracePt t="19398" x="3079750" y="2606675"/>
          <p14:tracePt t="19399" x="3074988" y="2606675"/>
          <p14:tracePt t="19400" x="3071813" y="2606675"/>
          <p14:tracePt t="19402" x="3067050" y="2606675"/>
          <p14:tracePt t="19404" x="3062288" y="2606675"/>
          <p14:tracePt t="19405" x="3059113" y="2606675"/>
          <p14:tracePt t="19406" x="3054350" y="2606675"/>
          <p14:tracePt t="19407" x="3051175" y="2606675"/>
          <p14:tracePt t="19408" x="3043238" y="2606675"/>
          <p14:tracePt t="19409" x="3038475" y="2606675"/>
          <p14:tracePt t="19410" x="3035300" y="2606675"/>
          <p14:tracePt t="19411" x="3027363" y="2606675"/>
          <p14:tracePt t="19412" x="3022600" y="2609850"/>
          <p14:tracePt t="19413" x="3014663" y="2609850"/>
          <p14:tracePt t="19415" x="3011488" y="2614613"/>
          <p14:tracePt t="19416" x="3003550" y="2614613"/>
          <p14:tracePt t="19417" x="2998788" y="2617788"/>
          <p14:tracePt t="19418" x="2990850" y="2617788"/>
          <p14:tracePt t="19419" x="2982913" y="2617788"/>
          <p14:tracePt t="19420" x="2974975" y="2622550"/>
          <p14:tracePt t="19421" x="2970213" y="2622550"/>
          <p14:tracePt t="19422" x="2959100" y="2625725"/>
          <p14:tracePt t="19423" x="2954338" y="2625725"/>
          <p14:tracePt t="19424" x="2946400" y="2630488"/>
          <p14:tracePt t="19425" x="2938463" y="2630488"/>
          <p14:tracePt t="19426" x="2935288" y="2633663"/>
          <p14:tracePt t="19427" x="2927350" y="2633663"/>
          <p14:tracePt t="19428" x="2911475" y="2638425"/>
          <p14:tracePt t="19429" x="2903538" y="2638425"/>
          <p14:tracePt t="19430" x="2895600" y="2638425"/>
          <p14:tracePt t="19431" x="2886075" y="2641600"/>
          <p14:tracePt t="19432" x="2878138" y="2641600"/>
          <p14:tracePt t="19433" x="2862263" y="2646363"/>
          <p14:tracePt t="19434" x="2854325" y="2646363"/>
          <p14:tracePt t="19435" x="2846388" y="2649538"/>
          <p14:tracePt t="19436" x="2838450" y="2649538"/>
          <p14:tracePt t="19437" x="2830513" y="2649538"/>
          <p14:tracePt t="19438" x="2819400" y="2654300"/>
          <p14:tracePt t="19439" x="2803525" y="2654300"/>
          <p14:tracePt t="19440" x="2794000" y="2654300"/>
          <p14:tracePt t="19441" x="2786063" y="2654300"/>
          <p14:tracePt t="19442" x="2774950" y="2654300"/>
          <p14:tracePt t="19443" x="2762250" y="2659063"/>
          <p14:tracePt t="19444" x="2751138" y="2659063"/>
          <p14:tracePt t="19445" x="2738438" y="2659063"/>
          <p14:tracePt t="19446" x="2730500" y="2659063"/>
          <p14:tracePt t="19447" x="2714625" y="2659063"/>
          <p14:tracePt t="19448" x="2701925" y="2659063"/>
          <p14:tracePt t="19449" x="2686050" y="2659063"/>
          <p14:tracePt t="19450" x="2678113" y="2659063"/>
          <p14:tracePt t="19451" x="2667000" y="2659063"/>
          <p14:tracePt t="19452" x="2651125" y="2659063"/>
          <p14:tracePt t="19453" x="2643188" y="2659063"/>
          <p14:tracePt t="19454" x="2627313" y="2659063"/>
          <p14:tracePt t="19455" x="2617788" y="2659063"/>
          <p14:tracePt t="19456" x="2601913" y="2659063"/>
          <p14:tracePt t="19457" x="2593975" y="2659063"/>
          <p14:tracePt t="19458" x="2582863" y="2659063"/>
          <p14:tracePt t="19459" x="2566988" y="2654300"/>
          <p14:tracePt t="19460" x="2559050" y="2654300"/>
          <p14:tracePt t="19461" x="2551113" y="2649538"/>
          <p14:tracePt t="19462" x="2543175" y="2649538"/>
          <p14:tracePt t="19463" x="2525713" y="2646363"/>
          <p14:tracePt t="19464" x="2517775" y="2646363"/>
          <p14:tracePt t="19465" x="2509838" y="2646363"/>
          <p14:tracePt t="19466" x="2501900" y="2641600"/>
          <p14:tracePt t="19467" x="2493963" y="2641600"/>
          <p14:tracePt t="19468" x="2486025" y="2641600"/>
          <p14:tracePt t="19469" x="2470150" y="2638425"/>
          <p14:tracePt t="19470" x="2462213" y="2638425"/>
          <p14:tracePt t="19471" x="2459038" y="2633663"/>
          <p14:tracePt t="19472" x="2451100" y="2633663"/>
          <p14:tracePt t="19473" x="2443163" y="2630488"/>
          <p14:tracePt t="19474" x="2433638" y="2630488"/>
          <p14:tracePt t="19476" x="2422525" y="2630488"/>
          <p14:tracePt t="19477" x="2417763" y="2625725"/>
          <p14:tracePt t="19479" x="2409825" y="2625725"/>
          <p14:tracePt t="19480" x="2406650" y="2622550"/>
          <p14:tracePt t="19481" x="2401888" y="2622550"/>
          <p14:tracePt t="19482" x="2393950" y="2617788"/>
          <p14:tracePt t="19483" x="2390775" y="2617788"/>
          <p14:tracePt t="19484" x="2386013" y="2617788"/>
          <p14:tracePt t="19485" x="2382838" y="2614613"/>
          <p14:tracePt t="19486" x="2378075" y="2614613"/>
          <p14:tracePt t="19487" x="2374900" y="2614613"/>
          <p14:tracePt t="19488" x="2370138" y="2609850"/>
          <p14:tracePt t="19489" x="2366963" y="2609850"/>
          <p14:tracePt t="19490" x="2362200" y="2609850"/>
          <p14:tracePt t="19491" x="2362200" y="2606675"/>
          <p14:tracePt t="19494" x="2354263" y="2606675"/>
          <p14:tracePt t="19496" x="2351088" y="2601913"/>
          <p14:tracePt t="19498" x="2346325" y="2601913"/>
          <p14:tracePt t="19499" x="2341563" y="2601913"/>
          <p14:tracePt t="19501" x="2338388" y="2598738"/>
          <p14:tracePt t="19503" x="2333625" y="2598738"/>
          <p14:tracePt t="19505" x="2330450" y="2598738"/>
          <p14:tracePt t="19506" x="2330450" y="2593975"/>
          <p14:tracePt t="19508" x="2325688" y="2593975"/>
          <p14:tracePt t="19510" x="2322513" y="2590800"/>
          <p14:tracePt t="19514" x="2322513" y="2586038"/>
          <p14:tracePt t="19515" x="2317750" y="2586038"/>
          <p14:tracePt t="19518" x="2314575" y="2586038"/>
          <p14:tracePt t="19521" x="2309813" y="2586038"/>
          <p14:tracePt t="19526" x="2306638" y="2586038"/>
          <p14:tracePt t="19527" x="2301875" y="2586038"/>
          <p14:tracePt t="19530" x="2298700" y="2586038"/>
          <p14:tracePt t="19533" x="2293938" y="2586038"/>
          <p14:tracePt t="19536" x="2290763" y="2586038"/>
          <p14:tracePt t="19538" x="2286000" y="2586038"/>
          <p14:tracePt t="19539" x="2286000" y="2582863"/>
          <p14:tracePt t="19540" x="2282825" y="2582863"/>
          <p14:tracePt t="19543" x="2282825" y="2578100"/>
          <p14:tracePt t="19546" x="2278063" y="2578100"/>
          <p14:tracePt t="19548" x="2274888" y="2578100"/>
          <p14:tracePt t="19551" x="2274888" y="2574925"/>
          <p14:tracePt t="19552" x="2270125" y="2574925"/>
          <p14:tracePt t="19554" x="2266950" y="2574925"/>
          <p14:tracePt t="19557" x="2262188" y="2570163"/>
          <p14:tracePt t="19561" x="2262188" y="2566988"/>
          <p14:tracePt t="19562" x="2259013" y="2566988"/>
          <p14:tracePt t="19564" x="2259013" y="2562225"/>
          <p14:tracePt t="19565" x="2254250" y="2562225"/>
          <p14:tracePt t="19566" x="2254250" y="2557463"/>
          <p14:tracePt t="19567" x="2249488" y="2557463"/>
          <p14:tracePt t="19568" x="2249488" y="2554288"/>
          <p14:tracePt t="19569" x="2246313" y="2554288"/>
          <p14:tracePt t="19570" x="2241550" y="2549525"/>
          <p14:tracePt t="19572" x="2241550" y="2546350"/>
          <p14:tracePt t="19574" x="2238375" y="2546350"/>
          <p14:tracePt t="19576" x="2233613" y="2541588"/>
          <p14:tracePt t="19577" x="2233613" y="2538413"/>
          <p14:tracePt t="19577" x="2230438" y="2538413"/>
          <p14:tracePt t="19578" x="2230438" y="2533650"/>
          <p14:tracePt t="19579" x="2225675" y="2533650"/>
          <p14:tracePt t="19580" x="2225675" y="2530475"/>
          <p14:tracePt t="19581" x="2222500" y="2530475"/>
          <p14:tracePt t="19582" x="2217738" y="2525713"/>
          <p14:tracePt t="19583" x="2217738" y="2522538"/>
          <p14:tracePt t="19584" x="2214563" y="2517775"/>
          <p14:tracePt t="19585" x="2209800" y="2517775"/>
          <p14:tracePt t="19586" x="2209800" y="2514600"/>
          <p14:tracePt t="19587" x="2206625" y="2509838"/>
          <p14:tracePt t="19588" x="2201863" y="2509838"/>
          <p14:tracePt t="19589" x="2201863" y="2506663"/>
          <p14:tracePt t="19591" x="2198688" y="2501900"/>
          <p14:tracePt t="19592" x="2198688" y="2498725"/>
          <p14:tracePt t="19593" x="2193925" y="2498725"/>
          <p14:tracePt t="19595" x="2193925" y="2493963"/>
          <p14:tracePt t="19595" x="2190750" y="2493963"/>
          <p14:tracePt t="19597" x="2185988" y="2490788"/>
          <p14:tracePt t="19598" x="2182813" y="2486025"/>
          <p14:tracePt t="19599" x="2178050" y="2482850"/>
          <p14:tracePt t="19601" x="2174875" y="2478088"/>
          <p14:tracePt t="19602" x="2174875" y="2474913"/>
          <p14:tracePt t="19603" x="2170113" y="2474913"/>
          <p14:tracePt t="19605" x="2165350" y="2470150"/>
          <p14:tracePt t="19606" x="2162175" y="2470150"/>
          <p14:tracePt t="19607" x="2162175" y="2465388"/>
          <p14:tracePt t="19608" x="2157413" y="2465388"/>
          <p14:tracePt t="19612" x="2154238" y="2462213"/>
          <p14:tracePt t="19614" x="2154238" y="2457450"/>
          <p14:tracePt t="19615" x="2149475" y="2457450"/>
          <p14:tracePt t="19617" x="2146300" y="2457450"/>
          <p14:tracePt t="19618" x="2146300" y="2454275"/>
          <p14:tracePt t="19620" x="2141538" y="2454275"/>
          <p14:tracePt t="19621" x="2138363" y="2454275"/>
          <p14:tracePt t="19623" x="2133600" y="2449513"/>
          <p14:tracePt t="19624" x="2130425" y="2449513"/>
          <p14:tracePt t="19626" x="2130425" y="2446338"/>
          <p14:tracePt t="19626" x="2125663" y="2446338"/>
          <p14:tracePt t="19628" x="2122488" y="2446338"/>
          <p14:tracePt t="19629" x="2122488" y="2441575"/>
          <p14:tracePt t="19630" x="2117725" y="2441575"/>
          <p14:tracePt t="19632" x="2117725" y="2438400"/>
          <p14:tracePt t="19634" x="2114550" y="2438400"/>
          <p14:tracePt t="19635" x="2109788" y="2438400"/>
          <p14:tracePt t="19637" x="2106613" y="2438400"/>
          <p14:tracePt t="19638" x="2101850" y="2438400"/>
          <p14:tracePt t="19640" x="2098675" y="2433638"/>
          <p14:tracePt t="19642" x="2093913" y="2433638"/>
          <p14:tracePt t="19644" x="2085975" y="2433638"/>
          <p14:tracePt t="19646" x="2082800" y="2433638"/>
          <p14:tracePt t="19647" x="2078038" y="2433638"/>
          <p14:tracePt t="19650" x="2073275" y="2433638"/>
          <p14:tracePt t="19652" x="2065338" y="2433638"/>
          <p14:tracePt t="19654" x="2062163" y="2433638"/>
          <p14:tracePt t="19655" x="2057400" y="2433638"/>
          <p14:tracePt t="19656" x="2054225" y="2433638"/>
          <p14:tracePt t="19658" x="2046288" y="2433638"/>
          <p14:tracePt t="19660" x="2041525" y="2433638"/>
          <p14:tracePt t="19661" x="2038350" y="2433638"/>
          <p14:tracePt t="19662" x="2033588" y="2433638"/>
          <p14:tracePt t="19663" x="2030413" y="2433638"/>
          <p14:tracePt t="19666" x="2022475" y="2433638"/>
          <p14:tracePt t="19667" x="2017713" y="2433638"/>
          <p14:tracePt t="19668" x="2014538" y="2433638"/>
          <p14:tracePt t="19669" x="2009775" y="2438400"/>
          <p14:tracePt t="19670" x="2006600" y="2438400"/>
          <p14:tracePt t="19671" x="2001838" y="2441575"/>
          <p14:tracePt t="19672" x="1998663" y="2446338"/>
          <p14:tracePt t="19673" x="1993900" y="2446338"/>
          <p14:tracePt t="19674" x="1990725" y="2446338"/>
          <p14:tracePt t="19675" x="1981200" y="2449513"/>
          <p14:tracePt t="19676" x="1978025" y="2449513"/>
          <p14:tracePt t="19677" x="1978025" y="2454275"/>
          <p14:tracePt t="19678" x="1973263" y="2457450"/>
          <p14:tracePt t="19679" x="1965325" y="2457450"/>
          <p14:tracePt t="19680" x="1962150" y="2462213"/>
          <p14:tracePt t="19681" x="1957388" y="2465388"/>
          <p14:tracePt t="19682" x="1949450" y="2465388"/>
          <p14:tracePt t="19683" x="1946275" y="2465388"/>
          <p14:tracePt t="19684" x="1938338" y="2470150"/>
          <p14:tracePt t="19685" x="1933575" y="2474913"/>
          <p14:tracePt t="19686" x="1925638" y="2478088"/>
          <p14:tracePt t="19687" x="1922463" y="2482850"/>
          <p14:tracePt t="19688" x="1914525" y="2486025"/>
          <p14:tracePt t="19689" x="1909763" y="2490788"/>
          <p14:tracePt t="19690" x="1906588" y="2493963"/>
          <p14:tracePt t="19691" x="1906588" y="2498725"/>
          <p14:tracePt t="19692" x="1893888" y="2506663"/>
          <p14:tracePt t="19693" x="1893888" y="2509838"/>
          <p14:tracePt t="19695" x="1885950" y="2514600"/>
          <p14:tracePt t="19695" x="1878013" y="2522538"/>
          <p14:tracePt t="19696" x="1878013" y="2525713"/>
          <p14:tracePt t="19697" x="1873250" y="2530475"/>
          <p14:tracePt t="19698" x="1865313" y="2538413"/>
          <p14:tracePt t="19699" x="1862138" y="2541588"/>
          <p14:tracePt t="19700" x="1854200" y="2546350"/>
          <p14:tracePt t="19701" x="1849438" y="2554288"/>
          <p14:tracePt t="19702" x="1846263" y="2557463"/>
          <p14:tracePt t="19703" x="1841500" y="2562225"/>
          <p14:tracePt t="19704" x="1833563" y="2570163"/>
          <p14:tracePt t="19705" x="1830388" y="2574925"/>
          <p14:tracePt t="19706" x="1822450" y="2582863"/>
          <p14:tracePt t="19707" x="1817688" y="2586038"/>
          <p14:tracePt t="19708" x="1814513" y="2593975"/>
          <p14:tracePt t="19709" x="1804988" y="2601913"/>
          <p14:tracePt t="19710" x="1801813" y="2606675"/>
          <p14:tracePt t="19713" x="1789113" y="2625725"/>
          <p14:tracePt t="19714" x="1785938" y="2633663"/>
          <p14:tracePt t="19715" x="1773238" y="2641600"/>
          <p14:tracePt t="19716" x="1770063" y="2654300"/>
          <p14:tracePt t="19717" x="1765300" y="2659063"/>
          <p14:tracePt t="19718" x="1762125" y="2670175"/>
          <p14:tracePt t="19719" x="1757363" y="2674938"/>
          <p14:tracePt t="19720" x="1754188" y="2682875"/>
          <p14:tracePt t="19721" x="1749425" y="2690813"/>
          <p14:tracePt t="19722" x="1746250" y="2693988"/>
          <p14:tracePt t="19723" x="1741488" y="2701925"/>
          <p14:tracePt t="19724" x="1733550" y="2709863"/>
          <p14:tracePt t="19726" x="1730375" y="2717800"/>
          <p14:tracePt t="19726" x="1725613" y="2725738"/>
          <p14:tracePt t="19727" x="1722438" y="2733675"/>
          <p14:tracePt t="19729" x="1712913" y="2754313"/>
          <p14:tracePt t="19731" x="1709738" y="2770188"/>
          <p14:tracePt t="19732" x="1704975" y="2774950"/>
          <p14:tracePt t="19733" x="1701800" y="2782888"/>
          <p14:tracePt t="19734" x="1697038" y="2790825"/>
          <p14:tracePt t="19735" x="1689100" y="2798763"/>
          <p14:tracePt t="19736" x="1685925" y="2809875"/>
          <p14:tracePt t="19738" x="1681163" y="2817813"/>
          <p14:tracePt t="19739" x="1677988" y="2830513"/>
          <p14:tracePt t="19740" x="1673225" y="2838450"/>
          <p14:tracePt t="19741" x="1673225" y="2843213"/>
          <p14:tracePt t="19742" x="1673225" y="2851150"/>
          <p14:tracePt t="19743" x="1670050" y="2854325"/>
          <p14:tracePt t="19744" x="1670050" y="2862263"/>
          <p14:tracePt t="19746" x="1665288" y="2862263"/>
          <p14:tracePt t="19746" x="1665288" y="2870200"/>
          <p14:tracePt t="19747" x="1665288" y="2874963"/>
          <p14:tracePt t="19748" x="1662113" y="2878138"/>
          <p14:tracePt t="19749" x="1662113" y="2886075"/>
          <p14:tracePt t="19750" x="1662113" y="2890838"/>
          <p14:tracePt t="19751" x="1662113" y="2894013"/>
          <p14:tracePt t="19752" x="1662113" y="2901950"/>
          <p14:tracePt t="19753" x="1657350" y="2906713"/>
          <p14:tracePt t="19754" x="1657350" y="2909888"/>
          <p14:tracePt t="19755" x="1657350" y="2914650"/>
          <p14:tracePt t="19756" x="1654175" y="2917825"/>
          <p14:tracePt t="19758" x="1654175" y="2922588"/>
          <p14:tracePt t="19761" x="1654175" y="2927350"/>
          <p14:tracePt t="19762" x="1649413" y="2935288"/>
          <p14:tracePt t="19763" x="1649413" y="2938463"/>
          <p14:tracePt t="19764" x="1649413" y="2943225"/>
          <p14:tracePt t="19765" x="1649413" y="2946400"/>
          <p14:tracePt t="19767" x="1649413" y="2951163"/>
          <p14:tracePt t="19769" x="1649413" y="2954338"/>
          <p14:tracePt t="19770" x="1649413" y="2959100"/>
          <p14:tracePt t="19773" x="1649413" y="2962275"/>
          <p14:tracePt t="19776" x="1649413" y="2970213"/>
          <p14:tracePt t="19778" x="1649413" y="2974975"/>
          <p14:tracePt t="19779" x="1649413" y="2978150"/>
          <p14:tracePt t="19780" x="1649413" y="2982913"/>
          <p14:tracePt t="19782" x="1649413" y="2986088"/>
          <p14:tracePt t="19783" x="1649413" y="2990850"/>
          <p14:tracePt t="19785" x="1649413" y="2994025"/>
          <p14:tracePt t="19786" x="1649413" y="2998788"/>
          <p14:tracePt t="19788" x="1649413" y="3001963"/>
          <p14:tracePt t="19789" x="1649413" y="3006725"/>
          <p14:tracePt t="19790" x="1654175" y="3009900"/>
          <p14:tracePt t="19791" x="1654175" y="3014663"/>
          <p14:tracePt t="19792" x="1654175" y="3019425"/>
          <p14:tracePt t="19794" x="1657350" y="3022600"/>
          <p14:tracePt t="19795" x="1657350" y="3030538"/>
          <p14:tracePt t="19796" x="1657350" y="3035300"/>
          <p14:tracePt t="19797" x="1657350" y="3038475"/>
          <p14:tracePt t="19798" x="1657350" y="3043238"/>
          <p14:tracePt t="19799" x="1662113" y="3046413"/>
          <p14:tracePt t="19800" x="1665288" y="3046413"/>
          <p14:tracePt t="19801" x="1665288" y="3054350"/>
          <p14:tracePt t="19802" x="1670050" y="3059113"/>
          <p14:tracePt t="19803" x="1670050" y="3062288"/>
          <p14:tracePt t="19804" x="1673225" y="3067050"/>
          <p14:tracePt t="19805" x="1677988" y="3070225"/>
          <p14:tracePt t="19806" x="1677988" y="3078163"/>
          <p14:tracePt t="19807" x="1681163" y="3086100"/>
          <p14:tracePt t="19808" x="1685925" y="3090863"/>
          <p14:tracePt t="19809" x="1689100" y="3094038"/>
          <p14:tracePt t="19810" x="1693863" y="3101975"/>
          <p14:tracePt t="19811" x="1697038" y="3111500"/>
          <p14:tracePt t="19812" x="1701800" y="3114675"/>
          <p14:tracePt t="19813" x="1704975" y="3122613"/>
          <p14:tracePt t="19814" x="1709738" y="3127375"/>
          <p14:tracePt t="19815" x="1712913" y="3135313"/>
          <p14:tracePt t="19816" x="1717675" y="3143250"/>
          <p14:tracePt t="19817" x="1722438" y="3151188"/>
          <p14:tracePt t="19818" x="1725613" y="3154363"/>
          <p14:tracePt t="19819" x="1730375" y="3162300"/>
          <p14:tracePt t="19820" x="1738313" y="3175000"/>
          <p14:tracePt t="19821" x="1741488" y="3182938"/>
          <p14:tracePt t="19822" x="1746250" y="3190875"/>
          <p14:tracePt t="19823" x="1757363" y="3198813"/>
          <p14:tracePt t="19824" x="1762125" y="3203575"/>
          <p14:tracePt t="19826" x="1765300" y="3211513"/>
          <p14:tracePt t="19826" x="1773238" y="3227388"/>
          <p14:tracePt t="19827" x="1778000" y="3230563"/>
          <p14:tracePt t="19828" x="1785938" y="3238500"/>
          <p14:tracePt t="19829" x="1789113" y="3246438"/>
          <p14:tracePt t="19830" x="1797050" y="3254375"/>
          <p14:tracePt t="19831" x="1801813" y="3262313"/>
          <p14:tracePt t="19832" x="1814513" y="3275013"/>
          <p14:tracePt t="19833" x="1822450" y="3282950"/>
          <p14:tracePt t="19834" x="1825625" y="3290888"/>
          <p14:tracePt t="19835" x="1833563" y="3298825"/>
          <p14:tracePt t="19836" x="1846263" y="3314700"/>
          <p14:tracePt t="19837" x="1854200" y="3319463"/>
          <p14:tracePt t="19838" x="1857375" y="3327400"/>
          <p14:tracePt t="19839" x="1865313" y="3335338"/>
          <p14:tracePt t="19840" x="1878013" y="3346450"/>
          <p14:tracePt t="19841" x="1885950" y="3359150"/>
          <p14:tracePt t="19842" x="1893888" y="3370263"/>
          <p14:tracePt t="19843" x="1906588" y="3378200"/>
          <p14:tracePt t="19844" x="1914525" y="3382963"/>
          <p14:tracePt t="19847" x="1941513" y="3411538"/>
          <p14:tracePt t="19848" x="1949450" y="3419475"/>
          <p14:tracePt t="19849" x="1957388" y="3427413"/>
          <p14:tracePt t="19850" x="1973263" y="3438525"/>
          <p14:tracePt t="19851" x="1981200" y="3451225"/>
          <p14:tracePt t="19852" x="1998663" y="3459163"/>
          <p14:tracePt t="19853" x="2006600" y="3470275"/>
          <p14:tracePt t="19854" x="2014538" y="3475038"/>
          <p14:tracePt t="19855" x="2022475" y="3487738"/>
          <p14:tracePt t="19856" x="2038350" y="3498850"/>
          <p14:tracePt t="19857" x="2054225" y="3511550"/>
          <p14:tracePt t="19858" x="2062163" y="3514725"/>
          <p14:tracePt t="19859" x="2070100" y="3522663"/>
          <p14:tracePt t="19860" x="2078038" y="3530600"/>
          <p14:tracePt t="19861" x="2090738" y="3543300"/>
          <p14:tracePt t="19864" x="2117725" y="3559175"/>
          <p14:tracePt t="19864" x="2125663" y="3571875"/>
          <p14:tracePt t="19865" x="2141538" y="3579813"/>
          <p14:tracePt t="19866" x="2162175" y="3590925"/>
          <p14:tracePt t="19867" x="2170113" y="3595688"/>
          <p14:tracePt t="19868" x="2185988" y="3603625"/>
          <p14:tracePt t="19869" x="2198688" y="3611563"/>
          <p14:tracePt t="19870" x="2206625" y="3619500"/>
          <p14:tracePt t="19871" x="2230438" y="3627438"/>
          <p14:tracePt t="19872" x="2241550" y="3638550"/>
          <p14:tracePt t="19873" x="2259013" y="3643313"/>
          <p14:tracePt t="19874" x="2270125" y="3646488"/>
          <p14:tracePt t="19876" x="2306638" y="3667125"/>
          <p14:tracePt t="19877" x="2317750" y="3671888"/>
          <p14:tracePt t="19879" x="2333625" y="3679825"/>
          <p14:tracePt t="19881" x="2378075" y="3698875"/>
          <p14:tracePt t="19882" x="2398713" y="3703638"/>
          <p14:tracePt t="19883" x="2417763" y="3714750"/>
          <p14:tracePt t="19884" x="2430463" y="3719513"/>
          <p14:tracePt t="19885" x="2446338" y="3722688"/>
          <p14:tracePt t="19886" x="2466975" y="3730625"/>
          <p14:tracePt t="19887" x="2486025" y="3738563"/>
          <p14:tracePt t="19888" x="2506663" y="3743325"/>
          <p14:tracePt t="19889" x="2525713" y="3756025"/>
          <p14:tracePt t="19890" x="2543175" y="3759200"/>
          <p14:tracePt t="19891" x="2562225" y="3763963"/>
          <p14:tracePt t="19892" x="2590800" y="3775075"/>
          <p14:tracePt t="19893" x="2609850" y="3783013"/>
          <p14:tracePt t="19894" x="2630488" y="3787775"/>
          <p14:tracePt t="19896" x="2670175" y="3795713"/>
          <p14:tracePt t="19897" x="2706688" y="3803650"/>
          <p14:tracePt t="19898" x="2727325" y="3806825"/>
          <p14:tracePt t="19899" x="2743200" y="3811588"/>
          <p14:tracePt t="19900" x="2762250" y="3814763"/>
          <p14:tracePt t="19901" x="2786063" y="3827463"/>
          <p14:tracePt t="19902" x="2822575" y="3835400"/>
          <p14:tracePt t="19903" x="2851150" y="3838575"/>
          <p14:tracePt t="19904" x="2870200" y="3843338"/>
          <p14:tracePt t="19905" x="2898775" y="3851275"/>
          <p14:tracePt t="19906" x="2914650" y="3856038"/>
          <p14:tracePt t="19907" x="2954338" y="3867150"/>
          <p14:tracePt t="19908" x="2982913" y="3871913"/>
          <p14:tracePt t="19909" x="2998788" y="3871913"/>
          <p14:tracePt t="19910" x="3027363" y="3879850"/>
          <p14:tracePt t="19911" x="3046413" y="3883025"/>
          <p14:tracePt t="19912" x="3090863" y="3887788"/>
          <p14:tracePt t="19913" x="3111500" y="3895725"/>
          <p14:tracePt t="19914" x="3135313" y="3895725"/>
          <p14:tracePt t="19915" x="3154363" y="3898900"/>
          <p14:tracePt t="19916" x="3182938" y="3903663"/>
          <p14:tracePt t="19917" x="3203575" y="3911600"/>
          <p14:tracePt t="19918" x="3238500" y="3914775"/>
          <p14:tracePt t="19919" x="3267075" y="3919538"/>
          <p14:tracePt t="19920" x="3287713" y="3919538"/>
          <p14:tracePt t="19921" x="3314700" y="3927475"/>
          <p14:tracePt t="19922" x="3351213" y="3930650"/>
          <p14:tracePt t="19923" x="3371850" y="3935413"/>
          <p14:tracePt t="19924" x="3387725" y="3943350"/>
          <p14:tracePt t="19926" x="3406775" y="3943350"/>
          <p14:tracePt t="19926" x="3435350" y="3948113"/>
          <p14:tracePt t="19927" x="3455988" y="3951288"/>
          <p14:tracePt t="19929" x="3503613" y="3959225"/>
          <p14:tracePt t="19930" x="3527425" y="3963988"/>
          <p14:tracePt t="19931" x="3548063" y="3967163"/>
          <p14:tracePt t="19932" x="3575050" y="3975100"/>
          <p14:tracePt t="19933" x="3595688" y="3975100"/>
          <p14:tracePt t="19934" x="3616325" y="3979863"/>
          <p14:tracePt t="19935" x="3635375" y="3983038"/>
          <p14:tracePt t="19936" x="3656013" y="3987800"/>
          <p14:tracePt t="19937" x="3671888" y="3987800"/>
          <p14:tracePt t="19938" x="3698875" y="3995738"/>
          <p14:tracePt t="19939" x="3719513" y="3998913"/>
          <p14:tracePt t="19940" x="3732213" y="3998913"/>
          <p14:tracePt t="19941" x="3751263" y="4003675"/>
          <p14:tracePt t="19942" x="3771900" y="4006850"/>
          <p14:tracePt t="19943" x="3800475" y="4006850"/>
          <p14:tracePt t="19945" x="3840163" y="4019550"/>
          <p14:tracePt t="19947" x="3871913" y="4024313"/>
          <p14:tracePt t="19948" x="3895725" y="4027488"/>
          <p14:tracePt t="19949" x="3916363" y="4027488"/>
          <p14:tracePt t="19950" x="3935413" y="4035425"/>
          <p14:tracePt t="19951" x="3951288" y="4040188"/>
          <p14:tracePt t="19952" x="3967163" y="4040188"/>
          <p14:tracePt t="19953" x="3995738" y="4043363"/>
          <p14:tracePt t="19954" x="4011613" y="4048125"/>
          <p14:tracePt t="19955" x="4027488" y="4048125"/>
          <p14:tracePt t="19956" x="4043363" y="4051300"/>
          <p14:tracePt t="19957" x="4064000" y="4051300"/>
          <p14:tracePt t="19958" x="4084638" y="4059238"/>
          <p14:tracePt t="19959" x="4103688" y="4064000"/>
          <p14:tracePt t="19960" x="4116388" y="4064000"/>
          <p14:tracePt t="19962" x="4148138" y="4067175"/>
          <p14:tracePt t="19965" x="4195763" y="4071938"/>
          <p14:tracePt t="19966" x="4227513" y="4079875"/>
          <p14:tracePt t="19967" x="4240213" y="4079875"/>
          <p14:tracePt t="19968" x="4268788" y="4083050"/>
          <p14:tracePt t="19969" x="4279900" y="4083050"/>
          <p14:tracePt t="19970" x="4295775" y="4087813"/>
          <p14:tracePt t="19971" x="4316413" y="4087813"/>
          <p14:tracePt t="19972" x="4327525" y="4090988"/>
          <p14:tracePt t="19973" x="4344988" y="4090988"/>
          <p14:tracePt t="19974" x="4368800" y="4098925"/>
          <p14:tracePt t="19976" x="4384675" y="4098925"/>
          <p14:tracePt t="19976" x="4400550" y="4103688"/>
          <p14:tracePt t="19977" x="4416425" y="4103688"/>
          <p14:tracePt t="19979" x="4448175" y="4103688"/>
          <p14:tracePt t="19980" x="4464050" y="4106863"/>
          <p14:tracePt t="19981" x="4476750" y="4106863"/>
          <p14:tracePt t="19982" x="4487863" y="4106863"/>
          <p14:tracePt t="19983" x="4503738" y="4106863"/>
          <p14:tracePt t="19984" x="4516438" y="4106863"/>
          <p14:tracePt t="19985" x="4532313" y="4106863"/>
          <p14:tracePt t="19986" x="4540250" y="4106863"/>
          <p14:tracePt t="19987" x="4548188" y="4106863"/>
          <p14:tracePt t="19988" x="4560888" y="4106863"/>
          <p14:tracePt t="19989" x="4576763" y="4106863"/>
          <p14:tracePt t="19990" x="4584700" y="4106863"/>
          <p14:tracePt t="19991" x="4592638" y="4106863"/>
          <p14:tracePt t="19992" x="4600575" y="4106863"/>
          <p14:tracePt t="19994" x="4613275" y="4106863"/>
          <p14:tracePt t="19995" x="4621213" y="4106863"/>
          <p14:tracePt t="19996" x="4624388" y="4106863"/>
          <p14:tracePt t="19998" x="4629150" y="4106863"/>
          <p14:tracePt t="19999" x="4637088" y="4106863"/>
          <p14:tracePt t="20000" x="4640263" y="4103688"/>
          <p14:tracePt t="20001" x="4645025" y="4103688"/>
          <p14:tracePt t="20002" x="4648200" y="4098925"/>
          <p14:tracePt t="20003" x="4652963" y="4098925"/>
          <p14:tracePt t="20004" x="4656138" y="4095750"/>
          <p14:tracePt t="20005" x="4660900" y="4095750"/>
          <p14:tracePt t="20006" x="4664075" y="4090988"/>
          <p14:tracePt t="20008" x="4668838" y="4087813"/>
          <p14:tracePt t="20010" x="4672013" y="4087813"/>
          <p14:tracePt t="20012" x="4676775" y="4083050"/>
          <p14:tracePt t="20013" x="4679950" y="4079875"/>
          <p14:tracePt t="20014" x="4684713" y="4075113"/>
          <p14:tracePt t="20015" x="4687888" y="4071938"/>
          <p14:tracePt t="20017" x="4692650" y="4067175"/>
          <p14:tracePt t="20018" x="4692650" y="4064000"/>
          <p14:tracePt t="20019" x="4697413" y="4059238"/>
          <p14:tracePt t="20020" x="4697413" y="4056063"/>
          <p14:tracePt t="20021" x="4700588" y="4056063"/>
          <p14:tracePt t="20022" x="4700588" y="4051300"/>
          <p14:tracePt t="20023" x="4705350" y="4048125"/>
          <p14:tracePt t="20024" x="4708525" y="4048125"/>
          <p14:tracePt t="20026" x="4713288" y="4040188"/>
          <p14:tracePt t="20028" x="4713288" y="4032250"/>
          <p14:tracePt t="20029" x="4713288" y="4027488"/>
          <p14:tracePt t="20030" x="4713288" y="4019550"/>
          <p14:tracePt t="20031" x="4716463" y="4014788"/>
          <p14:tracePt t="20032" x="4716463" y="4011613"/>
          <p14:tracePt t="20033" x="4721225" y="4006850"/>
          <p14:tracePt t="20034" x="4721225" y="4003675"/>
          <p14:tracePt t="20035" x="4724400" y="4003675"/>
          <p14:tracePt t="20036" x="4724400" y="3998913"/>
          <p14:tracePt t="20037" x="4729163" y="3990975"/>
          <p14:tracePt t="20038" x="4729163" y="3987800"/>
          <p14:tracePt t="20039" x="4732338" y="3983038"/>
          <p14:tracePt t="20040" x="4732338" y="3975100"/>
          <p14:tracePt t="20041" x="4737100" y="3971925"/>
          <p14:tracePt t="20042" x="4740275" y="3963988"/>
          <p14:tracePt t="20043" x="4740275" y="3959225"/>
          <p14:tracePt t="20044" x="4745038" y="3951288"/>
          <p14:tracePt t="20045" x="4745038" y="3948113"/>
          <p14:tracePt t="20046" x="4748213" y="3940175"/>
          <p14:tracePt t="20047" x="4748213" y="3935413"/>
          <p14:tracePt t="20048" x="4748213" y="3927475"/>
          <p14:tracePt t="20049" x="4748213" y="3922713"/>
          <p14:tracePt t="20050" x="4752975" y="3914775"/>
          <p14:tracePt t="20051" x="4752975" y="3906838"/>
          <p14:tracePt t="20052" x="4752975" y="3898900"/>
          <p14:tracePt t="20053" x="4752975" y="3895725"/>
          <p14:tracePt t="20054" x="4756150" y="3887788"/>
          <p14:tracePt t="20055" x="4756150" y="3879850"/>
          <p14:tracePt t="20056" x="4756150" y="3871913"/>
          <p14:tracePt t="20057" x="4756150" y="3867150"/>
          <p14:tracePt t="20058" x="4756150" y="3859213"/>
          <p14:tracePt t="20059" x="4756150" y="3851275"/>
          <p14:tracePt t="20060" x="4756150" y="3843338"/>
          <p14:tracePt t="20061" x="4756150" y="3835400"/>
          <p14:tracePt t="20062" x="4756150" y="3827463"/>
          <p14:tracePt t="20063" x="4756150" y="3822700"/>
          <p14:tracePt t="20064" x="4756150" y="3814763"/>
          <p14:tracePt t="20065" x="4756150" y="3806825"/>
          <p14:tracePt t="20066" x="4756150" y="3798888"/>
          <p14:tracePt t="20067" x="4756150" y="3787775"/>
          <p14:tracePt t="20068" x="4756150" y="3783013"/>
          <p14:tracePt t="20069" x="4756150" y="3775075"/>
          <p14:tracePt t="20070" x="4756150" y="3763963"/>
          <p14:tracePt t="20071" x="4756150" y="3756025"/>
          <p14:tracePt t="20072" x="4756150" y="3746500"/>
          <p14:tracePt t="20073" x="4756150" y="3735388"/>
          <p14:tracePt t="20074" x="4756150" y="3727450"/>
          <p14:tracePt t="20075" x="4756150" y="3719513"/>
          <p14:tracePt t="20076" x="4760913" y="3711575"/>
          <p14:tracePt t="20077" x="4760913" y="3703638"/>
          <p14:tracePt t="20078" x="4760913" y="3695700"/>
          <p14:tracePt t="20079" x="4760913" y="3687763"/>
          <p14:tracePt t="20080" x="4760913" y="3675063"/>
          <p14:tracePt t="20081" x="4760913" y="3667125"/>
          <p14:tracePt t="20082" x="4760913" y="3659188"/>
          <p14:tracePt t="20083" x="4760913" y="3646488"/>
          <p14:tracePt t="20084" x="4764088" y="3638550"/>
          <p14:tracePt t="20085" x="4764088" y="3630613"/>
          <p14:tracePt t="20086" x="4764088" y="3619500"/>
          <p14:tracePt t="20087" x="4764088" y="3611563"/>
          <p14:tracePt t="20088" x="4764088" y="3603625"/>
          <p14:tracePt t="20089" x="4764088" y="3595688"/>
          <p14:tracePt t="20090" x="4764088" y="3587750"/>
          <p14:tracePt t="20091" x="4764088" y="3579813"/>
          <p14:tracePt t="20092" x="4768850" y="3567113"/>
          <p14:tracePt t="20093" x="4768850" y="3559175"/>
          <p14:tracePt t="20094" x="4768850" y="3551238"/>
          <p14:tracePt t="20095" x="4768850" y="3543300"/>
          <p14:tracePt t="20096" x="4768850" y="3535363"/>
          <p14:tracePt t="20097" x="4768850" y="3527425"/>
          <p14:tracePt t="20098" x="4768850" y="3519488"/>
          <p14:tracePt t="20099" x="4768850" y="3511550"/>
          <p14:tracePt t="20100" x="4768850" y="3503613"/>
          <p14:tracePt t="20101" x="4768850" y="3490913"/>
          <p14:tracePt t="20102" x="4768850" y="3487738"/>
          <p14:tracePt t="20103" x="4768850" y="3479800"/>
          <p14:tracePt t="20104" x="4768850" y="3470275"/>
          <p14:tracePt t="20105" x="4768850" y="3462338"/>
          <p14:tracePt t="20106" x="4768850" y="3446463"/>
          <p14:tracePt t="20107" x="4768850" y="3443288"/>
          <p14:tracePt t="20108" x="4768850" y="3435350"/>
          <p14:tracePt t="20109" x="4768850" y="3427413"/>
          <p14:tracePt t="20110" x="4768850" y="3419475"/>
          <p14:tracePt t="20111" x="4768850" y="3411538"/>
          <p14:tracePt t="20112" x="4768850" y="3398838"/>
          <p14:tracePt t="20113" x="4764088" y="3390900"/>
          <p14:tracePt t="20114" x="4764088" y="3378200"/>
          <p14:tracePt t="20115" x="4760913" y="3370263"/>
          <p14:tracePt t="20116" x="4760913" y="3359150"/>
          <p14:tracePt t="20117" x="4756150" y="3351213"/>
          <p14:tracePt t="20118" x="4756150" y="3343275"/>
          <p14:tracePt t="20119" x="4752975" y="3330575"/>
          <p14:tracePt t="20120" x="4752975" y="3322638"/>
          <p14:tracePt t="20121" x="4748213" y="3314700"/>
          <p14:tracePt t="20122" x="4745038" y="3303588"/>
          <p14:tracePt t="20123" x="4737100" y="3295650"/>
          <p14:tracePt t="20124" x="4732338" y="3282950"/>
          <p14:tracePt t="20126" x="4729163" y="3270250"/>
          <p14:tracePt t="20126" x="4729163" y="3262313"/>
          <p14:tracePt t="20127" x="4721225" y="3246438"/>
          <p14:tracePt t="20128" x="4716463" y="3238500"/>
          <p14:tracePt t="20129" x="4713288" y="3230563"/>
          <p14:tracePt t="20130" x="4705350" y="3214688"/>
          <p14:tracePt t="20131" x="4697413" y="3206750"/>
          <p14:tracePt t="20132" x="4692650" y="3190875"/>
          <p14:tracePt t="20133" x="4684713" y="3178175"/>
          <p14:tracePt t="20134" x="4679950" y="3170238"/>
          <p14:tracePt t="20135" x="4668838" y="3154363"/>
          <p14:tracePt t="20136" x="4664075" y="3146425"/>
          <p14:tracePt t="20137" x="4652963" y="3127375"/>
          <p14:tracePt t="20138" x="4645025" y="3119438"/>
          <p14:tracePt t="20139" x="4637088" y="3101975"/>
          <p14:tracePt t="20140" x="4624388" y="3086100"/>
          <p14:tracePt t="20141" x="4616450" y="3078163"/>
          <p14:tracePt t="20142" x="4608513" y="3059113"/>
          <p14:tracePt t="20143" x="4595813" y="3043238"/>
          <p14:tracePt t="20144" x="4587875" y="3035300"/>
          <p14:tracePt t="20146" x="4568825" y="3006725"/>
          <p14:tracePt t="20147" x="4552950" y="2990850"/>
          <p14:tracePt t="20148" x="4545013" y="2978150"/>
          <p14:tracePt t="20149" x="4529138" y="2962275"/>
          <p14:tracePt t="20150" x="4521200" y="2946400"/>
          <p14:tracePt t="20151" x="4503738" y="2935288"/>
          <p14:tracePt t="20152" x="4487863" y="2909888"/>
          <p14:tracePt t="20153" x="4476750" y="2901950"/>
          <p14:tracePt t="20154" x="4464050" y="2886075"/>
          <p14:tracePt t="20155" x="4448175" y="2874963"/>
          <p14:tracePt t="20156" x="4437063" y="2859088"/>
          <p14:tracePt t="20157" x="4411663" y="2833688"/>
          <p14:tracePt t="20158" x="4395788" y="2817813"/>
          <p14:tracePt t="20159" x="4384675" y="2809875"/>
          <p14:tracePt t="20160" x="4368800" y="2794000"/>
          <p14:tracePt t="20161" x="4352925" y="2782888"/>
          <p14:tracePt t="20163" x="4316413" y="2741613"/>
          <p14:tracePt t="20164" x="4300538" y="2733675"/>
          <p14:tracePt t="20165" x="4279900" y="2717800"/>
          <p14:tracePt t="20166" x="4264025" y="2701925"/>
          <p14:tracePt t="20167" x="4252913" y="2686050"/>
          <p14:tracePt t="20168" x="4219575" y="2662238"/>
          <p14:tracePt t="20169" x="4203700" y="2654300"/>
          <p14:tracePt t="20170" x="4192588" y="2638425"/>
          <p14:tracePt t="20171" x="4168775" y="2622550"/>
          <p14:tracePt t="20172" x="4140200" y="2601913"/>
          <p14:tracePt t="20173" x="4124325" y="2593975"/>
          <p14:tracePt t="20174" x="4103688" y="2578100"/>
          <p14:tracePt t="20176" x="4087813" y="2570163"/>
          <p14:tracePt t="20176" x="4068763" y="2554288"/>
          <p14:tracePt t="20177" x="4048125" y="2541588"/>
          <p14:tracePt t="20179" x="4000500" y="2509838"/>
          <p14:tracePt t="20180" x="3979863" y="2498725"/>
          <p14:tracePt t="20181" x="3959225" y="2490788"/>
          <p14:tracePt t="20182" x="3935413" y="2470150"/>
          <p14:tracePt t="20183" x="3916363" y="2462213"/>
          <p14:tracePt t="20184" x="3900488" y="2449513"/>
          <p14:tracePt t="20185" x="3879850" y="2441575"/>
          <p14:tracePt t="20186" x="3867150" y="2430463"/>
          <p14:tracePt t="20187" x="3848100" y="2422525"/>
          <p14:tracePt t="20188" x="3824288" y="2409825"/>
          <p14:tracePt t="20189" x="3811588" y="2401888"/>
          <p14:tracePt t="20190" x="3790950" y="2390775"/>
          <p14:tracePt t="20191" x="3775075" y="2386013"/>
          <p14:tracePt t="20192" x="3763963" y="2378075"/>
          <p14:tracePt t="20193" x="3740150" y="2365375"/>
          <p14:tracePt t="20194" x="3727450" y="2362200"/>
          <p14:tracePt t="20196" x="3711575" y="2354263"/>
          <p14:tracePt t="20196" x="3698875" y="2346325"/>
          <p14:tracePt t="20197" x="3683000" y="2341563"/>
          <p14:tracePt t="20198" x="3663950" y="2333625"/>
          <p14:tracePt t="20199" x="3656013" y="2330450"/>
          <p14:tracePt t="20200" x="3640138" y="2325688"/>
          <p14:tracePt t="20201" x="3627438" y="2317750"/>
          <p14:tracePt t="20202" x="3619500" y="2314575"/>
          <p14:tracePt t="20203" x="3603625" y="2309813"/>
          <p14:tracePt t="20204" x="3595688" y="2306638"/>
          <p14:tracePt t="20205" x="3582988" y="2301875"/>
          <p14:tracePt t="20206" x="3571875" y="2298700"/>
          <p14:tracePt t="20207" x="3563938" y="2293938"/>
          <p14:tracePt t="20208" x="3551238" y="2286000"/>
          <p14:tracePt t="20209" x="3543300" y="2281238"/>
          <p14:tracePt t="20210" x="3532188" y="2278063"/>
          <p14:tracePt t="20211" x="3524250" y="2273300"/>
          <p14:tracePt t="20213" x="3506788" y="2270125"/>
          <p14:tracePt t="20215" x="3490913" y="2265363"/>
          <p14:tracePt t="20216" x="3479800" y="2262188"/>
          <p14:tracePt t="20217" x="3471863" y="2257425"/>
          <p14:tracePt t="20218" x="3463925" y="2257425"/>
          <p14:tracePt t="20219" x="3455988" y="2254250"/>
          <p14:tracePt t="20220" x="3448050" y="2254250"/>
          <p14:tracePt t="20221" x="3443288" y="2249488"/>
          <p14:tracePt t="20222" x="3435350" y="2249488"/>
          <p14:tracePt t="20223" x="3427413" y="2246313"/>
          <p14:tracePt t="20224" x="3419475" y="2246313"/>
          <p14:tracePt t="20226" x="3411538" y="2241550"/>
          <p14:tracePt t="20226" x="3403600" y="2241550"/>
          <p14:tracePt t="20227" x="3398838" y="2241550"/>
          <p14:tracePt t="20229" x="3382963" y="2241550"/>
          <p14:tracePt t="20230" x="3375025" y="2238375"/>
          <p14:tracePt t="20231" x="3367088" y="2238375"/>
          <p14:tracePt t="20232" x="3359150" y="2238375"/>
          <p14:tracePt t="20233" x="3351213" y="2238375"/>
          <p14:tracePt t="20234" x="3338513" y="2233613"/>
          <p14:tracePt t="20235" x="3330575" y="2233613"/>
          <p14:tracePt t="20237" x="3322638" y="2233613"/>
          <p14:tracePt t="20238" x="3311525" y="2225675"/>
          <p14:tracePt t="20239" x="3303588" y="2225675"/>
          <p14:tracePt t="20240" x="3295650" y="2225675"/>
          <p14:tracePt t="20241" x="3287713" y="2225675"/>
          <p14:tracePt t="20242" x="3279775" y="2222500"/>
          <p14:tracePt t="20243" x="3271838" y="2222500"/>
          <p14:tracePt t="20245" x="3263900" y="2222500"/>
          <p14:tracePt t="20245" x="3255963" y="2222500"/>
          <p14:tracePt t="20246" x="3246438" y="2217738"/>
          <p14:tracePt t="20247" x="3238500" y="2217738"/>
          <p14:tracePt t="20248" x="3222625" y="2217738"/>
          <p14:tracePt t="20249" x="3214688" y="2217738"/>
          <p14:tracePt t="20250" x="3203575" y="2217738"/>
          <p14:tracePt t="20251" x="3195638" y="2217738"/>
          <p14:tracePt t="20252" x="3187700" y="2217738"/>
          <p14:tracePt t="20253" x="3179763" y="2217738"/>
          <p14:tracePt t="20254" x="3163888" y="2217738"/>
          <p14:tracePt t="20255" x="3154363" y="2217738"/>
          <p14:tracePt t="20256" x="3146425" y="2217738"/>
          <p14:tracePt t="20257" x="3138488" y="2217738"/>
          <p14:tracePt t="20258" x="3130550" y="2217738"/>
          <p14:tracePt t="20259" x="3119438" y="2217738"/>
          <p14:tracePt t="20261" x="3095625" y="2217738"/>
          <p14:tracePt t="20262" x="3087688" y="2217738"/>
          <p14:tracePt t="20263" x="3079750" y="2217738"/>
          <p14:tracePt t="20264" x="3067050" y="2217738"/>
          <p14:tracePt t="20265" x="3051175" y="2217738"/>
          <p14:tracePt t="20266" x="3043238" y="2217738"/>
          <p14:tracePt t="20267" x="3030538" y="2217738"/>
          <p14:tracePt t="20268" x="3022600" y="2217738"/>
          <p14:tracePt t="20269" x="3014663" y="2217738"/>
          <p14:tracePt t="20270" x="2995613" y="2217738"/>
          <p14:tracePt t="20271" x="2987675" y="2217738"/>
          <p14:tracePt t="20272" x="2970213" y="2217738"/>
          <p14:tracePt t="20273" x="2962275" y="2217738"/>
          <p14:tracePt t="20274" x="2951163" y="2217738"/>
          <p14:tracePt t="20276" x="2922588" y="2217738"/>
          <p14:tracePt t="20277" x="2914650" y="2217738"/>
          <p14:tracePt t="20278" x="2903538" y="2217738"/>
          <p14:tracePt t="20279" x="2886075" y="2217738"/>
          <p14:tracePt t="20280" x="2874963" y="2217738"/>
          <p14:tracePt t="20281" x="2859088" y="2225675"/>
          <p14:tracePt t="20282" x="2846388" y="2225675"/>
          <p14:tracePt t="20283" x="2830513" y="2225675"/>
          <p14:tracePt t="20284" x="2811463" y="2230438"/>
          <p14:tracePt t="20285" x="2798763" y="2230438"/>
          <p14:tracePt t="20286" x="2786063" y="2230438"/>
          <p14:tracePt t="20287" x="2770188" y="2233613"/>
          <p14:tracePt t="20288" x="2759075" y="2233613"/>
          <p14:tracePt t="20289" x="2743200" y="2238375"/>
          <p14:tracePt t="20290" x="2722563" y="2238375"/>
          <p14:tracePt t="20291" x="2711450" y="2241550"/>
          <p14:tracePt t="20292" x="2690813" y="2249488"/>
          <p14:tracePt t="20294" x="2678113" y="2249488"/>
          <p14:tracePt t="20294" x="2662238" y="2254250"/>
          <p14:tracePt t="20295" x="2643188" y="2257425"/>
          <p14:tracePt t="20296" x="2630488" y="2257425"/>
          <p14:tracePt t="20297" x="2609850" y="2262188"/>
          <p14:tracePt t="20298" x="2593975" y="2262188"/>
          <p14:tracePt t="20299" x="2582863" y="2265363"/>
          <p14:tracePt t="20300" x="2562225" y="2273300"/>
          <p14:tracePt t="20301" x="2543175" y="2278063"/>
          <p14:tracePt t="20302" x="2530475" y="2278063"/>
          <p14:tracePt t="20303" x="2514600" y="2281238"/>
          <p14:tracePt t="20304" x="2501900" y="2286000"/>
          <p14:tracePt t="20305" x="2482850" y="2290763"/>
          <p14:tracePt t="20306" x="2462213" y="2298700"/>
          <p14:tracePt t="20307" x="2446338" y="2298700"/>
          <p14:tracePt t="20308" x="2433638" y="2301875"/>
          <p14:tracePt t="20309" x="2417763" y="2306638"/>
          <p14:tracePt t="20310" x="2398713" y="2309813"/>
          <p14:tracePt t="20311" x="2386013" y="2309813"/>
          <p14:tracePt t="20312" x="2370138" y="2314575"/>
          <p14:tracePt t="20313" x="2359025" y="2322513"/>
          <p14:tracePt t="20314" x="2346325" y="2322513"/>
          <p14:tracePt t="20315" x="2330450" y="2325688"/>
          <p14:tracePt t="20316" x="2309813" y="2330450"/>
          <p14:tracePt t="20317" x="2298700" y="2333625"/>
          <p14:tracePt t="20318" x="2282825" y="2338388"/>
          <p14:tracePt t="20319" x="2270125" y="2338388"/>
          <p14:tracePt t="20320" x="2249488" y="2349500"/>
          <p14:tracePt t="20321" x="2241550" y="2349500"/>
          <p14:tracePt t="20322" x="2225675" y="2354263"/>
          <p14:tracePt t="20323" x="2214563" y="2357438"/>
          <p14:tracePt t="20324" x="2201863" y="2357438"/>
          <p14:tracePt t="20326" x="2190750" y="2362200"/>
          <p14:tracePt t="20326" x="2170113" y="2370138"/>
          <p14:tracePt t="20327" x="2162175" y="2373313"/>
          <p14:tracePt t="20329" x="2138363" y="2382838"/>
          <p14:tracePt t="20330" x="2117725" y="2386013"/>
          <p14:tracePt t="20331" x="2109788" y="2390775"/>
          <p14:tracePt t="20332" x="2101850" y="2390775"/>
          <p14:tracePt t="20333" x="2090738" y="2393950"/>
          <p14:tracePt t="20334" x="2078038" y="2398713"/>
          <p14:tracePt t="20335" x="2070100" y="2406650"/>
          <p14:tracePt t="20336" x="2057400" y="2409825"/>
          <p14:tracePt t="20337" x="2046288" y="2414588"/>
          <p14:tracePt t="20338" x="2038350" y="2417763"/>
          <p14:tracePt t="20339" x="2030413" y="2422525"/>
          <p14:tracePt t="20340" x="2017713" y="2425700"/>
          <p14:tracePt t="20341" x="2006600" y="2433638"/>
          <p14:tracePt t="20342" x="1998663" y="2433638"/>
          <p14:tracePt t="20343" x="1990725" y="2441575"/>
          <p14:tracePt t="20344" x="1981200" y="2446338"/>
          <p14:tracePt t="20346" x="1978025" y="2449513"/>
          <p14:tracePt t="20346" x="1965325" y="2457450"/>
          <p14:tracePt t="20347" x="1962150" y="2457450"/>
          <p14:tracePt t="20348" x="1954213" y="2462213"/>
          <p14:tracePt t="20349" x="1946275" y="2470150"/>
          <p14:tracePt t="20350" x="1941513" y="2474913"/>
          <p14:tracePt t="20351" x="1930400" y="2478088"/>
          <p14:tracePt t="20352" x="1925638" y="2482850"/>
          <p14:tracePt t="20353" x="1917700" y="2486025"/>
          <p14:tracePt t="20354" x="1914525" y="2490788"/>
          <p14:tracePt t="20355" x="1906588" y="2493963"/>
          <p14:tracePt t="20356" x="1898650" y="2498725"/>
          <p14:tracePt t="20357" x="1893888" y="2501900"/>
          <p14:tracePt t="20358" x="1889125" y="2509838"/>
          <p14:tracePt t="20359" x="1885950" y="2514600"/>
          <p14:tracePt t="20360" x="1878013" y="2517775"/>
          <p14:tracePt t="20361" x="1873250" y="2522538"/>
          <p14:tracePt t="20362" x="1870075" y="2522538"/>
          <p14:tracePt t="20364" x="1857375" y="2530475"/>
          <p14:tracePt t="20365" x="1854200" y="2541588"/>
          <p14:tracePt t="20366" x="1849438" y="2541588"/>
          <p14:tracePt t="20367" x="1846263" y="2546350"/>
          <p14:tracePt t="20368" x="1841500" y="2549525"/>
          <p14:tracePt t="20369" x="1838325" y="2554288"/>
          <p14:tracePt t="20370" x="1833563" y="2562225"/>
          <p14:tracePt t="20371" x="1830388" y="2566988"/>
          <p14:tracePt t="20372" x="1822450" y="2570163"/>
          <p14:tracePt t="20373" x="1822450" y="2578100"/>
          <p14:tracePt t="20374" x="1817688" y="2582863"/>
          <p14:tracePt t="20376" x="1817688" y="2586038"/>
          <p14:tracePt t="20376" x="1814513" y="2593975"/>
          <p14:tracePt t="20377" x="1814513" y="2598738"/>
          <p14:tracePt t="20378" x="1809750" y="2606675"/>
          <p14:tracePt t="20379" x="1804988" y="2609850"/>
          <p14:tracePt t="20380" x="1804988" y="2614613"/>
          <p14:tracePt t="20381" x="1801813" y="2622550"/>
          <p14:tracePt t="20382" x="1793875" y="2630488"/>
          <p14:tracePt t="20383" x="1793875" y="2633663"/>
          <p14:tracePt t="20384" x="1789113" y="2641600"/>
          <p14:tracePt t="20385" x="1789113" y="2646363"/>
          <p14:tracePt t="20386" x="1789113" y="2649538"/>
          <p14:tracePt t="20387" x="1785938" y="2662238"/>
          <p14:tracePt t="20388" x="1785938" y="2667000"/>
          <p14:tracePt t="20389" x="1785938" y="2674938"/>
          <p14:tracePt t="20390" x="1781175" y="2678113"/>
          <p14:tracePt t="20391" x="1781175" y="2682875"/>
          <p14:tracePt t="20392" x="1781175" y="2693988"/>
          <p14:tracePt t="20393" x="1778000" y="2701925"/>
          <p14:tracePt t="20394" x="1778000" y="2706688"/>
          <p14:tracePt t="20395" x="1778000" y="2714625"/>
          <p14:tracePt t="20396" x="1778000" y="2722563"/>
          <p14:tracePt t="20397" x="1778000" y="2730500"/>
          <p14:tracePt t="20398" x="1778000" y="2738438"/>
          <p14:tracePt t="20399" x="1770063" y="2746375"/>
          <p14:tracePt t="20400" x="1770063" y="2751138"/>
          <p14:tracePt t="20401" x="1770063" y="2759075"/>
          <p14:tracePt t="20402" x="1770063" y="2767013"/>
          <p14:tracePt t="20403" x="1770063" y="2774950"/>
          <p14:tracePt t="20404" x="1770063" y="2782888"/>
          <p14:tracePt t="20405" x="1770063" y="2790825"/>
          <p14:tracePt t="20406" x="1770063" y="2794000"/>
          <p14:tracePt t="20407" x="1770063" y="2806700"/>
          <p14:tracePt t="20408" x="1770063" y="2809875"/>
          <p14:tracePt t="20409" x="1770063" y="2817813"/>
          <p14:tracePt t="20410" x="1773238" y="2825750"/>
          <p14:tracePt t="20411" x="1773238" y="2833688"/>
          <p14:tracePt t="20412" x="1773238" y="2846388"/>
          <p14:tracePt t="20413" x="1773238" y="2851150"/>
          <p14:tracePt t="20414" x="1773238" y="2859088"/>
          <p14:tracePt t="20415" x="1781175" y="2867025"/>
          <p14:tracePt t="20416" x="1781175" y="2874963"/>
          <p14:tracePt t="20417" x="1785938" y="2886075"/>
          <p14:tracePt t="20418" x="1785938" y="2894013"/>
          <p14:tracePt t="20419" x="1789113" y="2901950"/>
          <p14:tracePt t="20420" x="1793875" y="2909888"/>
          <p14:tracePt t="20421" x="1793875" y="2917825"/>
          <p14:tracePt t="20422" x="1801813" y="2935288"/>
          <p14:tracePt t="20423" x="1801813" y="2943225"/>
          <p14:tracePt t="20424" x="1804988" y="2951163"/>
          <p14:tracePt t="20426" x="1814513" y="2967038"/>
          <p14:tracePt t="20427" x="1822450" y="2978150"/>
          <p14:tracePt t="20428" x="1830388" y="2990850"/>
          <p14:tracePt t="20429" x="1833563" y="2998788"/>
          <p14:tracePt t="20430" x="1838325" y="3006725"/>
          <p14:tracePt t="20431" x="1841500" y="3019425"/>
          <p14:tracePt t="20432" x="1846263" y="3030538"/>
          <p14:tracePt t="20433" x="1854200" y="3038475"/>
          <p14:tracePt t="20434" x="1862138" y="3054350"/>
          <p14:tracePt t="20435" x="1865313" y="3062288"/>
          <p14:tracePt t="20436" x="1870075" y="3070225"/>
          <p14:tracePt t="20437" x="1878013" y="3082925"/>
          <p14:tracePt t="20438" x="1889125" y="3094038"/>
          <p14:tracePt t="20439" x="1898650" y="3101975"/>
          <p14:tracePt t="20440" x="1901825" y="3119438"/>
          <p14:tracePt t="20441" x="1914525" y="3127375"/>
          <p14:tracePt t="20442" x="1922463" y="3138488"/>
          <p14:tracePt t="20443" x="1930400" y="3151188"/>
          <p14:tracePt t="20445" x="1938338" y="3159125"/>
          <p14:tracePt t="20446" x="1954213" y="3178175"/>
          <p14:tracePt t="20447" x="1962150" y="3186113"/>
          <p14:tracePt t="20448" x="1978025" y="3203575"/>
          <p14:tracePt t="20449" x="1985963" y="3211513"/>
          <p14:tracePt t="20450" x="1993900" y="3219450"/>
          <p14:tracePt t="20451" x="2006600" y="3235325"/>
          <p14:tracePt t="20452" x="2014538" y="3243263"/>
          <p14:tracePt t="20453" x="2033588" y="3254375"/>
          <p14:tracePt t="20454" x="2041525" y="3262313"/>
          <p14:tracePt t="20455" x="2054225" y="3270250"/>
          <p14:tracePt t="20456" x="2065338" y="3282950"/>
          <p14:tracePt t="20457" x="2078038" y="3290888"/>
          <p14:tracePt t="20458" x="2098675" y="3306763"/>
          <p14:tracePt t="20459" x="2106613" y="3314700"/>
          <p14:tracePt t="20460" x="2122488" y="3327400"/>
          <p14:tracePt t="20461" x="2133600" y="3330575"/>
          <p14:tracePt t="20463" x="2170113" y="3354388"/>
          <p14:tracePt t="20465" x="2198688" y="3370263"/>
          <p14:tracePt t="20466" x="2214563" y="3378200"/>
          <p14:tracePt t="20467" x="2225675" y="3390900"/>
          <p14:tracePt t="20468" x="2246313" y="3398838"/>
          <p14:tracePt t="20469" x="2262188" y="3406775"/>
          <p14:tracePt t="20470" x="2278063" y="3419475"/>
          <p14:tracePt t="20471" x="2298700" y="3422650"/>
          <p14:tracePt t="20472" x="2309813" y="3430588"/>
          <p14:tracePt t="20473" x="2325688" y="3443288"/>
          <p14:tracePt t="20474" x="2351088" y="3454400"/>
          <p14:tracePt t="20476" x="2374900" y="3462338"/>
          <p14:tracePt t="20476" x="2386013" y="3475038"/>
          <p14:tracePt t="20477" x="2406650" y="3479800"/>
          <p14:tracePt t="20479" x="2451100" y="3498850"/>
          <p14:tracePt t="20481" x="2470150" y="3511550"/>
          <p14:tracePt t="20481" x="2490788" y="3514725"/>
          <p14:tracePt t="20482" x="2514600" y="3527425"/>
          <p14:tracePt t="20483" x="2530475" y="3530600"/>
          <p14:tracePt t="20484" x="2562225" y="3543300"/>
          <p14:tracePt t="20485" x="2590800" y="3554413"/>
          <p14:tracePt t="20486" x="2609850" y="3559175"/>
          <p14:tracePt t="20487" x="2630488" y="3571875"/>
          <p14:tracePt t="20488" x="2651125" y="3575050"/>
          <p14:tracePt t="20489" x="2686050" y="3582988"/>
          <p14:tracePt t="20490" x="2706688" y="3590925"/>
          <p14:tracePt t="20491" x="2727325" y="3595688"/>
          <p14:tracePt t="20492" x="2746375" y="3603625"/>
          <p14:tracePt t="20493" x="2774950" y="3606800"/>
          <p14:tracePt t="20495" x="2830513" y="3619500"/>
          <p14:tracePt t="20496" x="2851150" y="3622675"/>
          <p14:tracePt t="20497" x="2870200" y="3627438"/>
          <p14:tracePt t="20498" x="2898775" y="3627438"/>
          <p14:tracePt t="20499" x="2935288" y="3635375"/>
          <p14:tracePt t="20500" x="2951163" y="3638550"/>
          <p14:tracePt t="20501" x="2978150" y="3643313"/>
          <p14:tracePt t="20502" x="2998788" y="3651250"/>
          <p14:tracePt t="20503" x="3027363" y="3651250"/>
          <p14:tracePt t="20504" x="3062288" y="3654425"/>
          <p14:tracePt t="20505" x="3082925" y="3659188"/>
          <p14:tracePt t="20506" x="3106738" y="3659188"/>
          <p14:tracePt t="20507" x="3135313" y="3667125"/>
          <p14:tracePt t="20508" x="3154363" y="3667125"/>
          <p14:tracePt t="20509" x="3187700" y="3671888"/>
          <p14:tracePt t="20510" x="3214688" y="3671888"/>
          <p14:tracePt t="20511" x="3243263" y="3679825"/>
          <p14:tracePt t="20512" x="3263900" y="3679825"/>
          <p14:tracePt t="20513" x="3287713" y="3679825"/>
          <p14:tracePt t="20514" x="3322638" y="3683000"/>
          <p14:tracePt t="20515" x="3343275" y="3683000"/>
          <p14:tracePt t="20516" x="3367088" y="3683000"/>
          <p14:tracePt t="20517" x="3387725" y="3687763"/>
          <p14:tracePt t="20518" x="3414713" y="3687763"/>
          <p14:tracePt t="20519" x="3451225" y="3687763"/>
          <p14:tracePt t="20520" x="3467100" y="3687763"/>
          <p14:tracePt t="20521" x="3495675" y="3687763"/>
          <p14:tracePt t="20522" x="3511550" y="3687763"/>
          <p14:tracePt t="20523" x="3532188" y="3687763"/>
          <p14:tracePt t="20524" x="3563938" y="3687763"/>
          <p14:tracePt t="20526" x="3611563" y="3687763"/>
          <p14:tracePt t="20528" x="3656013" y="3687763"/>
          <p14:tracePt t="20529" x="3675063" y="3687763"/>
          <p14:tracePt t="20530" x="3708400" y="3687763"/>
          <p14:tracePt t="20531" x="3727450" y="3687763"/>
          <p14:tracePt t="20532" x="3751263" y="3687763"/>
          <p14:tracePt t="20533" x="3771900" y="3687763"/>
          <p14:tracePt t="20534" x="3803650" y="3687763"/>
          <p14:tracePt t="20535" x="3824288" y="3687763"/>
          <p14:tracePt t="20536" x="3848100" y="3687763"/>
          <p14:tracePt t="20537" x="3867150" y="3687763"/>
          <p14:tracePt t="20538" x="3887788" y="3683000"/>
          <p14:tracePt t="20539" x="3908425" y="3683000"/>
          <p14:tracePt t="20540" x="3932238" y="3683000"/>
          <p14:tracePt t="20541" x="3951288" y="3675063"/>
          <p14:tracePt t="20542" x="3971925" y="3675063"/>
          <p14:tracePt t="20543" x="3992563" y="3671888"/>
          <p14:tracePt t="20544" x="4024313" y="3671888"/>
          <p14:tracePt t="20545" x="4040188" y="3667125"/>
          <p14:tracePt t="20546" x="4059238" y="3667125"/>
          <p14:tracePt t="20547" x="4079875" y="3663950"/>
          <p14:tracePt t="20548" x="4095750" y="3663950"/>
          <p14:tracePt t="20549" x="4116388" y="3659188"/>
          <p14:tracePt t="20550" x="4143375" y="3651250"/>
          <p14:tracePt t="20551" x="4164013" y="3651250"/>
          <p14:tracePt t="20552" x="4179888" y="3646488"/>
          <p14:tracePt t="20553" x="4195763" y="3643313"/>
          <p14:tracePt t="20554" x="4211638" y="3643313"/>
          <p14:tracePt t="20555" x="4235450" y="3635375"/>
          <p14:tracePt t="20556" x="4252913" y="3630613"/>
          <p14:tracePt t="20557" x="4271963" y="3630613"/>
          <p14:tracePt t="20558" x="4284663" y="3627438"/>
          <p14:tracePt t="20559" x="4303713" y="3622675"/>
          <p14:tracePt t="20560" x="4324350" y="3619500"/>
          <p14:tracePt t="20561" x="4337050" y="3619500"/>
          <p14:tracePt t="20562" x="4352925" y="3611563"/>
          <p14:tracePt t="20563" x="4368800" y="3606800"/>
          <p14:tracePt t="20564" x="4379913" y="3603625"/>
          <p14:tracePt t="20565" x="4400550" y="3598863"/>
          <p14:tracePt t="20566" x="4408488" y="3595688"/>
          <p14:tracePt t="20567" x="4424363" y="3590925"/>
          <p14:tracePt t="20568" x="4432300" y="3587750"/>
          <p14:tracePt t="20569" x="4445000" y="3579813"/>
          <p14:tracePt t="20570" x="4460875" y="3575050"/>
          <p14:tracePt t="20571" x="4471988" y="3571875"/>
          <p14:tracePt t="20572" x="4484688" y="3567113"/>
          <p14:tracePt t="20573" x="4492625" y="3562350"/>
          <p14:tracePt t="20574" x="4500563" y="3559175"/>
          <p14:tracePt t="20576" x="4508500" y="3554413"/>
          <p14:tracePt t="20576" x="4524375" y="3551238"/>
          <p14:tracePt t="20577" x="4529138" y="3546475"/>
          <p14:tracePt t="20579" x="4537075" y="3543300"/>
          <p14:tracePt t="20580" x="4552950" y="3530600"/>
          <p14:tracePt t="20581" x="4556125" y="3527425"/>
          <p14:tracePt t="20582" x="4560888" y="3527425"/>
          <p14:tracePt t="20583" x="4568825" y="3522663"/>
          <p14:tracePt t="20584" x="4572000" y="3519488"/>
          <p14:tracePt t="20585" x="4576763" y="3514725"/>
          <p14:tracePt t="20586" x="4576763" y="3511550"/>
          <p14:tracePt t="20587" x="4579938" y="3506788"/>
          <p14:tracePt t="20588" x="4584700" y="3503613"/>
          <p14:tracePt t="20589" x="4587875" y="3498850"/>
          <p14:tracePt t="20590" x="4595813" y="3495675"/>
          <p14:tracePt t="20591" x="4595813" y="3490913"/>
          <p14:tracePt t="20592" x="4600575" y="3490913"/>
          <p14:tracePt t="20593" x="4603750" y="3487738"/>
          <p14:tracePt t="20594" x="4608513" y="3482975"/>
          <p14:tracePt t="20596" x="4608513" y="3479800"/>
          <p14:tracePt t="20597" x="4613275" y="3479800"/>
          <p14:tracePt t="20597" x="4616450" y="3475038"/>
          <p14:tracePt t="20598" x="4616450" y="3470275"/>
          <p14:tracePt t="20599" x="4621213" y="3467100"/>
          <p14:tracePt t="20600" x="4624388" y="3467100"/>
          <p14:tracePt t="20601" x="4624388" y="3459163"/>
          <p14:tracePt t="20602" x="4624388" y="3454400"/>
          <p14:tracePt t="20603" x="4629150" y="3454400"/>
          <p14:tracePt t="20604" x="4629150" y="3451225"/>
          <p14:tracePt t="20605" x="4632325" y="3446463"/>
          <p14:tracePt t="20606" x="4637088" y="3443288"/>
          <p14:tracePt t="20607" x="4637088" y="3438525"/>
          <p14:tracePt t="20608" x="4640263" y="3435350"/>
          <p14:tracePt t="20610" x="4645025" y="3435350"/>
          <p14:tracePt t="20612" x="4648200" y="3427413"/>
          <p14:tracePt t="20613" x="4648200" y="3422650"/>
          <p14:tracePt t="20614" x="4652963" y="3419475"/>
          <p14:tracePt t="20615" x="4652963" y="3414713"/>
          <p14:tracePt t="20616" x="4656138" y="3411538"/>
          <p14:tracePt t="20617" x="4656138" y="3406775"/>
          <p14:tracePt t="20618" x="4660900" y="3403600"/>
          <p14:tracePt t="20619" x="4660900" y="3398838"/>
          <p14:tracePt t="20621" x="4664075" y="3390900"/>
          <p14:tracePt t="20623" x="4664075" y="3387725"/>
          <p14:tracePt t="20624" x="4668838" y="3382963"/>
          <p14:tracePt t="20626" x="4672013" y="3370263"/>
          <p14:tracePt t="20628" x="4672013" y="3367088"/>
          <p14:tracePt t="20629" x="4672013" y="3362325"/>
          <p14:tracePt t="20630" x="4676775" y="3359150"/>
          <p14:tracePt t="20631" x="4676775" y="3354388"/>
          <p14:tracePt t="20632" x="4676775" y="3351213"/>
          <p14:tracePt t="20633" x="4676775" y="3343275"/>
          <p14:tracePt t="20635" x="4679950" y="3338513"/>
          <p14:tracePt t="20635" x="4679950" y="3335338"/>
          <p14:tracePt t="20636" x="4679950" y="3327400"/>
          <p14:tracePt t="20637" x="4679950" y="3322638"/>
          <p14:tracePt t="20638" x="4679950" y="3319463"/>
          <p14:tracePt t="20639" x="4679950" y="3314700"/>
          <p14:tracePt t="20640" x="4679950" y="3311525"/>
          <p14:tracePt t="20641" x="4679950" y="3303588"/>
          <p14:tracePt t="20642" x="4679950" y="3298825"/>
          <p14:tracePt t="20643" x="4679950" y="3290888"/>
          <p14:tracePt t="20644" x="4679950" y="3286125"/>
          <p14:tracePt t="20645" x="4679950" y="3278188"/>
          <p14:tracePt t="20646" x="4679950" y="3270250"/>
          <p14:tracePt t="20647" x="4679950" y="3262313"/>
          <p14:tracePt t="20648" x="4679950" y="3259138"/>
          <p14:tracePt t="20649" x="4679950" y="3251200"/>
          <p14:tracePt t="20651" x="4679950" y="3238500"/>
          <p14:tracePt t="20652" x="4679950" y="3230563"/>
          <p14:tracePt t="20653" x="4679950" y="3222625"/>
          <p14:tracePt t="20654" x="4676775" y="3214688"/>
          <p14:tracePt t="20655" x="4676775" y="3206750"/>
          <p14:tracePt t="20656" x="4676775" y="3198813"/>
          <p14:tracePt t="20657" x="4672013" y="3190875"/>
          <p14:tracePt t="20658" x="4672013" y="3182938"/>
          <p14:tracePt t="20659" x="4668838" y="3170238"/>
          <p14:tracePt t="20660" x="4668838" y="3162300"/>
          <p14:tracePt t="20661" x="4664075" y="3154363"/>
          <p14:tracePt t="20662" x="4660900" y="3146425"/>
          <p14:tracePt t="20663" x="4656138" y="3138488"/>
          <p14:tracePt t="20664" x="4656138" y="3130550"/>
          <p14:tracePt t="20665" x="4652963" y="3114675"/>
          <p14:tracePt t="20666" x="4648200" y="3106738"/>
          <p14:tracePt t="20667" x="4645025" y="3094038"/>
          <p14:tracePt t="20668" x="4637088" y="3082925"/>
          <p14:tracePt t="20669" x="4632325" y="3074988"/>
          <p14:tracePt t="20670" x="4629150" y="3067050"/>
          <p14:tracePt t="20671" x="4624388" y="3059113"/>
          <p14:tracePt t="20672" x="4616450" y="3043238"/>
          <p14:tracePt t="20673" x="4613275" y="3035300"/>
          <p14:tracePt t="20674" x="4608513" y="3027363"/>
          <p14:tracePt t="20676" x="4595813" y="3006725"/>
          <p14:tracePt t="20677" x="4587875" y="2994025"/>
          <p14:tracePt t="20678" x="4584700" y="2986088"/>
          <p14:tracePt t="20679" x="4576763" y="2974975"/>
          <p14:tracePt t="20680" x="4568825" y="2962275"/>
          <p14:tracePt t="20681" x="4560888" y="2954338"/>
          <p14:tracePt t="20682" x="4556125" y="2943225"/>
          <p14:tracePt t="20683" x="4548188" y="2930525"/>
          <p14:tracePt t="20684" x="4537075" y="2922588"/>
          <p14:tracePt t="20685" x="4532313" y="2909888"/>
          <p14:tracePt t="20686" x="4524375" y="2901950"/>
          <p14:tracePt t="20687" x="4516438" y="2894013"/>
          <p14:tracePt t="20688" x="4503738" y="2878138"/>
          <p14:tracePt t="20689" x="4495800" y="2870200"/>
          <p14:tracePt t="20690" x="4487863" y="2862263"/>
          <p14:tracePt t="20691" x="4479925" y="2851150"/>
          <p14:tracePt t="20692" x="4468813" y="2838450"/>
          <p14:tracePt t="20693" x="4460875" y="2830513"/>
          <p14:tracePt t="20694" x="4452938" y="2817813"/>
          <p14:tracePt t="20697" x="4429125" y="2801938"/>
          <p14:tracePt t="20698" x="4403725" y="2782888"/>
          <p14:tracePt t="20699" x="4395788" y="2774950"/>
          <p14:tracePt t="20700" x="4379913" y="2762250"/>
          <p14:tracePt t="20701" x="4371975" y="2759075"/>
          <p14:tracePt t="20702" x="4356100" y="2741613"/>
          <p14:tracePt t="20703" x="4344988" y="2738438"/>
          <p14:tracePt t="20704" x="4332288" y="2730500"/>
          <p14:tracePt t="20705" x="4319588" y="2722563"/>
          <p14:tracePt t="20706" x="4308475" y="2709863"/>
          <p14:tracePt t="20707" x="4295775" y="2706688"/>
          <p14:tracePt t="20708" x="4276725" y="2698750"/>
          <p14:tracePt t="20709" x="4260850" y="2686050"/>
          <p14:tracePt t="20710" x="4248150" y="2678113"/>
          <p14:tracePt t="20711" x="4235450" y="2674938"/>
          <p14:tracePt t="20712" x="4224338" y="2662238"/>
          <p14:tracePt t="20714" x="4187825" y="2649538"/>
          <p14:tracePt t="20715" x="4171950" y="2638425"/>
          <p14:tracePt t="20716" x="4160838" y="2633663"/>
          <p14:tracePt t="20717" x="4140200" y="2630488"/>
          <p14:tracePt t="20718" x="4119563" y="2617788"/>
          <p14:tracePt t="20719" x="4103688" y="2614613"/>
          <p14:tracePt t="20720" x="4092575" y="2609850"/>
          <p14:tracePt t="20721" x="4076700" y="2598738"/>
          <p14:tracePt t="20722" x="4064000" y="2593975"/>
          <p14:tracePt t="20723" x="4035425" y="2590800"/>
          <p14:tracePt t="20724" x="4019550" y="2586038"/>
          <p14:tracePt t="20726" x="4008438" y="2582863"/>
          <p14:tracePt t="20726" x="3987800" y="2582863"/>
          <p14:tracePt t="20727" x="3976688" y="2574925"/>
          <p14:tracePt t="20729" x="3935413" y="2566988"/>
          <p14:tracePt t="20731" x="3908425" y="2562225"/>
          <p14:tracePt t="20732" x="3887788" y="2554288"/>
          <p14:tracePt t="20733" x="3871913" y="2549525"/>
          <p14:tracePt t="20734" x="3851275" y="2549525"/>
          <p14:tracePt t="20735" x="3840163" y="2546350"/>
          <p14:tracePt t="20736" x="3819525" y="2546350"/>
          <p14:tracePt t="20737" x="3808413" y="2546350"/>
          <p14:tracePt t="20738" x="3787775" y="2541588"/>
          <p14:tracePt t="20739" x="3771900" y="2541588"/>
          <p14:tracePt t="20740" x="3751263" y="2538413"/>
          <p14:tracePt t="20741" x="3740150" y="2538413"/>
          <p14:tracePt t="20742" x="3727450" y="2538413"/>
          <p14:tracePt t="20743" x="3711575" y="2533650"/>
          <p14:tracePt t="20745" x="3687763" y="2533650"/>
          <p14:tracePt t="20746" x="3659188" y="2533650"/>
          <p14:tracePt t="20747" x="3643313" y="2533650"/>
          <p14:tracePt t="20748" x="3627438" y="2533650"/>
          <p14:tracePt t="20749" x="3611563" y="2533650"/>
          <p14:tracePt t="20750" x="3598863" y="2533650"/>
          <p14:tracePt t="20751" x="3579813" y="2533650"/>
          <p14:tracePt t="20752" x="3567113" y="2533650"/>
          <p14:tracePt t="20753" x="3551238" y="2533650"/>
          <p14:tracePt t="20754" x="3540125" y="2533650"/>
          <p14:tracePt t="20755" x="3524250" y="2533650"/>
          <p14:tracePt t="20756" x="3511550" y="2533650"/>
          <p14:tracePt t="20757" x="3498850" y="2533650"/>
          <p14:tracePt t="20758" x="3482975" y="2533650"/>
          <p14:tracePt t="20759" x="3459163" y="2533650"/>
          <p14:tracePt t="20762" x="3422650" y="2533650"/>
          <p14:tracePt t="20763" x="3406775" y="2533650"/>
          <p14:tracePt t="20764" x="3387725" y="2538413"/>
          <p14:tracePt t="20765" x="3379788" y="2538413"/>
          <p14:tracePt t="20766" x="3367088" y="2541588"/>
          <p14:tracePt t="20767" x="3351213" y="2541588"/>
          <p14:tracePt t="20768" x="3343275" y="2546350"/>
          <p14:tracePt t="20769" x="3322638" y="2549525"/>
          <p14:tracePt t="20770" x="3311525" y="2557463"/>
          <p14:tracePt t="20771" x="3303588" y="2557463"/>
          <p14:tracePt t="20772" x="3287713" y="2562225"/>
          <p14:tracePt t="20773" x="3279775" y="2566988"/>
          <p14:tracePt t="20774" x="3259138" y="2570163"/>
          <p14:tracePt t="20776" x="3238500" y="2578100"/>
          <p14:tracePt t="20777" x="3222625" y="2586038"/>
          <p14:tracePt t="20778" x="3214688" y="2590800"/>
          <p14:tracePt t="20779" x="3198813" y="2598738"/>
          <p14:tracePt t="20780" x="3187700" y="2601913"/>
          <p14:tracePt t="20781" x="3179763" y="2606675"/>
          <p14:tracePt t="20782" x="3163888" y="2609850"/>
          <p14:tracePt t="20783" x="3154363" y="2617788"/>
          <p14:tracePt t="20784" x="3135313" y="2625725"/>
          <p14:tracePt t="20785" x="3127375" y="2630488"/>
          <p14:tracePt t="20786" x="3114675" y="2633663"/>
          <p14:tracePt t="20787" x="3103563" y="2638425"/>
          <p14:tracePt t="20788" x="3095625" y="2649538"/>
          <p14:tracePt t="20789" x="3082925" y="2654300"/>
          <p14:tracePt t="20790" x="3071813" y="2662238"/>
          <p14:tracePt t="20791" x="3054350" y="2674938"/>
          <p14:tracePt t="20792" x="3046413" y="2682875"/>
          <p14:tracePt t="20793" x="3038475" y="2686050"/>
          <p14:tracePt t="20795" x="3014663" y="2706688"/>
          <p14:tracePt t="20796" x="3006725" y="2714625"/>
          <p14:tracePt t="20797" x="2995613" y="2722563"/>
          <p14:tracePt t="20798" x="2990850" y="2725738"/>
          <p14:tracePt t="20799" x="2978150" y="2738438"/>
          <p14:tracePt t="20800" x="2970213" y="2751138"/>
          <p14:tracePt t="20801" x="2967038" y="2754313"/>
          <p14:tracePt t="20802" x="2959100" y="2762250"/>
          <p14:tracePt t="20803" x="2951163" y="2770188"/>
          <p14:tracePt t="20804" x="2938463" y="2786063"/>
          <p14:tracePt t="20805" x="2935288" y="2794000"/>
          <p14:tracePt t="20806" x="2927350" y="2801938"/>
          <p14:tracePt t="20807" x="2922588" y="2806700"/>
          <p14:tracePt t="20808" x="2919413" y="2814638"/>
          <p14:tracePt t="20809" x="2914650" y="2822575"/>
          <p14:tracePt t="20810" x="2903538" y="2838450"/>
          <p14:tracePt t="20811" x="2898775" y="2846388"/>
          <p14:tracePt t="20812" x="2895600" y="2851150"/>
          <p14:tracePt t="20813" x="2895600" y="2859088"/>
          <p14:tracePt t="20814" x="2890838" y="2867025"/>
          <p14:tracePt t="20815" x="2886075" y="2878138"/>
          <p14:tracePt t="20816" x="2882900" y="2882900"/>
          <p14:tracePt t="20817" x="2878138" y="2890838"/>
          <p14:tracePt t="20818" x="2878138" y="2898775"/>
          <p14:tracePt t="20819" x="2874963" y="2909888"/>
          <p14:tracePt t="20820" x="2870200" y="2917825"/>
          <p14:tracePt t="20821" x="2870200" y="2927350"/>
          <p14:tracePt t="20822" x="2870200" y="2935288"/>
          <p14:tracePt t="20823" x="2867025" y="2943225"/>
          <p14:tracePt t="20824" x="2867025" y="2951163"/>
          <p14:tracePt t="20826" x="2862263" y="2967038"/>
          <p14:tracePt t="20827" x="2862263" y="2974975"/>
          <p14:tracePt t="20829" x="2862263" y="2990850"/>
          <p14:tracePt t="20830" x="2862263" y="3006725"/>
          <p14:tracePt t="20831" x="2862263" y="3014663"/>
          <p14:tracePt t="20832" x="2862263" y="3022600"/>
          <p14:tracePt t="20833" x="2862263" y="3030538"/>
          <p14:tracePt t="20834" x="2862263" y="3038475"/>
          <p14:tracePt t="20835" x="2862263" y="3046413"/>
          <p14:tracePt t="20836" x="2862263" y="3062288"/>
          <p14:tracePt t="20837" x="2862263" y="3070225"/>
          <p14:tracePt t="20838" x="2862263" y="3078163"/>
          <p14:tracePt t="20839" x="2862263" y="3086100"/>
          <p14:tracePt t="20840" x="2862263" y="3094038"/>
          <p14:tracePt t="20841" x="2862263" y="3101975"/>
          <p14:tracePt t="20842" x="2862263" y="3111500"/>
          <p14:tracePt t="20843" x="2862263" y="3119438"/>
          <p14:tracePt t="20844" x="2867025" y="3127375"/>
          <p14:tracePt t="20845" x="2867025" y="3135313"/>
          <p14:tracePt t="20846" x="2870200" y="3151188"/>
          <p14:tracePt t="20847" x="2874963" y="3159125"/>
          <p14:tracePt t="20848" x="2878138" y="3167063"/>
          <p14:tracePt t="20849" x="2878138" y="3175000"/>
          <p14:tracePt t="20850" x="2886075" y="3182938"/>
          <p14:tracePt t="20851" x="2890838" y="3194050"/>
          <p14:tracePt t="20852" x="2895600" y="3203575"/>
          <p14:tracePt t="20853" x="2898775" y="3211513"/>
          <p14:tracePt t="20854" x="2903538" y="3219450"/>
          <p14:tracePt t="20855" x="2906713" y="3227388"/>
          <p14:tracePt t="20856" x="2911475" y="3243263"/>
          <p14:tracePt t="20857" x="2919413" y="3246438"/>
          <p14:tracePt t="20858" x="2922588" y="3254375"/>
          <p14:tracePt t="20859" x="2930525" y="3262313"/>
          <p14:tracePt t="20860" x="2938463" y="3275013"/>
          <p14:tracePt t="20861" x="2943225" y="3282950"/>
          <p14:tracePt t="20862" x="2951163" y="3286125"/>
          <p14:tracePt t="20863" x="2954338" y="3295650"/>
          <p14:tracePt t="20864" x="2959100" y="3303588"/>
          <p14:tracePt t="20865" x="2970213" y="3306763"/>
          <p14:tracePt t="20866" x="2978150" y="3319463"/>
          <p14:tracePt t="20867" x="2982913" y="3327400"/>
          <p14:tracePt t="20868" x="2990850" y="3330575"/>
          <p14:tracePt t="20869" x="2995613" y="3335338"/>
          <p14:tracePt t="20870" x="2998788" y="3338513"/>
          <p14:tracePt t="20871" x="3006725" y="3346450"/>
          <p14:tracePt t="20872" x="3014663" y="3351213"/>
          <p14:tracePt t="20873" x="3022600" y="3354388"/>
          <p14:tracePt t="20874" x="3027363" y="3362325"/>
          <p14:tracePt t="20876" x="3035300" y="3362325"/>
          <p14:tracePt t="20876" x="3046413" y="3370263"/>
          <p14:tracePt t="20877" x="3054350" y="3375025"/>
          <p14:tracePt t="20879" x="3067050" y="3378200"/>
          <p14:tracePt t="20880" x="3074988" y="3387725"/>
          <p14:tracePt t="20881" x="3082925" y="3390900"/>
          <p14:tracePt t="20882" x="3087688" y="3395663"/>
          <p14:tracePt t="20883" x="3095625" y="3395663"/>
          <p14:tracePt t="20884" x="3103563" y="3398838"/>
          <p14:tracePt t="20885" x="3106738" y="3403600"/>
          <p14:tracePt t="20886" x="3114675" y="3406775"/>
          <p14:tracePt t="20887" x="3122613" y="3406775"/>
          <p14:tracePt t="20888" x="3127375" y="3406775"/>
          <p14:tracePt t="20889" x="3130550" y="3406775"/>
          <p14:tracePt t="20890" x="3138488" y="3411538"/>
          <p14:tracePt t="20891" x="3146425" y="3411538"/>
          <p14:tracePt t="20892" x="3154363" y="3419475"/>
          <p14:tracePt t="20893" x="3159125" y="3419475"/>
          <p14:tracePt t="20894" x="3167063" y="3422650"/>
          <p14:tracePt t="20896" x="3179763" y="3427413"/>
          <p14:tracePt t="20897" x="3187700" y="3427413"/>
          <p14:tracePt t="20898" x="3190875" y="3427413"/>
          <p14:tracePt t="20899" x="3195638" y="3427413"/>
          <p14:tracePt t="20900" x="3203575" y="3430588"/>
          <p14:tracePt t="20901" x="3206750" y="3430588"/>
          <p14:tracePt t="20902" x="3214688" y="3430588"/>
          <p14:tracePt t="20903" x="3219450" y="3430588"/>
          <p14:tracePt t="20904" x="3222625" y="3430588"/>
          <p14:tracePt t="20905" x="3227388" y="3430588"/>
          <p14:tracePt t="20907" x="3230563" y="3430588"/>
          <p14:tracePt t="20908" x="3235325" y="3430588"/>
          <p14:tracePt t="20909" x="3243263" y="3430588"/>
          <p14:tracePt t="20911" x="3246438" y="3435350"/>
          <p14:tracePt t="20912" x="3255963" y="3435350"/>
          <p14:tracePt t="20914" x="3259138" y="3435350"/>
          <p14:tracePt t="20915" x="3263900" y="3435350"/>
          <p14:tracePt t="20916" x="3267075" y="3435350"/>
          <p14:tracePt t="20917" x="3271838" y="3435350"/>
          <p14:tracePt t="20918" x="3275013" y="3435350"/>
          <p14:tracePt t="20921" x="3279775" y="3435350"/>
          <p14:tracePt t="20922" x="3282950" y="3435350"/>
          <p14:tracePt t="20923" x="3287713" y="3435350"/>
          <p14:tracePt t="20924" x="3290888" y="3435350"/>
          <p14:tracePt t="20926" x="3295650" y="3435350"/>
          <p14:tracePt t="20928" x="3298825" y="3435350"/>
          <p14:tracePt t="20929" x="3303588" y="3435350"/>
          <p14:tracePt t="20930" x="3306763" y="3435350"/>
          <p14:tracePt t="20931" x="3311525" y="3435350"/>
          <p14:tracePt t="20933" x="3314700" y="3435350"/>
          <p14:tracePt t="20934" x="3319463" y="3435350"/>
          <p14:tracePt t="20937" x="3322638" y="3435350"/>
          <p14:tracePt t="20939" x="3327400" y="3435350"/>
          <p14:tracePt t="20941" x="3330575" y="3435350"/>
          <p14:tracePt t="20944" x="3335338" y="3435350"/>
          <p14:tracePt t="20952" x="3338513" y="3435350"/>
          <p14:tracePt t="20974" x="3338513" y="3430588"/>
          <p14:tracePt t="20982" x="3338513" y="3427413"/>
          <p14:tracePt t="20988" x="3338513" y="3422650"/>
          <p14:tracePt t="20994" x="3338513" y="3419475"/>
          <p14:tracePt t="20999" x="3338513" y="3414713"/>
          <p14:tracePt t="21001" x="3343275" y="3414713"/>
          <p14:tracePt t="21002" x="3343275" y="3411538"/>
          <p14:tracePt t="21004" x="3343275" y="3406775"/>
          <p14:tracePt t="21006" x="3343275" y="3403600"/>
          <p14:tracePt t="21008" x="3343275" y="3398838"/>
          <p14:tracePt t="21009" x="3348038" y="3398838"/>
          <p14:tracePt t="21010" x="3348038" y="3395663"/>
          <p14:tracePt t="21012" x="3351213" y="3395663"/>
          <p14:tracePt t="21013" x="3351213" y="3390900"/>
          <p14:tracePt t="21014" x="3355975" y="3387725"/>
          <p14:tracePt t="21016" x="3355975" y="3382963"/>
          <p14:tracePt t="21017" x="3359150" y="3382963"/>
          <p14:tracePt t="21018" x="3359150" y="3378200"/>
          <p14:tracePt t="21020" x="3359150" y="3375025"/>
          <p14:tracePt t="21021" x="3359150" y="3370263"/>
          <p14:tracePt t="21022" x="3363913" y="3370263"/>
          <p14:tracePt t="21023" x="3363913" y="3367088"/>
          <p14:tracePt t="21024" x="3363913" y="3362325"/>
          <p14:tracePt t="21026" x="3367088" y="3359150"/>
          <p14:tracePt t="21027" x="3371850" y="3359150"/>
          <p14:tracePt t="21028" x="3371850" y="3354388"/>
          <p14:tracePt t="21029" x="3375025" y="3354388"/>
          <p14:tracePt t="21030" x="3375025" y="3351213"/>
          <p14:tracePt t="21031" x="3379788" y="3346450"/>
          <p14:tracePt t="21033" x="3382963" y="3343275"/>
          <p14:tracePt t="21034" x="3382963" y="3338513"/>
          <p14:tracePt t="21035" x="3387725" y="3338513"/>
          <p14:tracePt t="21036" x="3390900" y="3335338"/>
          <p14:tracePt t="21037" x="3390900" y="3330575"/>
          <p14:tracePt t="21038" x="3395663" y="3327400"/>
          <p14:tracePt t="21039" x="3395663" y="3322638"/>
          <p14:tracePt t="21040" x="3398838" y="3319463"/>
          <p14:tracePt t="21041" x="3398838" y="3314700"/>
          <p14:tracePt t="21044" x="3406775" y="3306763"/>
          <p14:tracePt t="21045" x="3406775" y="3303588"/>
          <p14:tracePt t="21046" x="3411538" y="3303588"/>
          <p14:tracePt t="21047" x="3414713" y="3298825"/>
          <p14:tracePt t="21048" x="3414713" y="3295650"/>
          <p14:tracePt t="21049" x="3419475" y="3290888"/>
          <p14:tracePt t="21050" x="3422650" y="3286125"/>
          <p14:tracePt t="21051" x="3422650" y="3282950"/>
          <p14:tracePt t="21052" x="3427413" y="3278188"/>
          <p14:tracePt t="21053" x="3427413" y="3275013"/>
          <p14:tracePt t="21054" x="3430588" y="3275013"/>
          <p14:tracePt t="21056" x="3435350" y="3270250"/>
          <p14:tracePt t="21058" x="3435350" y="3267075"/>
          <p14:tracePt t="21060" x="3435350" y="3262313"/>
          <p14:tracePt t="21063" x="3440113" y="3262313"/>
          <p14:tracePt t="21203" x="3440113" y="3267075"/>
          <p14:tracePt t="21831" x="3435350" y="3267075"/>
          <p14:tracePt t="21835" x="3435350" y="3270250"/>
          <p14:tracePt t="21839" x="3435350" y="3275013"/>
          <p14:tracePt t="21842" x="3435350" y="3282950"/>
          <p14:tracePt t="21845" x="3435350" y="3298825"/>
          <p14:tracePt t="21847" x="3435350" y="3306763"/>
          <p14:tracePt t="21849" x="3435350" y="3311525"/>
          <p14:tracePt t="21851" x="3435350" y="3314700"/>
          <p14:tracePt t="21852" x="3435350" y="3322638"/>
          <p14:tracePt t="21853" x="3435350" y="3327400"/>
          <p14:tracePt t="21857" x="3440113" y="3354388"/>
          <p14:tracePt t="21858" x="3440113" y="3359150"/>
          <p14:tracePt t="21859" x="3440113" y="3367088"/>
          <p14:tracePt t="21861" x="3440113" y="3370263"/>
          <p14:tracePt t="21861" x="3443288" y="3375025"/>
          <p14:tracePt t="21862" x="3443288" y="3378200"/>
          <p14:tracePt t="21863" x="3443288" y="3382963"/>
          <p14:tracePt t="21864" x="3443288" y="3390900"/>
          <p14:tracePt t="21865" x="3443288" y="3395663"/>
          <p14:tracePt t="21866" x="3443288" y="3398838"/>
          <p14:tracePt t="21867" x="3443288" y="3403600"/>
          <p14:tracePt t="21868" x="3443288" y="3411538"/>
          <p14:tracePt t="21869" x="3443288" y="3414713"/>
          <p14:tracePt t="21870" x="3448050" y="3419475"/>
          <p14:tracePt t="21871" x="3448050" y="3427413"/>
          <p14:tracePt t="21872" x="3448050" y="3430588"/>
          <p14:tracePt t="21873" x="3448050" y="3435350"/>
          <p14:tracePt t="21874" x="3451225" y="3435350"/>
          <p14:tracePt t="21875" x="3451225" y="3438525"/>
          <p14:tracePt t="21877" x="3455988" y="3446463"/>
          <p14:tracePt t="21878" x="3455988" y="3451225"/>
          <p14:tracePt t="21880" x="3459163" y="3454400"/>
          <p14:tracePt t="21880" x="3459163" y="3459163"/>
          <p14:tracePt t="21881" x="3459163" y="3462338"/>
          <p14:tracePt t="21882" x="3463925" y="3467100"/>
          <p14:tracePt t="21883" x="3463925" y="3470275"/>
          <p14:tracePt t="21885" x="3467100" y="3475038"/>
          <p14:tracePt t="21886" x="3467100" y="3479800"/>
          <p14:tracePt t="21887" x="3471863" y="3479800"/>
          <p14:tracePt t="21888" x="3471863" y="3482975"/>
          <p14:tracePt t="21889" x="3475038" y="3487738"/>
          <p14:tracePt t="21890" x="3479800" y="3487738"/>
          <p14:tracePt t="21891" x="3479800" y="3490913"/>
          <p14:tracePt t="21892" x="3482975" y="3495675"/>
          <p14:tracePt t="21894" x="3482975" y="3498850"/>
          <p14:tracePt t="21895" x="3482975" y="3503613"/>
          <p14:tracePt t="21910" x="3506788" y="3519488"/>
          <p14:tracePt t="21913" x="3506788" y="3522663"/>
          <p14:tracePt t="21944" x="3511550" y="3522663"/>
          <p14:tracePt t="21971" x="3511550" y="3527425"/>
          <p14:tracePt t="21974" x="3514725" y="3527425"/>
          <p14:tracePt t="21975" x="3514725" y="3530600"/>
          <p14:tracePt t="21978" x="3519488" y="3535363"/>
          <p14:tracePt t="21981" x="3519488" y="3538538"/>
          <p14:tracePt t="21985" x="3524250" y="3543300"/>
          <p14:tracePt t="21988" x="3524250" y="3546475"/>
          <p14:tracePt t="21990" x="3524250" y="3551238"/>
          <p14:tracePt t="21991" x="3527425" y="3551238"/>
          <p14:tracePt t="21993" x="3527425" y="3554413"/>
          <p14:tracePt t="21995" x="3532188" y="3554413"/>
          <p14:tracePt t="21998" x="3532188" y="3559175"/>
          <p14:tracePt t="22000" x="3535363" y="3559175"/>
          <p14:tracePt t="22001" x="3535363" y="3562350"/>
          <p14:tracePt t="22004" x="3535363" y="3567113"/>
          <p14:tracePt t="22004" x="3535363" y="3571875"/>
          <p14:tracePt t="22006" x="3540125" y="3575050"/>
          <p14:tracePt t="22009" x="3540125" y="3579813"/>
          <p14:tracePt t="22011" x="3540125" y="3582988"/>
          <p14:tracePt t="22012" x="3543300" y="3587750"/>
          <p14:tracePt t="22014" x="3543300" y="3590925"/>
          <p14:tracePt t="22015" x="3543300" y="3595688"/>
          <p14:tracePt t="22016" x="3548063" y="3595688"/>
          <p14:tracePt t="22018" x="3548063" y="3598863"/>
          <p14:tracePt t="22020" x="3548063" y="3603625"/>
          <p14:tracePt t="22021" x="3548063" y="3606800"/>
          <p14:tracePt t="22022" x="3551238" y="3611563"/>
          <p14:tracePt t="22024" x="3551238" y="3614738"/>
          <p14:tracePt t="22026" x="3556000" y="3622675"/>
          <p14:tracePt t="22027" x="3556000" y="3627438"/>
          <p14:tracePt t="22028" x="3556000" y="3630613"/>
          <p14:tracePt t="22029" x="3556000" y="3635375"/>
          <p14:tracePt t="22030" x="3556000" y="3638550"/>
          <p14:tracePt t="22031" x="3559175" y="3638550"/>
          <p14:tracePt t="22032" x="3559175" y="3646488"/>
          <p14:tracePt t="22033" x="3559175" y="3651250"/>
          <p14:tracePt t="22034" x="3563938" y="3654425"/>
          <p14:tracePt t="22035" x="3563938" y="3659188"/>
          <p14:tracePt t="22036" x="3563938" y="3663950"/>
          <p14:tracePt t="22037" x="3563938" y="3667125"/>
          <p14:tracePt t="22038" x="3563938" y="3671888"/>
          <p14:tracePt t="22039" x="3563938" y="3675063"/>
          <p14:tracePt t="22040" x="3563938" y="3683000"/>
          <p14:tracePt t="22041" x="3563938" y="3687763"/>
          <p14:tracePt t="22044" x="3563938" y="3690938"/>
          <p14:tracePt t="22044" x="3567113" y="3698875"/>
          <p14:tracePt t="22045" x="3567113" y="3703638"/>
          <p14:tracePt t="22046" x="3567113" y="3706813"/>
          <p14:tracePt t="22047" x="3567113" y="3711575"/>
          <p14:tracePt t="22048" x="3571875" y="3719513"/>
          <p14:tracePt t="22049" x="3571875" y="3722688"/>
          <p14:tracePt t="22050" x="3571875" y="3727450"/>
          <p14:tracePt t="22051" x="3571875" y="3730625"/>
          <p14:tracePt t="22052" x="3571875" y="3735388"/>
          <p14:tracePt t="22053" x="3571875" y="3743325"/>
          <p14:tracePt t="22054" x="3571875" y="3746500"/>
          <p14:tracePt t="22055" x="3575050" y="3751263"/>
          <p14:tracePt t="22057" x="3575050" y="3756025"/>
          <p14:tracePt t="22059" x="3575050" y="3763963"/>
          <p14:tracePt t="22061" x="3575050" y="3771900"/>
          <p14:tracePt t="22062" x="3575050" y="3775075"/>
          <p14:tracePt t="22063" x="3575050" y="3779838"/>
          <p14:tracePt t="22064" x="3575050" y="3783013"/>
          <p14:tracePt t="22065" x="3575050" y="3787775"/>
          <p14:tracePt t="22066" x="3575050" y="3790950"/>
          <p14:tracePt t="22068" x="3575050" y="3795713"/>
          <p14:tracePt t="22069" x="3575050" y="3798888"/>
          <p14:tracePt t="22070" x="3575050" y="3803650"/>
          <p14:tracePt t="22071" x="3575050" y="3806825"/>
          <p14:tracePt t="22072" x="3575050" y="3811588"/>
          <p14:tracePt t="22074" x="3575050" y="3814763"/>
          <p14:tracePt t="22076" x="3575050" y="3822700"/>
          <p14:tracePt t="22077" x="3571875" y="3827463"/>
          <p14:tracePt t="22078" x="3571875" y="3830638"/>
          <p14:tracePt t="22080" x="3567113" y="3835400"/>
          <p14:tracePt t="22081" x="3567113" y="3838575"/>
          <p14:tracePt t="22082" x="3567113" y="3843338"/>
          <p14:tracePt t="22083" x="3563938" y="3843338"/>
          <p14:tracePt t="22084" x="3563938" y="3848100"/>
          <p14:tracePt t="22085" x="3559175" y="3851275"/>
          <p14:tracePt t="22086" x="3559175" y="3856038"/>
          <p14:tracePt t="22088" x="3556000" y="3859213"/>
          <p14:tracePt t="22089" x="3556000" y="3863975"/>
          <p14:tracePt t="22090" x="3551238" y="3867150"/>
          <p14:tracePt t="22091" x="3551238" y="3871913"/>
          <p14:tracePt t="22093" x="3548063" y="3871913"/>
          <p14:tracePt t="22094" x="3548063" y="3875088"/>
          <p14:tracePt t="22096" x="3543300" y="3879850"/>
          <p14:tracePt t="22097" x="3543300" y="3883025"/>
          <p14:tracePt t="22098" x="3540125" y="3887788"/>
          <p14:tracePt t="22100" x="3540125" y="3890963"/>
          <p14:tracePt t="22101" x="3535363" y="3890963"/>
          <p14:tracePt t="22102" x="3535363" y="3895725"/>
          <p14:tracePt t="22104" x="3535363" y="3898900"/>
          <p14:tracePt t="22105" x="3535363" y="3903663"/>
          <p14:tracePt t="22106" x="3535363" y="3906838"/>
          <p14:tracePt t="22108" x="3535363" y="3911600"/>
          <p14:tracePt t="22109" x="3532188" y="3911600"/>
          <p14:tracePt t="22111" x="3532188" y="3914775"/>
          <p14:tracePt t="22112" x="3532188" y="3919538"/>
          <p14:tracePt t="22113" x="3527425" y="3919538"/>
          <p14:tracePt t="22114" x="3527425" y="3922713"/>
          <p14:tracePt t="22115" x="3527425" y="3927475"/>
          <p14:tracePt t="22116" x="3524250" y="3927475"/>
          <p14:tracePt t="22117" x="3524250" y="3930650"/>
          <p14:tracePt t="22118" x="3524250" y="3935413"/>
          <p14:tracePt t="22119" x="3519488" y="3940175"/>
          <p14:tracePt t="22121" x="3519488" y="3943350"/>
          <p14:tracePt t="22122" x="3514725" y="3948113"/>
          <p14:tracePt t="22124" x="3514725" y="3956050"/>
          <p14:tracePt t="22125" x="3511550" y="3956050"/>
          <p14:tracePt t="22126" x="3511550" y="3959225"/>
          <p14:tracePt t="22128" x="3506788" y="3963988"/>
          <p14:tracePt t="22129" x="3506788" y="3967163"/>
          <p14:tracePt t="22130" x="3503613" y="3971925"/>
          <p14:tracePt t="22131" x="3503613" y="3975100"/>
          <p14:tracePt t="22132" x="3498850" y="3979863"/>
          <p14:tracePt t="22133" x="3498850" y="3983038"/>
          <p14:tracePt t="22134" x="3495675" y="3987800"/>
          <p14:tracePt t="22136" x="3495675" y="3995738"/>
          <p14:tracePt t="22138" x="3490913" y="3998913"/>
          <p14:tracePt t="22140" x="3487738" y="4006850"/>
          <p14:tracePt t="22143" x="3482975" y="4014788"/>
          <p14:tracePt t="22146" x="3479800" y="4024313"/>
          <p14:tracePt t="22146" x="3475038" y="4027488"/>
          <p14:tracePt t="22147" x="3475038" y="4032250"/>
          <p14:tracePt t="22148" x="3471863" y="4035425"/>
          <p14:tracePt t="22149" x="3467100" y="4040188"/>
          <p14:tracePt t="22150" x="3467100" y="4043363"/>
          <p14:tracePt t="22151" x="3463925" y="4048125"/>
          <p14:tracePt t="22152" x="3459163" y="4048125"/>
          <p14:tracePt t="22153" x="3459163" y="4051300"/>
          <p14:tracePt t="22154" x="3455988" y="4059238"/>
          <p14:tracePt t="22155" x="3451225" y="4064000"/>
          <p14:tracePt t="22156" x="3451225" y="4067175"/>
          <p14:tracePt t="22157" x="3448050" y="4071938"/>
          <p14:tracePt t="22158" x="3448050" y="4075113"/>
          <p14:tracePt t="22159" x="3443288" y="4079875"/>
          <p14:tracePt t="22160" x="3443288" y="4083050"/>
          <p14:tracePt t="22161" x="3440113" y="4087813"/>
          <p14:tracePt t="22162" x="3440113" y="4090988"/>
          <p14:tracePt t="22163" x="3435350" y="4095750"/>
          <p14:tracePt t="22165" x="3430588" y="4098925"/>
          <p14:tracePt t="22167" x="3427413" y="4111625"/>
          <p14:tracePt t="22168" x="3422650" y="4116388"/>
          <p14:tracePt t="22169" x="3419475" y="4119563"/>
          <p14:tracePt t="22170" x="3414713" y="4124325"/>
          <p14:tracePt t="22171" x="3411538" y="4127500"/>
          <p14:tracePt t="22172" x="3406775" y="4135438"/>
          <p14:tracePt t="22173" x="3403600" y="4140200"/>
          <p14:tracePt t="22174" x="3398838" y="4143375"/>
          <p14:tracePt t="22175" x="3398838" y="4148138"/>
          <p14:tracePt t="22176" x="3395663" y="4151313"/>
          <p14:tracePt t="22177" x="3390900" y="4151313"/>
          <p14:tracePt t="22179" x="3387725" y="4156075"/>
          <p14:tracePt t="22179" x="3382963" y="4159250"/>
          <p14:tracePt t="22180" x="3379788" y="4167188"/>
          <p14:tracePt t="22181" x="3375025" y="4171950"/>
          <p14:tracePt t="22184" x="3367088" y="4175125"/>
          <p14:tracePt t="22184" x="3367088" y="4179888"/>
          <p14:tracePt t="22185" x="3363913" y="4183063"/>
          <p14:tracePt t="22186" x="3359150" y="4183063"/>
          <p14:tracePt t="22187" x="3359150" y="4187825"/>
          <p14:tracePt t="22188" x="3355975" y="4187825"/>
          <p14:tracePt t="22189" x="3355975" y="4191000"/>
          <p14:tracePt t="22191" x="3355975" y="4195763"/>
          <p14:tracePt t="22193" x="3355975" y="4198938"/>
          <p14:tracePt t="22465" x="3355975" y="4203700"/>
          <p14:tracePt t="22469" x="3338513" y="4216400"/>
          <p14:tracePt t="22470" x="3338513" y="4219575"/>
          <p14:tracePt t="22471" x="3330575" y="4235450"/>
          <p14:tracePt t="22472" x="3322638" y="4240213"/>
          <p14:tracePt t="22473" x="3319463" y="4248150"/>
          <p14:tracePt t="22474" x="3311525" y="4259263"/>
          <p14:tracePt t="22477" x="3298825" y="4279900"/>
          <p14:tracePt t="22481" x="3263900" y="4343400"/>
          <p14:tracePt t="22483" x="3243263" y="4359275"/>
          <p14:tracePt t="22484" x="3235325" y="4375150"/>
          <p14:tracePt t="22485" x="3222625" y="4383088"/>
          <p14:tracePt t="22486" x="3214688" y="4400550"/>
          <p14:tracePt t="22487" x="3206750" y="4411663"/>
          <p14:tracePt t="22488" x="3195638" y="4419600"/>
          <p14:tracePt t="22489" x="3187700" y="4432300"/>
          <p14:tracePt t="22490" x="3179763" y="4443413"/>
          <p14:tracePt t="22491" x="3163888" y="4459288"/>
          <p14:tracePt t="22492" x="3154363" y="4467225"/>
          <p14:tracePt t="22493" x="3143250" y="4479925"/>
          <p14:tracePt t="22494" x="3135313" y="4487863"/>
          <p14:tracePt t="22495" x="3119438" y="4500563"/>
          <p14:tracePt t="22496" x="3106738" y="4516438"/>
          <p14:tracePt t="22497" x="3095625" y="4524375"/>
          <p14:tracePt t="22498" x="3087688" y="4535488"/>
          <p14:tracePt t="22499" x="3079750" y="4543425"/>
          <p14:tracePt t="22500" x="3071813" y="4551363"/>
          <p14:tracePt t="22501" x="3054350" y="4567238"/>
          <p14:tracePt t="22502" x="3046413" y="4576763"/>
          <p14:tracePt t="22503" x="3035300" y="4587875"/>
          <p14:tracePt t="22504" x="3027363" y="4600575"/>
          <p14:tracePt t="22505" x="3011488" y="4611688"/>
          <p14:tracePt t="22506" x="3003550" y="4619625"/>
          <p14:tracePt t="22507" x="2995613" y="4627563"/>
          <p14:tracePt t="22508" x="2987675" y="4635500"/>
          <p14:tracePt t="22509" x="2974975" y="4648200"/>
          <p14:tracePt t="22510" x="2967038" y="4651375"/>
          <p14:tracePt t="22511" x="2959100" y="4659313"/>
          <p14:tracePt t="22513" x="2938463" y="4679950"/>
          <p14:tracePt t="22514" x="2930525" y="4687888"/>
          <p14:tracePt t="22515" x="2922588" y="4692650"/>
          <p14:tracePt t="22516" x="2911475" y="4700588"/>
          <p14:tracePt t="22517" x="2911475" y="4703763"/>
          <p14:tracePt t="22518" x="2898775" y="4711700"/>
          <p14:tracePt t="22519" x="2898775" y="4716463"/>
          <p14:tracePt t="22520" x="2890838" y="4719638"/>
          <p14:tracePt t="22521" x="2886075" y="4724400"/>
          <p14:tracePt t="22522" x="2878138" y="4727575"/>
          <p14:tracePt t="22523" x="2874963" y="4732338"/>
          <p14:tracePt t="22524" x="2870200" y="4735513"/>
          <p14:tracePt t="22525" x="2867025" y="4740275"/>
          <p14:tracePt t="22526" x="2862263" y="4743450"/>
          <p14:tracePt t="22527" x="2859088" y="4748213"/>
          <p14:tracePt t="22528" x="2854325" y="4748213"/>
          <p14:tracePt t="22530" x="2851150" y="4748213"/>
          <p14:tracePt t="22531" x="2846388" y="4751388"/>
          <p14:tracePt t="22532" x="2843213" y="4751388"/>
          <p14:tracePt t="22533" x="2843213" y="4756150"/>
          <p14:tracePt t="22535" x="2838450" y="4756150"/>
          <p14:tracePt t="22536" x="2835275" y="4760913"/>
          <p14:tracePt t="22538" x="2830513" y="4760913"/>
          <p14:tracePt t="22540" x="2827338" y="4760913"/>
          <p14:tracePt t="22542" x="2822575" y="4764088"/>
          <p14:tracePt t="22545" x="2819400" y="4764088"/>
          <p14:tracePt t="22546" x="2814638" y="4764088"/>
          <p14:tracePt t="22548" x="2811463" y="4764088"/>
          <p14:tracePt t="22551" x="2806700" y="4764088"/>
          <p14:tracePt t="22553" x="2803525" y="4764088"/>
          <p14:tracePt t="22558" x="2798763" y="4764088"/>
          <p14:tracePt t="22560" x="2794000" y="4760913"/>
          <p14:tracePt t="22562" x="2790825" y="4756150"/>
          <p14:tracePt t="22565" x="2786063" y="4751388"/>
          <p14:tracePt t="22566" x="2782888" y="4751388"/>
          <p14:tracePt t="22568" x="2778125" y="4751388"/>
          <p14:tracePt t="22570" x="2774950" y="4748213"/>
          <p14:tracePt t="22571" x="2770188" y="4748213"/>
          <p14:tracePt t="22572" x="2770188" y="4743450"/>
          <p14:tracePt t="22573" x="2767013" y="4743450"/>
          <p14:tracePt t="22574" x="2762250" y="4740275"/>
          <p14:tracePt t="22576" x="2762250" y="4735513"/>
          <p14:tracePt t="22577" x="2759075" y="4735513"/>
          <p14:tracePt t="22578" x="2754313" y="4732338"/>
          <p14:tracePt t="22580" x="2751138" y="4727575"/>
          <p14:tracePt t="22581" x="2746375" y="4727575"/>
          <p14:tracePt t="22582" x="2743200" y="4724400"/>
          <p14:tracePt t="22583" x="2738438" y="4719638"/>
          <p14:tracePt t="22584" x="2735263" y="4719638"/>
          <p14:tracePt t="22585" x="2735263" y="4716463"/>
          <p14:tracePt t="22586" x="2730500" y="4711700"/>
          <p14:tracePt t="22587" x="2727325" y="4711700"/>
          <p14:tracePt t="22588" x="2722563" y="4711700"/>
          <p14:tracePt t="22590" x="2719388" y="4708525"/>
          <p14:tracePt t="22591" x="2714625" y="4708525"/>
          <p14:tracePt t="22592" x="2711450" y="4703763"/>
          <p14:tracePt t="22593" x="2706688" y="4700588"/>
          <p14:tracePt t="22594" x="2701925" y="4700588"/>
          <p14:tracePt t="22595" x="2698750" y="4695825"/>
          <p14:tracePt t="22596" x="2693988" y="4692650"/>
          <p14:tracePt t="22598" x="2690813" y="4692650"/>
          <p14:tracePt t="22598" x="2686050" y="4687888"/>
          <p14:tracePt t="22599" x="2682875" y="4684713"/>
          <p14:tracePt t="22601" x="2682875" y="4679950"/>
          <p14:tracePt t="22602" x="2674938" y="4676775"/>
          <p14:tracePt t="22603" x="2670175" y="4676775"/>
          <p14:tracePt t="22604" x="2667000" y="4672013"/>
          <p14:tracePt t="22605" x="2662238" y="4672013"/>
          <p14:tracePt t="22606" x="2659063" y="4668838"/>
          <p14:tracePt t="22608" x="2651125" y="4668838"/>
          <p14:tracePt t="22609" x="2646363" y="4664075"/>
          <p14:tracePt t="22610" x="2643188" y="4664075"/>
          <p14:tracePt t="22611" x="2638425" y="4659313"/>
          <p14:tracePt t="22612" x="2635250" y="4659313"/>
          <p14:tracePt t="22613" x="2630488" y="4656138"/>
          <p14:tracePt t="22614" x="2627313" y="4656138"/>
          <p14:tracePt t="22615" x="2627313" y="4651375"/>
          <p14:tracePt t="22616" x="2622550" y="4651375"/>
          <p14:tracePt t="22617" x="2617788" y="4651375"/>
          <p14:tracePt t="22618" x="2614613" y="4648200"/>
          <p14:tracePt t="22620" x="2609850" y="4648200"/>
          <p14:tracePt t="22621" x="2609850" y="4643438"/>
          <p14:tracePt t="22622" x="2606675" y="4643438"/>
          <p14:tracePt t="22623" x="2601913" y="4643438"/>
          <p14:tracePt t="22626" x="2598738" y="4643438"/>
          <p14:tracePt t="22628" x="2593975" y="4640263"/>
          <p14:tracePt t="22630" x="2590800" y="4640263"/>
          <p14:tracePt t="22654" x="2586038" y="4640263"/>
          <p14:tracePt t="22712" x="2586038" y="4643438"/>
          <p14:tracePt t="22725" x="2586038" y="4648200"/>
          <p14:tracePt t="22738" x="2586038" y="4651375"/>
          <p14:tracePt t="22781" x="2586038" y="4648200"/>
          <p14:tracePt t="22784" x="2590800" y="4648200"/>
          <p14:tracePt t="22786" x="2593975" y="4643438"/>
          <p14:tracePt t="22788" x="2598738" y="4643438"/>
          <p14:tracePt t="22791" x="2601913" y="4640263"/>
          <p14:tracePt t="22793" x="2614613" y="4635500"/>
          <p14:tracePt t="22797" x="2630488" y="4627563"/>
          <p14:tracePt t="22799" x="2638425" y="4624388"/>
          <p14:tracePt t="22800" x="2643188" y="4624388"/>
          <p14:tracePt t="22802" x="2651125" y="4619625"/>
          <p14:tracePt t="22803" x="2659063" y="4616450"/>
          <p14:tracePt t="22805" x="2667000" y="4611688"/>
          <p14:tracePt t="22807" x="2674938" y="4608513"/>
          <p14:tracePt t="22809" x="2678113" y="4603750"/>
          <p14:tracePt t="22812" x="2686050" y="4600575"/>
          <p14:tracePt t="22814" x="2690813" y="4600575"/>
          <p14:tracePt t="23551" x="2690813" y="4595813"/>
          <p14:tracePt t="23626" x="2693988" y="4595813"/>
          <p14:tracePt t="23638" x="2698750" y="4595813"/>
          <p14:tracePt t="23641" x="2701925" y="4595813"/>
          <p14:tracePt t="23643" x="2706688" y="4595813"/>
          <p14:tracePt t="23644" x="2706688" y="4592638"/>
          <p14:tracePt t="23645" x="2711450" y="4592638"/>
          <p14:tracePt t="23646" x="2714625" y="4592638"/>
          <p14:tracePt t="23647" x="2719388" y="4592638"/>
          <p14:tracePt t="23648" x="2722563" y="4592638"/>
          <p14:tracePt t="23649" x="2722563" y="4587875"/>
          <p14:tracePt t="23650" x="2727325" y="4587875"/>
          <p14:tracePt t="23651" x="2730500" y="4587875"/>
          <p14:tracePt t="23652" x="2735263" y="4584700"/>
          <p14:tracePt t="23653" x="2738438" y="4584700"/>
          <p14:tracePt t="23654" x="2743200" y="4584700"/>
          <p14:tracePt t="23655" x="2746375" y="4579938"/>
          <p14:tracePt t="23656" x="2754313" y="4579938"/>
          <p14:tracePt t="23657" x="2759075" y="4579938"/>
          <p14:tracePt t="23658" x="2767013" y="4579938"/>
          <p14:tracePt t="23659" x="2770188" y="4579938"/>
          <p14:tracePt t="23660" x="2770188" y="4576763"/>
          <p14:tracePt t="23661" x="2778125" y="4576763"/>
          <p14:tracePt t="23662" x="2790825" y="4572000"/>
          <p14:tracePt t="23663" x="2794000" y="4572000"/>
          <p14:tracePt t="23664" x="2794000" y="4567238"/>
          <p14:tracePt t="23665" x="2798763" y="4567238"/>
          <p14:tracePt t="23666" x="2806700" y="4564063"/>
          <p14:tracePt t="23667" x="2814638" y="4564063"/>
          <p14:tracePt t="23668" x="2819400" y="4559300"/>
          <p14:tracePt t="23669" x="2827338" y="4559300"/>
          <p14:tracePt t="23670" x="2835275" y="4556125"/>
          <p14:tracePt t="23671" x="2838450" y="4551363"/>
          <p14:tracePt t="23672" x="2851150" y="4548188"/>
          <p14:tracePt t="23673" x="2862263" y="4543425"/>
          <p14:tracePt t="23674" x="2870200" y="4535488"/>
          <p14:tracePt t="23675" x="2878138" y="4532313"/>
          <p14:tracePt t="23676" x="2886075" y="4524375"/>
          <p14:tracePt t="23678" x="2914650" y="4511675"/>
          <p14:tracePt t="23680" x="2927350" y="4503738"/>
          <p14:tracePt t="23680" x="2938463" y="4495800"/>
          <p14:tracePt t="23681" x="2946400" y="4492625"/>
          <p14:tracePt t="23682" x="2962275" y="4475163"/>
          <p14:tracePt t="23683" x="2978150" y="4467225"/>
          <p14:tracePt t="23684" x="2987675" y="4464050"/>
          <p14:tracePt t="23685" x="2995613" y="4456113"/>
          <p14:tracePt t="23686" x="3003550" y="4443413"/>
          <p14:tracePt t="23687" x="3027363" y="4427538"/>
          <p14:tracePt t="23688" x="3035300" y="4419600"/>
          <p14:tracePt t="23689" x="3043238" y="4403725"/>
          <p14:tracePt t="23690" x="3059113" y="4395788"/>
          <p14:tracePt t="23691" x="3067050" y="4387850"/>
          <p14:tracePt t="23692" x="3082925" y="4371975"/>
          <p14:tracePt t="23693" x="3090863" y="4356100"/>
          <p14:tracePt t="23694" x="3098800" y="4348163"/>
          <p14:tracePt t="23696" x="3122613" y="4324350"/>
          <p14:tracePt t="23698" x="3151188" y="4295775"/>
          <p14:tracePt t="23699" x="3159125" y="4279900"/>
          <p14:tracePt t="23700" x="3167063" y="4264025"/>
          <p14:tracePt t="23701" x="3179763" y="4251325"/>
          <p14:tracePt t="23702" x="3187700" y="4235450"/>
          <p14:tracePt t="23703" x="3198813" y="4224338"/>
          <p14:tracePt t="23704" x="3203575" y="4208463"/>
          <p14:tracePt t="23705" x="3211513" y="4195763"/>
          <p14:tracePt t="23706" x="3222625" y="4179888"/>
          <p14:tracePt t="23707" x="3230563" y="4164013"/>
          <p14:tracePt t="23708" x="3243263" y="4143375"/>
          <p14:tracePt t="23709" x="3246438" y="4135438"/>
          <p14:tracePt t="23710" x="3251200" y="4124325"/>
          <p14:tracePt t="23712" x="3259138" y="4106863"/>
          <p14:tracePt t="23715" x="3287713" y="4056063"/>
          <p14:tracePt t="23716" x="3290888" y="4043363"/>
          <p14:tracePt t="23717" x="3298825" y="4032250"/>
          <p14:tracePt t="23718" x="3306763" y="4019550"/>
          <p14:tracePt t="23719" x="3311525" y="4003675"/>
          <p14:tracePt t="23720" x="3314700" y="3995738"/>
          <p14:tracePt t="23721" x="3319463" y="3987800"/>
          <p14:tracePt t="23722" x="3322638" y="3971925"/>
          <p14:tracePt t="23723" x="3330575" y="3959225"/>
          <p14:tracePt t="23724" x="3335338" y="3951288"/>
          <p14:tracePt t="23725" x="3338513" y="3943350"/>
          <p14:tracePt t="23726" x="3343275" y="3930650"/>
          <p14:tracePt t="23727" x="3348038" y="3922713"/>
          <p14:tracePt t="23728" x="3351213" y="3911600"/>
          <p14:tracePt t="23731" x="3359150" y="3890963"/>
          <p14:tracePt t="23732" x="3363913" y="3879850"/>
          <p14:tracePt t="23733" x="3371850" y="3867150"/>
          <p14:tracePt t="23734" x="3371850" y="3863975"/>
          <p14:tracePt t="23735" x="3371850" y="3856038"/>
          <p14:tracePt t="23736" x="3379788" y="3848100"/>
          <p14:tracePt t="23737" x="3379788" y="3843338"/>
          <p14:tracePt t="23738" x="3382963" y="3835400"/>
          <p14:tracePt t="23739" x="3382963" y="3827463"/>
          <p14:tracePt t="23740" x="3387725" y="3819525"/>
          <p14:tracePt t="23741" x="3387725" y="3814763"/>
          <p14:tracePt t="23743" x="3390900" y="3811588"/>
          <p14:tracePt t="23743" x="3390900" y="3803650"/>
          <p14:tracePt t="23744" x="3390900" y="3798888"/>
          <p14:tracePt t="23745" x="3395663" y="3790950"/>
          <p14:tracePt t="23746" x="3395663" y="3787775"/>
          <p14:tracePt t="23747" x="3395663" y="3783013"/>
          <p14:tracePt t="23748" x="3398838" y="3775075"/>
          <p14:tracePt t="23749" x="3398838" y="3771900"/>
          <p14:tracePt t="23750" x="3398838" y="3767138"/>
          <p14:tracePt t="23751" x="3398838" y="3763963"/>
          <p14:tracePt t="23753" x="3398838" y="3756025"/>
          <p14:tracePt t="23754" x="3398838" y="3751263"/>
          <p14:tracePt t="23755" x="3398838" y="3746500"/>
          <p14:tracePt t="23756" x="3403600" y="3743325"/>
          <p14:tracePt t="23757" x="3403600" y="3738563"/>
          <p14:tracePt t="23758" x="3403600" y="3735388"/>
          <p14:tracePt t="23759" x="3403600" y="3730625"/>
          <p14:tracePt t="23760" x="3403600" y="3727450"/>
          <p14:tracePt t="23761" x="3403600" y="3722688"/>
          <p14:tracePt t="23762" x="3403600" y="3719513"/>
          <p14:tracePt t="23764" x="3403600" y="3714750"/>
          <p14:tracePt t="23766" x="3403600" y="3711575"/>
          <p14:tracePt t="23767" x="3403600" y="3706813"/>
          <p14:tracePt t="23768" x="3403600" y="3703638"/>
          <p14:tracePt t="23769" x="3403600" y="3698875"/>
          <p14:tracePt t="23771" x="3403600" y="3695700"/>
          <p14:tracePt t="23773" x="3403600" y="3690938"/>
          <p14:tracePt t="23774" x="3403600" y="3687763"/>
          <p14:tracePt t="23776" x="3403600" y="3683000"/>
          <p14:tracePt t="23778" x="3403600" y="3679825"/>
          <p14:tracePt t="23782" x="3403600" y="3675063"/>
          <p14:tracePt t="23786" x="3403600" y="3671888"/>
          <p14:tracePt t="23790" x="3403600" y="3667125"/>
          <p14:tracePt t="23793" x="3403600" y="3663950"/>
          <p14:tracePt t="23799" x="3403600" y="3659188"/>
          <p14:tracePt t="23802" x="3403600" y="3654425"/>
          <p14:tracePt t="23805" x="3403600" y="3651250"/>
          <p14:tracePt t="23807" x="3403600" y="3646488"/>
          <p14:tracePt t="23810" x="3403600" y="3643313"/>
          <p14:tracePt t="23812" x="3403600" y="3638550"/>
          <p14:tracePt t="23814" x="3403600" y="3635375"/>
          <p14:tracePt t="23816" x="3403600" y="3630613"/>
          <p14:tracePt t="23818" x="3403600" y="3627438"/>
          <p14:tracePt t="23819" x="3403600" y="3622675"/>
          <p14:tracePt t="23821" x="3403600" y="3619500"/>
          <p14:tracePt t="23822" x="3403600" y="3614738"/>
          <p14:tracePt t="23823" x="3403600" y="3611563"/>
          <p14:tracePt t="23824" x="3403600" y="3606800"/>
          <p14:tracePt t="23825" x="3403600" y="3603625"/>
          <p14:tracePt t="23826" x="3403600" y="3598863"/>
          <p14:tracePt t="23827" x="3403600" y="3595688"/>
          <p14:tracePt t="23829" x="3403600" y="3590925"/>
          <p14:tracePt t="23830" x="3403600" y="3587750"/>
          <p14:tracePt t="23831" x="3403600" y="3582988"/>
          <p14:tracePt t="23832" x="3403600" y="3579813"/>
          <p14:tracePt t="23833" x="3403600" y="3575050"/>
          <p14:tracePt t="23834" x="3403600" y="3571875"/>
          <p14:tracePt t="23835" x="3403600" y="3567113"/>
          <p14:tracePt t="23836" x="3403600" y="3562350"/>
          <p14:tracePt t="23837" x="3403600" y="3559175"/>
          <p14:tracePt t="23838" x="3403600" y="3551238"/>
          <p14:tracePt t="23840" x="3403600" y="3546475"/>
          <p14:tracePt t="23841" x="3403600" y="3543300"/>
          <p14:tracePt t="23843" x="3403600" y="3538538"/>
          <p14:tracePt t="23843" x="3403600" y="3535363"/>
          <p14:tracePt t="23844" x="3403600" y="3530600"/>
          <p14:tracePt t="23845" x="3403600" y="3527425"/>
          <p14:tracePt t="23846" x="3403600" y="3522663"/>
          <p14:tracePt t="23847" x="3403600" y="3519488"/>
          <p14:tracePt t="23848" x="3403600" y="3514725"/>
          <p14:tracePt t="23849" x="3403600" y="3511550"/>
          <p14:tracePt t="23850" x="3403600" y="3506788"/>
          <p14:tracePt t="23851" x="3403600" y="3503613"/>
          <p14:tracePt t="23852" x="3403600" y="3498850"/>
          <p14:tracePt t="23853" x="3403600" y="3495675"/>
          <p14:tracePt t="23855" x="3403600" y="3490913"/>
          <p14:tracePt t="23856" x="3403600" y="3487738"/>
          <p14:tracePt t="23857" x="3403600" y="3482975"/>
          <p14:tracePt t="23858" x="3403600" y="3479800"/>
          <p14:tracePt t="23859" x="3403600" y="3475038"/>
          <p14:tracePt t="23860" x="3403600" y="3470275"/>
          <p14:tracePt t="23862" x="3403600" y="3467100"/>
          <p14:tracePt t="23863" x="3403600" y="3462338"/>
          <p14:tracePt t="23866" x="3403600" y="3459163"/>
          <p14:tracePt t="23868" x="3406775" y="3454400"/>
          <p14:tracePt t="23870" x="3406775" y="3451225"/>
          <p14:tracePt t="23871" x="3406775" y="3446463"/>
          <p14:tracePt t="23873" x="3406775" y="3443288"/>
          <p14:tracePt t="23877" x="3411538" y="3438525"/>
          <p14:tracePt t="23880" x="3411538" y="3435350"/>
          <p14:tracePt t="23884" x="3414713" y="3435350"/>
          <p14:tracePt t="23885" x="3414713" y="3430588"/>
          <p14:tracePt t="24114" x="3419475" y="3427413"/>
          <p14:tracePt t="24116" x="3419475" y="3422650"/>
          <p14:tracePt t="24117" x="3422650" y="3422650"/>
          <p14:tracePt t="24118" x="3422650" y="3419475"/>
          <p14:tracePt t="24119" x="3422650" y="3414713"/>
          <p14:tracePt t="24120" x="3427413" y="3411538"/>
          <p14:tracePt t="24121" x="3427413" y="3406775"/>
          <p14:tracePt t="24122" x="3430588" y="3403600"/>
          <p14:tracePt t="24123" x="3430588" y="3398838"/>
          <p14:tracePt t="24124" x="3435350" y="3390900"/>
          <p14:tracePt t="24125" x="3440113" y="3387725"/>
          <p14:tracePt t="24126" x="3443288" y="3378200"/>
          <p14:tracePt t="24127" x="3448050" y="3375025"/>
          <p14:tracePt t="24128" x="3451225" y="3367088"/>
          <p14:tracePt t="24129" x="3451225" y="3362325"/>
          <p14:tracePt t="24130" x="3455988" y="3354388"/>
          <p14:tracePt t="24131" x="3459163" y="3346450"/>
          <p14:tracePt t="24132" x="3463925" y="3343275"/>
          <p14:tracePt t="24133" x="3467100" y="3335338"/>
          <p14:tracePt t="24134" x="3467100" y="3330575"/>
          <p14:tracePt t="24136" x="3482975" y="3314700"/>
          <p14:tracePt t="24137" x="3482975" y="3311525"/>
          <p14:tracePt t="24138" x="3487738" y="3306763"/>
          <p14:tracePt t="24139" x="3490913" y="3298825"/>
          <p14:tracePt t="24140" x="3495675" y="3295650"/>
          <p14:tracePt t="24141" x="3498850" y="3286125"/>
          <p14:tracePt t="24143" x="3498850" y="3282950"/>
          <p14:tracePt t="24143" x="3503613" y="3282950"/>
          <p14:tracePt t="24144" x="3506788" y="3278188"/>
          <p14:tracePt t="24146" x="3514725" y="3270250"/>
          <p14:tracePt t="24147" x="3519488" y="3267075"/>
          <p14:tracePt t="24148" x="3519488" y="3262313"/>
          <p14:tracePt t="24149" x="3524250" y="3259138"/>
          <p14:tracePt t="24150" x="3524250" y="3254375"/>
          <p14:tracePt t="24151" x="3527425" y="3251200"/>
          <p14:tracePt t="24152" x="3532188" y="3251200"/>
          <p14:tracePt t="24153" x="3532188" y="3246438"/>
          <p14:tracePt t="24154" x="3535363" y="3243263"/>
          <p14:tracePt t="24156" x="3540125" y="3243263"/>
          <p14:tracePt t="24157" x="3540125" y="3238500"/>
          <p14:tracePt t="24159" x="3540125" y="3235325"/>
          <p14:tracePt t="24161" x="3540125" y="3230563"/>
          <p14:tracePt t="24164" x="3540125" y="3227388"/>
          <p14:tracePt t="24166" x="3543300" y="3222625"/>
          <p14:tracePt t="24168" x="3548063" y="3222625"/>
          <p14:tracePt t="24169" x="3548063" y="3219450"/>
          <p14:tracePt t="24172" x="3551238" y="3219450"/>
          <p14:tracePt t="24173" x="3551238" y="3214688"/>
          <p14:tracePt t="24790" x="3551238" y="3219450"/>
          <p14:tracePt t="29101" x="3551238" y="3222625"/>
          <p14:tracePt t="29105" x="3551238" y="3227388"/>
          <p14:tracePt t="29107" x="3551238" y="3230563"/>
          <p14:tracePt t="29111" x="3551238" y="3235325"/>
          <p14:tracePt t="29113" x="3551238" y="3238500"/>
          <p14:tracePt t="29117" x="3556000" y="3238500"/>
          <p14:tracePt t="29120" x="3556000" y="3246438"/>
          <p14:tracePt t="29121" x="3559175" y="3251200"/>
          <p14:tracePt t="29123" x="3559175" y="3254375"/>
          <p14:tracePt t="29124" x="3563938" y="3259138"/>
          <p14:tracePt t="29125" x="3563938" y="3262313"/>
          <p14:tracePt t="29127" x="3567113" y="3267075"/>
          <p14:tracePt t="29130" x="3571875" y="3270250"/>
          <p14:tracePt t="29132" x="3575050" y="3275013"/>
          <p14:tracePt t="29134" x="3579813" y="3278188"/>
          <p14:tracePt t="29137" x="3582988" y="3282950"/>
          <p14:tracePt t="29138" x="3587750" y="3282950"/>
          <p14:tracePt t="29140" x="3587750" y="3286125"/>
          <p14:tracePt t="29141" x="3590925" y="3286125"/>
          <p14:tracePt t="29142" x="3590925" y="3290888"/>
          <p14:tracePt t="29145" x="3595688" y="3290888"/>
          <p14:tracePt t="29147" x="3598863" y="3295650"/>
          <p14:tracePt t="29150" x="3603625" y="3295650"/>
          <p14:tracePt t="29152" x="3606800" y="3295650"/>
          <p14:tracePt t="29156" x="3611563" y="3295650"/>
          <p14:tracePt t="29162" x="3616325" y="3295650"/>
          <p14:tracePt t="29178" x="3619500" y="3295650"/>
          <p14:tracePt t="29184" x="3624263" y="3295650"/>
          <p14:tracePt t="29187" x="3627438" y="3295650"/>
          <p14:tracePt t="29190" x="3632200" y="3295650"/>
          <p14:tracePt t="29192" x="3635375" y="3295650"/>
          <p14:tracePt t="29194" x="3640138" y="3295650"/>
          <p14:tracePt t="29196" x="3643313" y="3295650"/>
          <p14:tracePt t="29198" x="3648075" y="3295650"/>
          <p14:tracePt t="29200" x="3651250" y="3298825"/>
          <p14:tracePt t="29201" x="3656013" y="3298825"/>
          <p14:tracePt t="29203" x="3659188" y="3298825"/>
          <p14:tracePt t="29205" x="3663950" y="3298825"/>
          <p14:tracePt t="29210" x="3671888" y="3298825"/>
          <p14:tracePt t="29212" x="3675063" y="3298825"/>
          <p14:tracePt t="29215" x="3679825" y="3303588"/>
          <p14:tracePt t="29216" x="3683000" y="3303588"/>
          <p14:tracePt t="29218" x="3687763" y="3303588"/>
          <p14:tracePt t="29219" x="3690938" y="3303588"/>
          <p14:tracePt t="29221" x="3695700" y="3303588"/>
          <p14:tracePt t="29222" x="3698875" y="3303588"/>
          <p14:tracePt t="29223" x="3698875" y="3306763"/>
          <p14:tracePt t="29225" x="3703638" y="3306763"/>
          <p14:tracePt t="29229" x="3708400" y="3306763"/>
          <p14:tracePt t="29231" x="3711575" y="3311525"/>
          <p14:tracePt t="29235" x="3716338" y="3311525"/>
          <p14:tracePt t="29238" x="3716338" y="3314700"/>
          <p14:tracePt t="29239" x="3719513" y="3314700"/>
          <p14:tracePt t="29243" x="3724275" y="3314700"/>
          <p14:tracePt t="29251" x="3724275" y="3319463"/>
          <p14:tracePt t="29252" x="3727450" y="3319463"/>
          <p14:tracePt t="29300" x="3727450" y="3322638"/>
          <p14:tracePt t="29366" x="3727450" y="3327400"/>
          <p14:tracePt t="31236" x="3724275" y="3327400"/>
          <p14:tracePt t="31238" x="3724275" y="3322638"/>
          <p14:tracePt t="31239" x="3719513" y="3322638"/>
          <p14:tracePt t="31242" x="3711575" y="3322638"/>
          <p14:tracePt t="31245" x="3703638" y="3322638"/>
          <p14:tracePt t="31246" x="3698875" y="3322638"/>
          <p14:tracePt t="31248" x="3695700" y="3319463"/>
          <p14:tracePt t="31249" x="3690938" y="3319463"/>
          <p14:tracePt t="31250" x="3687763" y="3319463"/>
          <p14:tracePt t="31251" x="3683000" y="3319463"/>
          <p14:tracePt t="31252" x="3679825" y="3319463"/>
          <p14:tracePt t="31254" x="3663950" y="3314700"/>
          <p14:tracePt t="31255" x="3659188" y="3314700"/>
          <p14:tracePt t="31257" x="3656013" y="3314700"/>
          <p14:tracePt t="31258" x="3651250" y="3314700"/>
          <p14:tracePt t="31259" x="3643313" y="3314700"/>
          <p14:tracePt t="31263" x="3632200" y="3311525"/>
          <p14:tracePt t="31263" x="3627438" y="3311525"/>
          <p14:tracePt t="31265" x="3624263" y="3311525"/>
          <p14:tracePt t="31265" x="3619500" y="3311525"/>
          <p14:tracePt t="31267" x="3616325" y="3311525"/>
          <p14:tracePt t="31268" x="3606800" y="3311525"/>
          <p14:tracePt t="31270" x="3603625" y="3306763"/>
          <p14:tracePt t="31272" x="3598863" y="3306763"/>
          <p14:tracePt t="31273" x="3595688" y="3306763"/>
          <p14:tracePt t="31275" x="3590925" y="3306763"/>
          <p14:tracePt t="31276" x="3587750" y="3306763"/>
          <p14:tracePt t="31278" x="3582988" y="3306763"/>
          <p14:tracePt t="31280" x="3579813" y="3306763"/>
          <p14:tracePt t="31283" x="3575050" y="3306763"/>
          <p14:tracePt t="31291" x="3571875" y="3306763"/>
          <p14:tracePt t="31305" x="3567113" y="3306763"/>
          <p14:tracePt t="31309" x="3563938" y="3311525"/>
          <p14:tracePt t="31310" x="3559175" y="3311525"/>
          <p14:tracePt t="31311" x="3556000" y="3314700"/>
          <p14:tracePt t="31313" x="3551238" y="3319463"/>
          <p14:tracePt t="31315" x="3548063" y="3319463"/>
          <p14:tracePt t="31317" x="3543300" y="3319463"/>
          <p14:tracePt t="31318" x="3540125" y="3322638"/>
          <p14:tracePt t="31319" x="3540125" y="3327400"/>
          <p14:tracePt t="31320" x="3532188" y="3327400"/>
          <p14:tracePt t="31321" x="3532188" y="3330575"/>
          <p14:tracePt t="31322" x="3527425" y="3330575"/>
          <p14:tracePt t="31323" x="3524250" y="3335338"/>
          <p14:tracePt t="31324" x="3524250" y="3338513"/>
          <p14:tracePt t="31325" x="3519488" y="3338513"/>
          <p14:tracePt t="31327" x="3514725" y="3343275"/>
          <p14:tracePt t="31328" x="3511550" y="3346450"/>
          <p14:tracePt t="31329" x="3506788" y="3351213"/>
          <p14:tracePt t="31330" x="3498850" y="3354388"/>
          <p14:tracePt t="31331" x="3498850" y="3359150"/>
          <p14:tracePt t="31332" x="3495675" y="3359150"/>
          <p14:tracePt t="31333" x="3490913" y="3362325"/>
          <p14:tracePt t="31334" x="3487738" y="3362325"/>
          <p14:tracePt t="31335" x="3482975" y="3362325"/>
          <p14:tracePt t="31336" x="3475038" y="3367088"/>
          <p14:tracePt t="31339" x="3467100" y="3375025"/>
          <p14:tracePt t="31341" x="3463925" y="3378200"/>
          <p14:tracePt t="31342" x="3463925" y="3382963"/>
          <p14:tracePt t="31343" x="3459163" y="3382963"/>
          <p14:tracePt t="31344" x="3459163" y="3387725"/>
          <p14:tracePt t="31346" x="3451225" y="3390900"/>
          <p14:tracePt t="31347" x="3448050" y="3390900"/>
          <p14:tracePt t="31348" x="3443288" y="3390900"/>
          <p14:tracePt t="31349" x="3440113" y="3395663"/>
          <p14:tracePt t="31351" x="3435350" y="3398838"/>
          <p14:tracePt t="31352" x="3430588" y="3398838"/>
          <p14:tracePt t="31355" x="3427413" y="3403600"/>
          <p14:tracePt t="31357" x="3422650" y="3406775"/>
          <p14:tracePt t="31358" x="3419475" y="3406775"/>
          <p14:tracePt t="31360" x="3414713" y="3406775"/>
          <p14:tracePt t="31362" x="3411538" y="3406775"/>
          <p14:tracePt t="31363" x="3406775" y="3406775"/>
          <p14:tracePt t="31365" x="3403600" y="3406775"/>
          <p14:tracePt t="31366" x="3403600" y="3411538"/>
          <p14:tracePt t="31367" x="3398838" y="3411538"/>
          <p14:tracePt t="31369" x="3395663" y="3411538"/>
          <p14:tracePt t="31370" x="3395663" y="3414713"/>
          <p14:tracePt t="31371" x="3390900" y="3414713"/>
          <p14:tracePt t="31372" x="3387725" y="3414713"/>
          <p14:tracePt t="31375" x="3382963" y="3414713"/>
          <p14:tracePt t="31377" x="3379788" y="3419475"/>
          <p14:tracePt t="31379" x="3375025" y="3419475"/>
          <p14:tracePt t="31380" x="3371850" y="3419475"/>
          <p14:tracePt t="31382" x="3367088" y="3419475"/>
          <p14:tracePt t="31383" x="3363913" y="3419475"/>
          <p14:tracePt t="31385" x="3359150" y="3419475"/>
          <p14:tracePt t="31386" x="3359150" y="3422650"/>
          <p14:tracePt t="31388" x="3351213" y="3422650"/>
          <p14:tracePt t="31389" x="3348038" y="3422650"/>
          <p14:tracePt t="31392" x="3343275" y="3422650"/>
          <p14:tracePt t="31393" x="3338513" y="3422650"/>
          <p14:tracePt t="31395" x="3330575" y="3422650"/>
          <p14:tracePt t="31396" x="3327400" y="3422650"/>
          <p14:tracePt t="31397" x="3322638" y="3422650"/>
          <p14:tracePt t="31398" x="3319463" y="3422650"/>
          <p14:tracePt t="31400" x="3314700" y="3422650"/>
          <p14:tracePt t="31401" x="3311525" y="3422650"/>
          <p14:tracePt t="31403" x="3306763" y="3422650"/>
          <p14:tracePt t="31406" x="3303588" y="3427413"/>
          <p14:tracePt t="31409" x="3298825" y="3427413"/>
          <p14:tracePt t="31412" x="3295650" y="3427413"/>
          <p14:tracePt t="31419" x="3290888" y="3427413"/>
          <p14:tracePt t="31448" x="3287713" y="3427413"/>
          <p14:tracePt t="31452" x="3282950" y="3427413"/>
          <p14:tracePt t="31455" x="3279775" y="3427413"/>
          <p14:tracePt t="31457" x="3275013" y="3427413"/>
          <p14:tracePt t="31460" x="3271838" y="3427413"/>
          <p14:tracePt t="31461" x="3267075" y="3427413"/>
          <p14:tracePt t="31462" x="3263900" y="3427413"/>
          <p14:tracePt t="31464" x="3259138" y="3427413"/>
          <p14:tracePt t="31465" x="3255963" y="3427413"/>
          <p14:tracePt t="31466" x="3251200" y="3427413"/>
          <p14:tracePt t="31467" x="3246438" y="3427413"/>
          <p14:tracePt t="31468" x="3243263" y="3427413"/>
          <p14:tracePt t="31469" x="3238500" y="3430588"/>
          <p14:tracePt t="31470" x="3235325" y="3430588"/>
          <p14:tracePt t="31471" x="3230563" y="3430588"/>
          <p14:tracePt t="31472" x="3222625" y="3430588"/>
          <p14:tracePt t="31473" x="3219450" y="3435350"/>
          <p14:tracePt t="31474" x="3214688" y="3435350"/>
          <p14:tracePt t="31475" x="3211513" y="3435350"/>
          <p14:tracePt t="31476" x="3206750" y="3438525"/>
          <p14:tracePt t="31477" x="3198813" y="3438525"/>
          <p14:tracePt t="31479" x="3182938" y="3443288"/>
          <p14:tracePt t="31480" x="3179763" y="3443288"/>
          <p14:tracePt t="31481" x="3171825" y="3446463"/>
          <p14:tracePt t="31482" x="3163888" y="3446463"/>
          <p14:tracePt t="31483" x="3159125" y="3451225"/>
          <p14:tracePt t="31484" x="3151188" y="3454400"/>
          <p14:tracePt t="31485" x="3146425" y="3454400"/>
          <p14:tracePt t="31486" x="3138488" y="3454400"/>
          <p14:tracePt t="31487" x="3130550" y="3459163"/>
          <p14:tracePt t="31488" x="3119438" y="3462338"/>
          <p14:tracePt t="31489" x="3111500" y="3462338"/>
          <p14:tracePt t="31490" x="3106738" y="3467100"/>
          <p14:tracePt t="31491" x="3098800" y="3470275"/>
          <p14:tracePt t="31492" x="3090863" y="3475038"/>
          <p14:tracePt t="31493" x="3082925" y="3479800"/>
          <p14:tracePt t="31494" x="3074988" y="3479800"/>
          <p14:tracePt t="31496" x="3062288" y="3487738"/>
          <p14:tracePt t="31497" x="3054350" y="3490913"/>
          <p14:tracePt t="31498" x="3046413" y="3495675"/>
          <p14:tracePt t="31499" x="3038475" y="3495675"/>
          <p14:tracePt t="31500" x="3035300" y="3498850"/>
          <p14:tracePt t="31501" x="3027363" y="3503613"/>
          <p14:tracePt t="31502" x="3019425" y="3511550"/>
          <p14:tracePt t="31503" x="3006725" y="3514725"/>
          <p14:tracePt t="31504" x="2998788" y="3522663"/>
          <p14:tracePt t="31505" x="2990850" y="3527425"/>
          <p14:tracePt t="31506" x="2982913" y="3530600"/>
          <p14:tracePt t="31507" x="2974975" y="3535363"/>
          <p14:tracePt t="31508" x="2959100" y="3538538"/>
          <p14:tracePt t="31509" x="2951163" y="3546475"/>
          <p14:tracePt t="31510" x="2943225" y="3551238"/>
          <p14:tracePt t="31511" x="2930525" y="3554413"/>
          <p14:tracePt t="31512" x="2922588" y="3567113"/>
          <p14:tracePt t="31514" x="2906713" y="3575050"/>
          <p14:tracePt t="31515" x="2898775" y="3582988"/>
          <p14:tracePt t="31516" x="2886075" y="3587750"/>
          <p14:tracePt t="31517" x="2878138" y="3590925"/>
          <p14:tracePt t="31518" x="2867025" y="3603625"/>
          <p14:tracePt t="31519" x="2854325" y="3611563"/>
          <p14:tracePt t="31520" x="2846388" y="3614738"/>
          <p14:tracePt t="31521" x="2838450" y="3619500"/>
          <p14:tracePt t="31522" x="2830513" y="3627438"/>
          <p14:tracePt t="31523" x="2814638" y="3635375"/>
          <p14:tracePt t="31524" x="2811463" y="3643313"/>
          <p14:tracePt t="31525" x="2803525" y="3646488"/>
          <p14:tracePt t="31527" x="2790825" y="3659188"/>
          <p14:tracePt t="31528" x="2778125" y="3667125"/>
          <p14:tracePt t="31529" x="2770188" y="3675063"/>
          <p14:tracePt t="31531" x="2762250" y="3679825"/>
          <p14:tracePt t="31533" x="2743200" y="3698875"/>
          <p14:tracePt t="31534" x="2730500" y="3703638"/>
          <p14:tracePt t="31535" x="2730500" y="3706813"/>
          <p14:tracePt t="31536" x="2722563" y="3714750"/>
          <p14:tracePt t="31537" x="2719388" y="3719513"/>
          <p14:tracePt t="31538" x="2711450" y="3727450"/>
          <p14:tracePt t="31539" x="2706688" y="3730625"/>
          <p14:tracePt t="31540" x="2698750" y="3735388"/>
          <p14:tracePt t="31541" x="2693988" y="3743325"/>
          <p14:tracePt t="31542" x="2690813" y="3746500"/>
          <p14:tracePt t="31543" x="2682875" y="3756025"/>
          <p14:tracePt t="31544" x="2678113" y="3759200"/>
          <p14:tracePt t="31545" x="2674938" y="3763963"/>
          <p14:tracePt t="31547" x="2667000" y="3771900"/>
          <p14:tracePt t="31548" x="2662238" y="3779838"/>
          <p14:tracePt t="31549" x="2659063" y="3783013"/>
          <p14:tracePt t="31550" x="2654300" y="3783013"/>
          <p14:tracePt t="31551" x="2651125" y="3787775"/>
          <p14:tracePt t="31552" x="2646363" y="3790950"/>
          <p14:tracePt t="31553" x="2646363" y="3795713"/>
          <p14:tracePt t="31554" x="2643188" y="3803650"/>
          <p14:tracePt t="31555" x="2638425" y="3803650"/>
          <p14:tracePt t="31556" x="2635250" y="3806825"/>
          <p14:tracePt t="31557" x="2635250" y="3811588"/>
          <p14:tracePt t="31558" x="2635250" y="3814763"/>
          <p14:tracePt t="31559" x="2630488" y="3819525"/>
          <p14:tracePt t="31560" x="2630488" y="3822700"/>
          <p14:tracePt t="31561" x="2627313" y="3822700"/>
          <p14:tracePt t="31563" x="2627313" y="3827463"/>
          <p14:tracePt t="31564" x="2622550" y="3830638"/>
          <p14:tracePt t="31567" x="2622550" y="3835400"/>
          <p14:tracePt t="31568" x="2617788" y="3835400"/>
          <p14:tracePt t="31572" x="2617788" y="3838575"/>
          <p14:tracePt t="31606" x="2617788" y="3843338"/>
          <p14:tracePt t="31612" x="2622550" y="3843338"/>
          <p14:tracePt t="31616" x="2627313" y="3843338"/>
          <p14:tracePt t="31620" x="2630488" y="3843338"/>
          <p14:tracePt t="31625" x="2635250" y="3843338"/>
          <p14:tracePt t="31627" x="2638425" y="3843338"/>
          <p14:tracePt t="31628" x="2643188" y="3843338"/>
          <p14:tracePt t="31629" x="2646363" y="3843338"/>
          <p14:tracePt t="31630" x="2651125" y="3843338"/>
          <p14:tracePt t="31631" x="2654300" y="3843338"/>
          <p14:tracePt t="31632" x="2659063" y="3843338"/>
          <p14:tracePt t="31634" x="2667000" y="3843338"/>
          <p14:tracePt t="31636" x="2670175" y="3843338"/>
          <p14:tracePt t="31636" x="2674938" y="3843338"/>
          <p14:tracePt t="31637" x="2678113" y="3843338"/>
          <p14:tracePt t="31639" x="2682875" y="3848100"/>
          <p14:tracePt t="31640" x="2690813" y="3848100"/>
          <p14:tracePt t="31641" x="2693988" y="3848100"/>
          <p14:tracePt t="31642" x="2698750" y="3848100"/>
          <p14:tracePt t="31643" x="2706688" y="3848100"/>
          <p14:tracePt t="31644" x="2711450" y="3848100"/>
          <p14:tracePt t="31645" x="2719388" y="3848100"/>
          <p14:tracePt t="31646" x="2727325" y="3848100"/>
          <p14:tracePt t="31647" x="2735263" y="3848100"/>
          <p14:tracePt t="31648" x="2738438" y="3848100"/>
          <p14:tracePt t="31649" x="2746375" y="3848100"/>
          <p14:tracePt t="31650" x="2754313" y="3848100"/>
          <p14:tracePt t="31651" x="2762250" y="3848100"/>
          <p14:tracePt t="31652" x="2767013" y="3848100"/>
          <p14:tracePt t="31653" x="2774950" y="3848100"/>
          <p14:tracePt t="31654" x="2782888" y="3848100"/>
          <p14:tracePt t="31655" x="2790825" y="3848100"/>
          <p14:tracePt t="31656" x="2798763" y="3848100"/>
          <p14:tracePt t="31657" x="2806700" y="3848100"/>
          <p14:tracePt t="31658" x="2814638" y="3848100"/>
          <p14:tracePt t="31659" x="2822575" y="3848100"/>
          <p14:tracePt t="31660" x="2830513" y="3848100"/>
          <p14:tracePt t="31661" x="2838450" y="3848100"/>
          <p14:tracePt t="31662" x="2843213" y="3848100"/>
          <p14:tracePt t="31663" x="2851150" y="3848100"/>
          <p14:tracePt t="31664" x="2859088" y="3848100"/>
          <p14:tracePt t="31665" x="2867025" y="3848100"/>
          <p14:tracePt t="31666" x="2874963" y="3848100"/>
          <p14:tracePt t="31667" x="2878138" y="3848100"/>
          <p14:tracePt t="31668" x="2886075" y="3848100"/>
          <p14:tracePt t="31669" x="2895600" y="3848100"/>
          <p14:tracePt t="31670" x="2903538" y="3848100"/>
          <p14:tracePt t="31671" x="2911475" y="3848100"/>
          <p14:tracePt t="31672" x="2919413" y="3848100"/>
          <p14:tracePt t="31673" x="2922588" y="3848100"/>
          <p14:tracePt t="31674" x="2930525" y="3848100"/>
          <p14:tracePt t="31675" x="2935288" y="3848100"/>
          <p14:tracePt t="31677" x="2951163" y="3848100"/>
          <p14:tracePt t="31678" x="2954338" y="3848100"/>
          <p14:tracePt t="31679" x="2962275" y="3843338"/>
          <p14:tracePt t="31680" x="2967038" y="3843338"/>
          <p14:tracePt t="31681" x="2974975" y="3843338"/>
          <p14:tracePt t="31683" x="2982913" y="3838575"/>
          <p14:tracePt t="31684" x="2990850" y="3838575"/>
          <p14:tracePt t="31686" x="2995613" y="3838575"/>
          <p14:tracePt t="31687" x="3003550" y="3838575"/>
          <p14:tracePt t="31688" x="3006725" y="3835400"/>
          <p14:tracePt t="31689" x="3011488" y="3835400"/>
          <p14:tracePt t="31690" x="3014663" y="3835400"/>
          <p14:tracePt t="31691" x="3022600" y="3830638"/>
          <p14:tracePt t="31692" x="3027363" y="3830638"/>
          <p14:tracePt t="31693" x="3030538" y="3830638"/>
          <p14:tracePt t="31694" x="3035300" y="3827463"/>
          <p14:tracePt t="31695" x="3038475" y="3827463"/>
          <p14:tracePt t="31696" x="3046413" y="3827463"/>
          <p14:tracePt t="31697" x="3051175" y="3827463"/>
          <p14:tracePt t="31698" x="3051175" y="3822700"/>
          <p14:tracePt t="31699" x="3054350" y="3822700"/>
          <p14:tracePt t="31700" x="3059113" y="3822700"/>
          <p14:tracePt t="31701" x="3067050" y="3822700"/>
          <p14:tracePt t="31702" x="3071813" y="3819525"/>
          <p14:tracePt t="31704" x="3074988" y="3819525"/>
          <p14:tracePt t="31705" x="3079750" y="3819525"/>
          <p14:tracePt t="31706" x="3082925" y="3819525"/>
          <p14:tracePt t="31707" x="3087688" y="3814763"/>
          <p14:tracePt t="31708" x="3090863" y="3814763"/>
          <p14:tracePt t="31709" x="3095625" y="3814763"/>
          <p14:tracePt t="31710" x="3095625" y="3811588"/>
          <p14:tracePt t="31712" x="3098800" y="3806825"/>
          <p14:tracePt t="31714" x="3103563" y="3806825"/>
          <p14:tracePt t="31715" x="3106738" y="3803650"/>
          <p14:tracePt t="31716" x="3111500" y="3803650"/>
          <p14:tracePt t="31718" x="3111500" y="3798888"/>
          <p14:tracePt t="31719" x="3114675" y="3798888"/>
          <p14:tracePt t="31721" x="3119438" y="3798888"/>
          <p14:tracePt t="31722" x="3119438" y="3795713"/>
          <p14:tracePt t="31723" x="3122613" y="3795713"/>
          <p14:tracePt t="31725" x="3122613" y="3790950"/>
          <p14:tracePt t="31727" x="3127375" y="3790950"/>
          <p14:tracePt t="31729" x="3127375" y="3787775"/>
          <p14:tracePt t="31733" x="3130550" y="3787775"/>
          <p14:tracePt t="31738" x="3130550" y="3783013"/>
          <p14:tracePt t="31745" x="3130550" y="3779838"/>
          <p14:tracePt t="31752" x="3130550" y="3775075"/>
          <p14:tracePt t="31755" x="3130550" y="3771900"/>
          <p14:tracePt t="31758" x="3130550" y="3767138"/>
          <p14:tracePt t="31761" x="3130550" y="3763963"/>
          <p14:tracePt t="31762" x="3130550" y="3759200"/>
          <p14:tracePt t="31764" x="3130550" y="3756025"/>
          <p14:tracePt t="31766" x="3130550" y="3751263"/>
          <p14:tracePt t="31767" x="3130550" y="3746500"/>
          <p14:tracePt t="31769" x="3130550" y="3743325"/>
          <p14:tracePt t="31770" x="3130550" y="3738563"/>
          <p14:tracePt t="31772" x="3130550" y="3735388"/>
          <p14:tracePt t="31773" x="3130550" y="3730625"/>
          <p14:tracePt t="31776" x="3127375" y="3727450"/>
          <p14:tracePt t="31777" x="3122613" y="3719513"/>
          <p14:tracePt t="31778" x="3122613" y="3714750"/>
          <p14:tracePt t="31779" x="3119438" y="3711575"/>
          <p14:tracePt t="31780" x="3119438" y="3703638"/>
          <p14:tracePt t="31781" x="3114675" y="3698875"/>
          <p14:tracePt t="31782" x="3111500" y="3695700"/>
          <p14:tracePt t="31783" x="3111500" y="3687763"/>
          <p14:tracePt t="31784" x="3106738" y="3687763"/>
          <p14:tracePt t="31785" x="3103563" y="3683000"/>
          <p14:tracePt t="31786" x="3103563" y="3675063"/>
          <p14:tracePt t="31787" x="3098800" y="3671888"/>
          <p14:tracePt t="31788" x="3095625" y="3663950"/>
          <p14:tracePt t="31789" x="3090863" y="3654425"/>
          <p14:tracePt t="31790" x="3087688" y="3651250"/>
          <p14:tracePt t="31791" x="3082925" y="3643313"/>
          <p14:tracePt t="31792" x="3079750" y="3635375"/>
          <p14:tracePt t="31793" x="3074988" y="3622675"/>
          <p14:tracePt t="31794" x="3071813" y="3614738"/>
          <p14:tracePt t="31795" x="3067050" y="3606800"/>
          <p14:tracePt t="31796" x="3062288" y="3598863"/>
          <p14:tracePt t="31797" x="3059113" y="3595688"/>
          <p14:tracePt t="31798" x="3054350" y="3582988"/>
          <p14:tracePt t="31799" x="3051175" y="3575050"/>
          <p14:tracePt t="31800" x="3043238" y="3562350"/>
          <p14:tracePt t="31801" x="3038475" y="3554413"/>
          <p14:tracePt t="31802" x="3027363" y="3538538"/>
          <p14:tracePt t="31803" x="3022600" y="3530600"/>
          <p14:tracePt t="31804" x="3019425" y="3519488"/>
          <p14:tracePt t="31805" x="3011488" y="3511550"/>
          <p14:tracePt t="31806" x="3006725" y="3498850"/>
          <p14:tracePt t="31808" x="2990850" y="3470275"/>
          <p14:tracePt t="31809" x="2982913" y="3459163"/>
          <p14:tracePt t="31810" x="2974975" y="3446463"/>
          <p14:tracePt t="31811" x="2967038" y="3435350"/>
          <p14:tracePt t="31813" x="2959100" y="3419475"/>
          <p14:tracePt t="31814" x="2943225" y="3395663"/>
          <p14:tracePt t="31815" x="2938463" y="3382963"/>
          <p14:tracePt t="31816" x="2930525" y="3375025"/>
          <p14:tracePt t="31817" x="2919413" y="3359150"/>
          <p14:tracePt t="31818" x="2911475" y="3346450"/>
          <p14:tracePt t="31819" x="2903538" y="3335338"/>
          <p14:tracePt t="31820" x="2898775" y="3322638"/>
          <p14:tracePt t="31821" x="2886075" y="3306763"/>
          <p14:tracePt t="31822" x="2878138" y="3298825"/>
          <p14:tracePt t="31823" x="2867025" y="3278188"/>
          <p14:tracePt t="31824" x="2859088" y="3262313"/>
          <p14:tracePt t="31825" x="2854325" y="3254375"/>
          <p14:tracePt t="31827" x="2835275" y="3227388"/>
          <p14:tracePt t="31828" x="2827338" y="3211513"/>
          <p14:tracePt t="31830" x="2806700" y="3186113"/>
          <p14:tracePt t="31831" x="2803525" y="3175000"/>
          <p14:tracePt t="31832" x="2794000" y="3167063"/>
          <p14:tracePt t="31833" x="2782888" y="3143250"/>
          <p14:tracePt t="31834" x="2774950" y="3130550"/>
          <p14:tracePt t="31835" x="2762250" y="3122613"/>
          <p14:tracePt t="31836" x="2759075" y="3106738"/>
          <p14:tracePt t="31837" x="2751138" y="3098800"/>
          <p14:tracePt t="31838" x="2738438" y="3082925"/>
          <p14:tracePt t="31839" x="2730500" y="3070225"/>
          <p14:tracePt t="31840" x="2722563" y="3059113"/>
          <p14:tracePt t="31841" x="2719388" y="3046413"/>
          <p14:tracePt t="31842" x="2706688" y="3038475"/>
          <p14:tracePt t="31843" x="2698750" y="3027363"/>
          <p14:tracePt t="31844" x="2690813" y="3006725"/>
          <p14:tracePt t="31845" x="2678113" y="2998788"/>
          <p14:tracePt t="31847" x="2667000" y="2978150"/>
          <p14:tracePt t="31848" x="2662238" y="2967038"/>
          <p14:tracePt t="31849" x="2651125" y="2959100"/>
          <p14:tracePt t="31850" x="2646363" y="2943225"/>
          <p14:tracePt t="31851" x="2638425" y="2935288"/>
          <p14:tracePt t="31852" x="2635250" y="2927350"/>
          <p14:tracePt t="31853" x="2627313" y="2914650"/>
          <p14:tracePt t="31854" x="2614613" y="2901950"/>
          <p14:tracePt t="31855" x="2609850" y="2894013"/>
          <p14:tracePt t="31856" x="2601913" y="2882900"/>
          <p14:tracePt t="31857" x="2598738" y="2874963"/>
          <p14:tracePt t="31858" x="2593975" y="2870200"/>
          <p14:tracePt t="31859" x="2586038" y="2859088"/>
          <p14:tracePt t="31860" x="2574925" y="2851150"/>
          <p14:tracePt t="31861" x="2570163" y="2843213"/>
          <p14:tracePt t="31863" x="2566988" y="2838450"/>
          <p14:tracePt t="31864" x="2554288" y="2817813"/>
          <p14:tracePt t="31865" x="2546350" y="2809875"/>
          <p14:tracePt t="31866" x="2543175" y="2801938"/>
          <p14:tracePt t="31867" x="2538413" y="2798763"/>
          <p14:tracePt t="31868" x="2530475" y="2790825"/>
          <p14:tracePt t="31869" x="2525713" y="2782888"/>
          <p14:tracePt t="31870" x="2522538" y="2778125"/>
          <p14:tracePt t="31871" x="2517775" y="2770188"/>
          <p14:tracePt t="31872" x="2509838" y="2767013"/>
          <p14:tracePt t="31873" x="2506663" y="2762250"/>
          <p14:tracePt t="31874" x="2501900" y="2754313"/>
          <p14:tracePt t="31875" x="2498725" y="2751138"/>
          <p14:tracePt t="31877" x="2486025" y="2738438"/>
          <p14:tracePt t="31878" x="2482850" y="2733675"/>
          <p14:tracePt t="31880" x="2470150" y="2725738"/>
          <p14:tracePt t="31881" x="2466975" y="2722563"/>
          <p14:tracePt t="31882" x="2462213" y="2717800"/>
          <p14:tracePt t="31894" x="2409825" y="2674938"/>
          <p14:tracePt t="31895" x="2406650" y="2670175"/>
          <p14:tracePt t="31897" x="2398713" y="2667000"/>
          <p14:tracePt t="31898" x="2393950" y="2662238"/>
          <p14:tracePt t="31899" x="2386013" y="2662238"/>
          <p14:tracePt t="31900" x="2382838" y="2659063"/>
          <p14:tracePt t="31902" x="2370138" y="2654300"/>
          <p14:tracePt t="31903" x="2370138" y="2649538"/>
          <p14:tracePt t="31904" x="2366963" y="2646363"/>
          <p14:tracePt t="31905" x="2362200" y="2646363"/>
          <p14:tracePt t="31906" x="2359025" y="2641600"/>
          <p14:tracePt t="31907" x="2354263" y="2638425"/>
          <p14:tracePt t="31908" x="2346325" y="2638425"/>
          <p14:tracePt t="31909" x="2341563" y="2638425"/>
          <p14:tracePt t="31910" x="2338388" y="2638425"/>
          <p14:tracePt t="31911" x="2333625" y="2633663"/>
          <p14:tracePt t="31913" x="2325688" y="2630488"/>
          <p14:tracePt t="31914" x="2322513" y="2630488"/>
          <p14:tracePt t="31915" x="2317750" y="2625725"/>
          <p14:tracePt t="31917" x="2314575" y="2625725"/>
          <p14:tracePt t="31917" x="2309813" y="2622550"/>
          <p14:tracePt t="31918" x="2306638" y="2622550"/>
          <p14:tracePt t="31919" x="2301875" y="2617788"/>
          <p14:tracePt t="31920" x="2293938" y="2617788"/>
          <p14:tracePt t="31921" x="2290763" y="2614613"/>
          <p14:tracePt t="31922" x="2286000" y="2614613"/>
          <p14:tracePt t="31923" x="2282825" y="2609850"/>
          <p14:tracePt t="31924" x="2278063" y="2609850"/>
          <p14:tracePt t="31925" x="2270125" y="2606675"/>
          <p14:tracePt t="31926" x="2266950" y="2606675"/>
          <p14:tracePt t="31927" x="2262188" y="2606675"/>
          <p14:tracePt t="31928" x="2259013" y="2601913"/>
          <p14:tracePt t="31929" x="2254250" y="2601913"/>
          <p14:tracePt t="31930" x="2246313" y="2601913"/>
          <p14:tracePt t="31931" x="2241550" y="2598738"/>
          <p14:tracePt t="31934" x="2230438" y="2598738"/>
          <p14:tracePt t="31935" x="2222500" y="2593975"/>
          <p14:tracePt t="31936" x="2217738" y="2593975"/>
          <p14:tracePt t="31937" x="2214563" y="2593975"/>
          <p14:tracePt t="31938" x="2209800" y="2590800"/>
          <p14:tracePt t="31939" x="2206625" y="2590800"/>
          <p14:tracePt t="31940" x="2201863" y="2590800"/>
          <p14:tracePt t="31941" x="2198688" y="2590800"/>
          <p14:tracePt t="31942" x="2193925" y="2590800"/>
          <p14:tracePt t="31943" x="2190750" y="2590800"/>
          <p14:tracePt t="31944" x="2185988" y="2590800"/>
          <p14:tracePt t="31945" x="2182813" y="2590800"/>
          <p14:tracePt t="31946" x="2174875" y="2590800"/>
          <p14:tracePt t="31947" x="2170113" y="2590800"/>
          <p14:tracePt t="31948" x="2165350" y="2590800"/>
          <p14:tracePt t="31949" x="2162175" y="2590800"/>
          <p14:tracePt t="31950" x="2154238" y="2590800"/>
          <p14:tracePt t="31952" x="2149475" y="2586038"/>
          <p14:tracePt t="31953" x="2146300" y="2586038"/>
          <p14:tracePt t="31954" x="2141538" y="2586038"/>
          <p14:tracePt t="31955" x="2138363" y="2586038"/>
          <p14:tracePt t="31956" x="2130425" y="2586038"/>
          <p14:tracePt t="31957" x="2125663" y="2586038"/>
          <p14:tracePt t="31958" x="2122488" y="2586038"/>
          <p14:tracePt t="31959" x="2117725" y="2586038"/>
          <p14:tracePt t="31960" x="2114550" y="2586038"/>
          <p14:tracePt t="31961" x="2106613" y="2586038"/>
          <p14:tracePt t="31963" x="2101850" y="2586038"/>
          <p14:tracePt t="31964" x="2098675" y="2586038"/>
          <p14:tracePt t="31965" x="2093913" y="2586038"/>
          <p14:tracePt t="31966" x="2085975" y="2586038"/>
          <p14:tracePt t="31967" x="2082800" y="2586038"/>
          <p14:tracePt t="31968" x="2078038" y="2586038"/>
          <p14:tracePt t="31969" x="2073275" y="2586038"/>
          <p14:tracePt t="31970" x="2065338" y="2586038"/>
          <p14:tracePt t="31971" x="2062163" y="2590800"/>
          <p14:tracePt t="31972" x="2054225" y="2590800"/>
          <p14:tracePt t="31973" x="2049463" y="2590800"/>
          <p14:tracePt t="31974" x="2046288" y="2590800"/>
          <p14:tracePt t="31975" x="2038350" y="2590800"/>
          <p14:tracePt t="31977" x="2030413" y="2593975"/>
          <p14:tracePt t="31978" x="2025650" y="2593975"/>
          <p14:tracePt t="31980" x="2014538" y="2598738"/>
          <p14:tracePt t="31981" x="2009775" y="2598738"/>
          <p14:tracePt t="31982" x="2001838" y="2598738"/>
          <p14:tracePt t="31983" x="1998663" y="2598738"/>
          <p14:tracePt t="31984" x="1993900" y="2601913"/>
          <p14:tracePt t="31985" x="1985963" y="2601913"/>
          <p14:tracePt t="31986" x="1978025" y="2606675"/>
          <p14:tracePt t="31987" x="1973263" y="2606675"/>
          <p14:tracePt t="31988" x="1965325" y="2609850"/>
          <p14:tracePt t="31989" x="1957388" y="2609850"/>
          <p14:tracePt t="31990" x="1954213" y="2614613"/>
          <p14:tracePt t="31991" x="1946275" y="2614613"/>
          <p14:tracePt t="31992" x="1938338" y="2617788"/>
          <p14:tracePt t="31993" x="1933575" y="2617788"/>
          <p14:tracePt t="31995" x="1922463" y="2622550"/>
          <p14:tracePt t="31996" x="1909763" y="2630488"/>
          <p14:tracePt t="31997" x="1906588" y="2630488"/>
          <p14:tracePt t="31998" x="1901825" y="2630488"/>
          <p14:tracePt t="31999" x="1893888" y="2633663"/>
          <p14:tracePt t="32000" x="1889125" y="2638425"/>
          <p14:tracePt t="32001" x="1881188" y="2641600"/>
          <p14:tracePt t="32002" x="1873250" y="2641600"/>
          <p14:tracePt t="32003" x="1870075" y="2646363"/>
          <p14:tracePt t="32004" x="1862138" y="2649538"/>
          <p14:tracePt t="32005" x="1857375" y="2654300"/>
          <p14:tracePt t="32006" x="1849438" y="2659063"/>
          <p14:tracePt t="32007" x="1846263" y="2659063"/>
          <p14:tracePt t="32008" x="1846263" y="2662238"/>
          <p14:tracePt t="32009" x="1838325" y="2667000"/>
          <p14:tracePt t="32010" x="1833563" y="2670175"/>
          <p14:tracePt t="32011" x="1830388" y="2674938"/>
          <p14:tracePt t="32013" x="1817688" y="2678113"/>
          <p14:tracePt t="32014" x="1814513" y="2682875"/>
          <p14:tracePt t="32015" x="1809750" y="2686050"/>
          <p14:tracePt t="32016" x="1801813" y="2690813"/>
          <p14:tracePt t="32017" x="1797050" y="2693988"/>
          <p14:tracePt t="32018" x="1793875" y="2693988"/>
          <p14:tracePt t="32019" x="1789113" y="2698750"/>
          <p14:tracePt t="32020" x="1785938" y="2701925"/>
          <p14:tracePt t="32021" x="1785938" y="2706688"/>
          <p14:tracePt t="32022" x="1778000" y="2709863"/>
          <p14:tracePt t="32023" x="1773238" y="2714625"/>
          <p14:tracePt t="32024" x="1770063" y="2717800"/>
          <p14:tracePt t="32025" x="1765300" y="2722563"/>
          <p14:tracePt t="32027" x="1757363" y="2733675"/>
          <p14:tracePt t="32028" x="1754188" y="2738438"/>
          <p14:tracePt t="32031" x="1741488" y="2746375"/>
          <p14:tracePt t="32032" x="1738313" y="2754313"/>
          <p14:tracePt t="32033" x="1733550" y="2759075"/>
          <p14:tracePt t="32034" x="1730375" y="2762250"/>
          <p14:tracePt t="32035" x="1725613" y="2767013"/>
          <p14:tracePt t="32036" x="1722438" y="2774950"/>
          <p14:tracePt t="32037" x="1722438" y="2778125"/>
          <p14:tracePt t="32038" x="1717675" y="2786063"/>
          <p14:tracePt t="32039" x="1712913" y="2790825"/>
          <p14:tracePt t="32040" x="1709738" y="2798763"/>
          <p14:tracePt t="32041" x="1709738" y="2801938"/>
          <p14:tracePt t="32042" x="1704975" y="2809875"/>
          <p14:tracePt t="32043" x="1701800" y="2817813"/>
          <p14:tracePt t="32044" x="1697038" y="2822575"/>
          <p14:tracePt t="32045" x="1693863" y="2830513"/>
          <p14:tracePt t="32047" x="1689100" y="2846388"/>
          <p14:tracePt t="32048" x="1685925" y="2851150"/>
          <p14:tracePt t="32049" x="1681163" y="2859088"/>
          <p14:tracePt t="32050" x="1681163" y="2867025"/>
          <p14:tracePt t="32051" x="1677988" y="2874963"/>
          <p14:tracePt t="32052" x="1673225" y="2882900"/>
          <p14:tracePt t="32053" x="1673225" y="2890838"/>
          <p14:tracePt t="32054" x="1665288" y="2901950"/>
          <p14:tracePt t="32055" x="1665288" y="2906713"/>
          <p14:tracePt t="32056" x="1662113" y="2914650"/>
          <p14:tracePt t="32057" x="1662113" y="2927350"/>
          <p14:tracePt t="32058" x="1657350" y="2935288"/>
          <p14:tracePt t="32059" x="1657350" y="2943225"/>
          <p14:tracePt t="32060" x="1654175" y="2951163"/>
          <p14:tracePt t="32061" x="1654175" y="2959100"/>
          <p14:tracePt t="32062" x="1649413" y="2970213"/>
          <p14:tracePt t="32064" x="1646238" y="2986088"/>
          <p14:tracePt t="32065" x="1646238" y="2998788"/>
          <p14:tracePt t="32066" x="1641475" y="3006725"/>
          <p14:tracePt t="32067" x="1641475" y="3019425"/>
          <p14:tracePt t="32068" x="1641475" y="3027363"/>
          <p14:tracePt t="32069" x="1641475" y="3035300"/>
          <p14:tracePt t="32070" x="1638300" y="3043238"/>
          <p14:tracePt t="32071" x="1638300" y="3051175"/>
          <p14:tracePt t="32072" x="1638300" y="3062288"/>
          <p14:tracePt t="32073" x="1638300" y="3070225"/>
          <p14:tracePt t="32074" x="1638300" y="3078163"/>
          <p14:tracePt t="32075" x="1638300" y="3086100"/>
          <p14:tracePt t="32077" x="1633538" y="3106738"/>
          <p14:tracePt t="32079" x="1633538" y="3127375"/>
          <p14:tracePt t="32080" x="1633538" y="3135313"/>
          <p14:tracePt t="32081" x="1633538" y="3143250"/>
          <p14:tracePt t="32082" x="1633538" y="3159125"/>
          <p14:tracePt t="32083" x="1633538" y="3167063"/>
          <p14:tracePt t="32084" x="1633538" y="3170238"/>
          <p14:tracePt t="32085" x="1633538" y="3178175"/>
          <p14:tracePt t="32086" x="1633538" y="3186113"/>
          <p14:tracePt t="32087" x="1633538" y="3194050"/>
          <p14:tracePt t="32088" x="1638300" y="3206750"/>
          <p14:tracePt t="32089" x="1638300" y="3211513"/>
          <p14:tracePt t="32090" x="1641475" y="3219450"/>
          <p14:tracePt t="32091" x="1641475" y="3227388"/>
          <p14:tracePt t="32092" x="1646238" y="3235325"/>
          <p14:tracePt t="32093" x="1646238" y="3243263"/>
          <p14:tracePt t="32094" x="1649413" y="3254375"/>
          <p14:tracePt t="32095" x="1654175" y="3262313"/>
          <p14:tracePt t="32096" x="1657350" y="3270250"/>
          <p14:tracePt t="32097" x="1657350" y="3275013"/>
          <p14:tracePt t="32098" x="1662113" y="3286125"/>
          <p14:tracePt t="32099" x="1665288" y="3295650"/>
          <p14:tracePt t="32100" x="1670050" y="3298825"/>
          <p14:tracePt t="32101" x="1673225" y="3306763"/>
          <p14:tracePt t="32102" x="1677988" y="3314700"/>
          <p14:tracePt t="32103" x="1685925" y="3322638"/>
          <p14:tracePt t="32104" x="1689100" y="3335338"/>
          <p14:tracePt t="32105" x="1693863" y="3338513"/>
          <p14:tracePt t="32106" x="1697038" y="3346450"/>
          <p14:tracePt t="32107" x="1704975" y="3354388"/>
          <p14:tracePt t="32108" x="1709738" y="3362325"/>
          <p14:tracePt t="32109" x="1717675" y="3367088"/>
          <p14:tracePt t="32110" x="1722438" y="3375025"/>
          <p14:tracePt t="32112" x="1725613" y="3382963"/>
          <p14:tracePt t="32114" x="1746250" y="3398838"/>
          <p14:tracePt t="32114" x="1749425" y="3406775"/>
          <p14:tracePt t="32115" x="1754188" y="3414713"/>
          <p14:tracePt t="32116" x="1762125" y="3419475"/>
          <p14:tracePt t="32117" x="1765300" y="3427413"/>
          <p14:tracePt t="32118" x="1781175" y="3438525"/>
          <p14:tracePt t="32119" x="1785938" y="3446463"/>
          <p14:tracePt t="32120" x="1793875" y="3454400"/>
          <p14:tracePt t="32121" x="1801813" y="3459163"/>
          <p14:tracePt t="32122" x="1814513" y="3470275"/>
          <p14:tracePt t="32123" x="1822450" y="3479800"/>
          <p14:tracePt t="32124" x="1830388" y="3482975"/>
          <p14:tracePt t="32125" x="1838325" y="3490913"/>
          <p14:tracePt t="32126" x="1854200" y="3498850"/>
          <p14:tracePt t="32127" x="1862138" y="3506788"/>
          <p14:tracePt t="32128" x="1870075" y="3511550"/>
          <p14:tracePt t="32129" x="1881188" y="3514725"/>
          <p14:tracePt t="32131" x="1901825" y="3527425"/>
          <p14:tracePt t="32133" x="1922463" y="3538538"/>
          <p14:tracePt t="32134" x="1933575" y="3546475"/>
          <p14:tracePt t="32135" x="1946275" y="3551238"/>
          <p14:tracePt t="32136" x="1957388" y="3554413"/>
          <p14:tracePt t="32137" x="1965325" y="3559175"/>
          <p14:tracePt t="32138" x="1981200" y="3567113"/>
          <p14:tracePt t="32139" x="1993900" y="3571875"/>
          <p14:tracePt t="32140" x="2001838" y="3575050"/>
          <p14:tracePt t="32141" x="2017713" y="3579813"/>
          <p14:tracePt t="32142" x="2025650" y="3582988"/>
          <p14:tracePt t="32143" x="2041525" y="3587750"/>
          <p14:tracePt t="32144" x="2054225" y="3598863"/>
          <p14:tracePt t="32145" x="2070100" y="3603625"/>
          <p14:tracePt t="32147" x="2090738" y="3611563"/>
          <p14:tracePt t="32148" x="2109788" y="3614738"/>
          <p14:tracePt t="32149" x="2125663" y="3619500"/>
          <p14:tracePt t="32151" x="2154238" y="3630613"/>
          <p14:tracePt t="32152" x="2165350" y="3635375"/>
          <p14:tracePt t="32153" x="2182813" y="3638550"/>
          <p14:tracePt t="32154" x="2201863" y="3651250"/>
          <p14:tracePt t="32155" x="2222500" y="3654425"/>
          <p14:tracePt t="32156" x="2233613" y="3659188"/>
          <p14:tracePt t="32157" x="2254250" y="3663950"/>
          <p14:tracePt t="32158" x="2270125" y="3663950"/>
          <p14:tracePt t="32159" x="2298700" y="3675063"/>
          <p14:tracePt t="32160" x="2317750" y="3679825"/>
          <p14:tracePt t="32161" x="2333625" y="3687763"/>
          <p14:tracePt t="32162" x="2351088" y="3690938"/>
          <p14:tracePt t="32164" x="2370138" y="3695700"/>
          <p14:tracePt t="32165" x="2417763" y="3706813"/>
          <p14:tracePt t="32166" x="2438400" y="3711575"/>
          <p14:tracePt t="32167" x="2459038" y="3714750"/>
          <p14:tracePt t="32168" x="2478088" y="3719513"/>
          <p14:tracePt t="32169" x="2506663" y="3730625"/>
          <p14:tracePt t="32170" x="2535238" y="3738563"/>
          <p14:tracePt t="32171" x="2554288" y="3743325"/>
          <p14:tracePt t="32172" x="2574925" y="3746500"/>
          <p14:tracePt t="32173" x="2598738" y="3746500"/>
          <p14:tracePt t="32174" x="2627313" y="3751263"/>
          <p14:tracePt t="32175" x="2654300" y="3759200"/>
          <p14:tracePt t="32177" x="2701925" y="3767138"/>
          <p14:tracePt t="32178" x="2730500" y="3775075"/>
          <p14:tracePt t="32180" x="2767013" y="3779838"/>
          <p14:tracePt t="32182" x="2830513" y="3790950"/>
          <p14:tracePt t="32184" x="2895600" y="3795713"/>
          <p14:tracePt t="32185" x="2922588" y="3803650"/>
          <p14:tracePt t="32186" x="2943225" y="3803650"/>
          <p14:tracePt t="32187" x="2967038" y="3806825"/>
          <p14:tracePt t="32188" x="2987675" y="3806825"/>
          <p14:tracePt t="32189" x="3014663" y="3811588"/>
          <p14:tracePt t="32190" x="3051175" y="3819525"/>
          <p14:tracePt t="32191" x="3074988" y="3819525"/>
          <p14:tracePt t="32192" x="3095625" y="3822700"/>
          <p14:tracePt t="32193" x="3122613" y="3822700"/>
          <p14:tracePt t="32194" x="3159125" y="3830638"/>
          <p14:tracePt t="32196" x="3203575" y="3835400"/>
          <p14:tracePt t="32197" x="3230563" y="3835400"/>
          <p14:tracePt t="32198" x="3259138" y="3838575"/>
          <p14:tracePt t="32199" x="3282950" y="3838575"/>
          <p14:tracePt t="32200" x="3319463" y="3838575"/>
          <p14:tracePt t="32201" x="3348038" y="3838575"/>
          <p14:tracePt t="32202" x="3367088" y="3843338"/>
          <p14:tracePt t="32203" x="3390900" y="3843338"/>
          <p14:tracePt t="32204" x="3427413" y="3843338"/>
          <p14:tracePt t="32205" x="3455988" y="3843338"/>
          <p14:tracePt t="32206" x="3479800" y="3843338"/>
          <p14:tracePt t="32207" x="3498850" y="3843338"/>
          <p14:tracePt t="32208" x="3524250" y="3843338"/>
          <p14:tracePt t="32209" x="3559175" y="3843338"/>
          <p14:tracePt t="32210" x="3587750" y="3843338"/>
          <p14:tracePt t="32212" x="3603625" y="3843338"/>
          <p14:tracePt t="32213" x="3656013" y="3843338"/>
          <p14:tracePt t="32214" x="3675063" y="3843338"/>
          <p14:tracePt t="32215" x="3708400" y="3843338"/>
          <p14:tracePt t="32216" x="3727450" y="3843338"/>
          <p14:tracePt t="32217" x="3751263" y="3843338"/>
          <p14:tracePt t="32218" x="3771900" y="3843338"/>
          <p14:tracePt t="32219" x="3800475" y="3843338"/>
          <p14:tracePt t="32220" x="3835400" y="3838575"/>
          <p14:tracePt t="32221" x="3856038" y="3838575"/>
          <p14:tracePt t="32222" x="3875088" y="3830638"/>
          <p14:tracePt t="32223" x="3892550" y="3830638"/>
          <p14:tracePt t="32224" x="3919538" y="3827463"/>
          <p14:tracePt t="32225" x="3948113" y="3822700"/>
          <p14:tracePt t="32227" x="3987800" y="3811588"/>
          <p14:tracePt t="32228" x="4008438" y="3811588"/>
          <p14:tracePt t="32229" x="4024313" y="3806825"/>
          <p14:tracePt t="32230" x="4051300" y="3803650"/>
          <p14:tracePt t="32231" x="4068763" y="3795713"/>
          <p14:tracePt t="32232" x="4087813" y="3795713"/>
          <p14:tracePt t="32233" x="4108450" y="3790950"/>
          <p14:tracePt t="32234" x="4119563" y="3787775"/>
          <p14:tracePt t="32235" x="4135438" y="3783013"/>
          <p14:tracePt t="32236" x="4160838" y="3779838"/>
          <p14:tracePt t="32237" x="4176713" y="3767138"/>
          <p14:tracePt t="32238" x="4187825" y="3763963"/>
          <p14:tracePt t="32239" x="4203700" y="3759200"/>
          <p14:tracePt t="32240" x="4216400" y="3756025"/>
          <p14:tracePt t="32241" x="4232275" y="3746500"/>
          <p14:tracePt t="32242" x="4243388" y="3743325"/>
          <p14:tracePt t="32243" x="4256088" y="3738563"/>
          <p14:tracePt t="32245" x="4276725" y="3730625"/>
          <p14:tracePt t="32246" x="4295775" y="3719513"/>
          <p14:tracePt t="32247" x="4308475" y="3714750"/>
          <p14:tracePt t="32248" x="4316413" y="3711575"/>
          <p14:tracePt t="32249" x="4324350" y="3706813"/>
          <p14:tracePt t="32250" x="4332288" y="3698875"/>
          <p14:tracePt t="32251" x="4340225" y="3695700"/>
          <p14:tracePt t="32252" x="4352925" y="3690938"/>
          <p14:tracePt t="32253" x="4356100" y="3687763"/>
          <p14:tracePt t="32254" x="4364038" y="3683000"/>
          <p14:tracePt t="32255" x="4364038" y="3679825"/>
          <p14:tracePt t="32256" x="4371975" y="3675063"/>
          <p14:tracePt t="32257" x="4376738" y="3671888"/>
          <p14:tracePt t="32258" x="4379913" y="3667125"/>
          <p14:tracePt t="32259" x="4384675" y="3663950"/>
          <p14:tracePt t="32261" x="4392613" y="3651250"/>
          <p14:tracePt t="32262" x="4395788" y="3646488"/>
          <p14:tracePt t="32264" x="4403725" y="3638550"/>
          <p14:tracePt t="32266" x="4408488" y="3635375"/>
          <p14:tracePt t="32267" x="4408488" y="3630613"/>
          <p14:tracePt t="32268" x="4411663" y="3627438"/>
          <p14:tracePt t="32269" x="4411663" y="3622675"/>
          <p14:tracePt t="32270" x="4416425" y="3614738"/>
          <p14:tracePt t="32271" x="4416425" y="3611563"/>
          <p14:tracePt t="32272" x="4419600" y="3606800"/>
          <p14:tracePt t="32273" x="4419600" y="3603625"/>
          <p14:tracePt t="32274" x="4419600" y="3598863"/>
          <p14:tracePt t="32275" x="4424363" y="3590925"/>
          <p14:tracePt t="32276" x="4424363" y="3587750"/>
          <p14:tracePt t="32277" x="4424363" y="3582988"/>
          <p14:tracePt t="32280" x="4424363" y="3575050"/>
          <p14:tracePt t="32281" x="4424363" y="3567113"/>
          <p14:tracePt t="32282" x="4424363" y="3562350"/>
          <p14:tracePt t="32283" x="4424363" y="3559175"/>
          <p14:tracePt t="32284" x="4424363" y="3554413"/>
          <p14:tracePt t="32285" x="4424363" y="3551238"/>
          <p14:tracePt t="32286" x="4424363" y="3543300"/>
          <p14:tracePt t="32287" x="4424363" y="3538538"/>
          <p14:tracePt t="32288" x="4424363" y="3535363"/>
          <p14:tracePt t="32289" x="4424363" y="3530600"/>
          <p14:tracePt t="32290" x="4424363" y="3527425"/>
          <p14:tracePt t="32291" x="4424363" y="3522663"/>
          <p14:tracePt t="32292" x="4424363" y="3519488"/>
          <p14:tracePt t="32293" x="4424363" y="3511550"/>
          <p14:tracePt t="32295" x="4424363" y="3503613"/>
          <p14:tracePt t="32296" x="4424363" y="3495675"/>
          <p14:tracePt t="32297" x="4424363" y="3487738"/>
          <p14:tracePt t="32298" x="4424363" y="3482975"/>
          <p14:tracePt t="32299" x="4419600" y="3479800"/>
          <p14:tracePt t="32300" x="4419600" y="3470275"/>
          <p14:tracePt t="32301" x="4419600" y="3462338"/>
          <p14:tracePt t="32302" x="4416425" y="3459163"/>
          <p14:tracePt t="32303" x="4416425" y="3454400"/>
          <p14:tracePt t="32304" x="4411663" y="3446463"/>
          <p14:tracePt t="32305" x="4411663" y="3443288"/>
          <p14:tracePt t="32306" x="4408488" y="3435350"/>
          <p14:tracePt t="32307" x="4403725" y="3435350"/>
          <p14:tracePt t="32308" x="4403725" y="3427413"/>
          <p14:tracePt t="32309" x="4400550" y="3422650"/>
          <p14:tracePt t="32310" x="4400550" y="3414713"/>
          <p14:tracePt t="32311" x="4395788" y="3411538"/>
          <p14:tracePt t="32312" x="4392613" y="3403600"/>
          <p14:tracePt t="32313" x="4387850" y="3395663"/>
          <p14:tracePt t="32314" x="4384675" y="3390900"/>
          <p14:tracePt t="32315" x="4384675" y="3382963"/>
          <p14:tracePt t="32316" x="4379913" y="3378200"/>
          <p14:tracePt t="32317" x="4376738" y="3370263"/>
          <p14:tracePt t="32318" x="4371975" y="3362325"/>
          <p14:tracePt t="32319" x="4368800" y="3354388"/>
          <p14:tracePt t="32320" x="4368800" y="3351213"/>
          <p14:tracePt t="32321" x="4364038" y="3343275"/>
          <p14:tracePt t="32322" x="4356100" y="3330575"/>
          <p14:tracePt t="32323" x="4352925" y="3322638"/>
          <p14:tracePt t="32324" x="4348163" y="3314700"/>
          <p14:tracePt t="32325" x="4344988" y="3311525"/>
          <p14:tracePt t="32326" x="4337050" y="3298825"/>
          <p14:tracePt t="32327" x="4332288" y="3295650"/>
          <p14:tracePt t="32328" x="4327525" y="3286125"/>
          <p14:tracePt t="32330" x="4311650" y="3270250"/>
          <p14:tracePt t="32331" x="4303713" y="3259138"/>
          <p14:tracePt t="32332" x="4295775" y="3251200"/>
          <p14:tracePt t="32333" x="4292600" y="3243263"/>
          <p14:tracePt t="32334" x="4279900" y="3230563"/>
          <p14:tracePt t="32335" x="4276725" y="3222625"/>
          <p14:tracePt t="32336" x="4268788" y="3214688"/>
          <p14:tracePt t="32337" x="4260850" y="3206750"/>
          <p14:tracePt t="32338" x="4248150" y="3194050"/>
          <p14:tracePt t="32339" x="4240213" y="3186113"/>
          <p14:tracePt t="32340" x="4235450" y="3178175"/>
          <p14:tracePt t="32341" x="4227513" y="3170238"/>
          <p14:tracePt t="32342" x="4211638" y="3159125"/>
          <p14:tracePt t="32343" x="4203700" y="3151188"/>
          <p14:tracePt t="32344" x="4195763" y="3143250"/>
          <p14:tracePt t="32345" x="4184650" y="3135313"/>
          <p14:tracePt t="32347" x="4176713" y="3122613"/>
          <p14:tracePt t="32347" x="4168775" y="3119438"/>
          <p14:tracePt t="32348" x="4151313" y="3101975"/>
          <p14:tracePt t="32349" x="4140200" y="3094038"/>
          <p14:tracePt t="32350" x="4127500" y="3086100"/>
          <p14:tracePt t="32351" x="4119563" y="3082925"/>
          <p14:tracePt t="32352" x="4103688" y="3067050"/>
          <p14:tracePt t="32353" x="4092575" y="3059113"/>
          <p14:tracePt t="32354" x="4084638" y="3046413"/>
          <p14:tracePt t="32355" x="4068763" y="3043238"/>
          <p14:tracePt t="32356" x="4059238" y="3035300"/>
          <p14:tracePt t="32357" x="4040188" y="3019425"/>
          <p14:tracePt t="32358" x="4027488" y="3014663"/>
          <p14:tracePt t="32359" x="4016375" y="3001963"/>
          <p14:tracePt t="32360" x="4000500" y="2994025"/>
          <p14:tracePt t="32361" x="3992563" y="2990850"/>
          <p14:tracePt t="32362" x="3971925" y="2974975"/>
          <p14:tracePt t="32363" x="3956050" y="2970213"/>
          <p14:tracePt t="32364" x="3943350" y="2959100"/>
          <p14:tracePt t="32365" x="3927475" y="2951163"/>
          <p14:tracePt t="32366" x="3911600" y="2946400"/>
          <p14:tracePt t="32367" x="3903663" y="2938463"/>
          <p14:tracePt t="32368" x="3884613" y="2927350"/>
          <p14:tracePt t="32369" x="3871913" y="2917825"/>
          <p14:tracePt t="32370" x="3856038" y="2909888"/>
          <p14:tracePt t="32371" x="3840163" y="2901950"/>
          <p14:tracePt t="32372" x="3819525" y="2894013"/>
          <p14:tracePt t="32373" x="3808413" y="2886075"/>
          <p14:tracePt t="32374" x="3790950" y="2882900"/>
          <p14:tracePt t="32375" x="3779838" y="2874963"/>
          <p14:tracePt t="32376" x="3763963" y="2870200"/>
          <p14:tracePt t="32377" x="3751263" y="2859088"/>
          <p14:tracePt t="32378" x="3732213" y="2854325"/>
          <p14:tracePt t="32379" x="3716338" y="2846388"/>
          <p14:tracePt t="32380" x="3703638" y="2838450"/>
          <p14:tracePt t="32382" x="3667125" y="2825750"/>
          <p14:tracePt t="32383" x="3651250" y="2814638"/>
          <p14:tracePt t="32384" x="3640138" y="2809875"/>
          <p14:tracePt t="32385" x="3624263" y="2806700"/>
          <p14:tracePt t="32386" x="3611563" y="2801938"/>
          <p14:tracePt t="32387" x="3595688" y="2794000"/>
          <p14:tracePt t="32388" x="3571875" y="2786063"/>
          <p14:tracePt t="32389" x="3556000" y="2782888"/>
          <p14:tracePt t="32390" x="3543300" y="2774950"/>
          <p14:tracePt t="32391" x="3527425" y="2767013"/>
          <p14:tracePt t="32392" x="3514725" y="2762250"/>
          <p14:tracePt t="32393" x="3495675" y="2759075"/>
          <p14:tracePt t="32394" x="3479800" y="2754313"/>
          <p14:tracePt t="32395" x="3467100" y="2751138"/>
          <p14:tracePt t="32397" x="3451225" y="2746375"/>
          <p14:tracePt t="32398" x="3411538" y="2730500"/>
          <p14:tracePt t="32399" x="3395663" y="2725738"/>
          <p14:tracePt t="32400" x="3382963" y="2717800"/>
          <p14:tracePt t="32401" x="3367088" y="2714625"/>
          <p14:tracePt t="32402" x="3355975" y="2709863"/>
          <p14:tracePt t="32403" x="3335338" y="2706688"/>
          <p14:tracePt t="32404" x="3319463" y="2701925"/>
          <p14:tracePt t="32405" x="3306763" y="2701925"/>
          <p14:tracePt t="32406" x="3290888" y="2693988"/>
          <p14:tracePt t="32407" x="3282950" y="2690813"/>
          <p14:tracePt t="32408" x="3263900" y="2686050"/>
          <p14:tracePt t="32409" x="3251200" y="2686050"/>
          <p14:tracePt t="32410" x="3235325" y="2682875"/>
          <p14:tracePt t="32411" x="3222625" y="2682875"/>
          <p14:tracePt t="32412" x="3214688" y="2678113"/>
          <p14:tracePt t="32414" x="3187700" y="2670175"/>
          <p14:tracePt t="32415" x="3171825" y="2670175"/>
          <p14:tracePt t="32416" x="3163888" y="2670175"/>
          <p14:tracePt t="32417" x="3154363" y="2662238"/>
          <p14:tracePt t="32418" x="3135313" y="2662238"/>
          <p14:tracePt t="32419" x="3127375" y="2659063"/>
          <p14:tracePt t="32420" x="3119438" y="2659063"/>
          <p14:tracePt t="32421" x="3111500" y="2654300"/>
          <p14:tracePt t="32422" x="3103563" y="2654300"/>
          <p14:tracePt t="32423" x="3087688" y="2654300"/>
          <p14:tracePt t="32424" x="3079750" y="2649538"/>
          <p14:tracePt t="32425" x="3071813" y="2649538"/>
          <p14:tracePt t="32426" x="3062288" y="2649538"/>
          <p14:tracePt t="32427" x="3054350" y="2649538"/>
          <p14:tracePt t="32428" x="3043238" y="2646363"/>
          <p14:tracePt t="32430" x="3027363" y="2646363"/>
          <p14:tracePt t="32431" x="3014663" y="2646363"/>
          <p14:tracePt t="32432" x="3006725" y="2646363"/>
          <p14:tracePt t="32433" x="2998788" y="2646363"/>
          <p14:tracePt t="32434" x="2990850" y="2646363"/>
          <p14:tracePt t="32435" x="2987675" y="2646363"/>
          <p14:tracePt t="32436" x="2978150" y="2646363"/>
          <p14:tracePt t="32437" x="2970213" y="2646363"/>
          <p14:tracePt t="32438" x="2962275" y="2646363"/>
          <p14:tracePt t="32439" x="2959100" y="2646363"/>
          <p14:tracePt t="32440" x="2954338" y="2646363"/>
          <p14:tracePt t="32441" x="2943225" y="2646363"/>
          <p14:tracePt t="32444" x="2935288" y="2646363"/>
          <p14:tracePt t="32445" x="2922588" y="2646363"/>
          <p14:tracePt t="32446" x="2914650" y="2646363"/>
          <p14:tracePt t="32447" x="2911475" y="2646363"/>
          <p14:tracePt t="32448" x="2903538" y="2646363"/>
          <p14:tracePt t="32449" x="2895600" y="2649538"/>
          <p14:tracePt t="32450" x="2886075" y="2649538"/>
          <p14:tracePt t="32451" x="2882900" y="2654300"/>
          <p14:tracePt t="32452" x="2874963" y="2654300"/>
          <p14:tracePt t="32453" x="2870200" y="2654300"/>
          <p14:tracePt t="32454" x="2862263" y="2659063"/>
          <p14:tracePt t="32455" x="2854325" y="2662238"/>
          <p14:tracePt t="32456" x="2851150" y="2662238"/>
          <p14:tracePt t="32457" x="2846388" y="2667000"/>
          <p14:tracePt t="32458" x="2838450" y="2670175"/>
          <p14:tracePt t="32459" x="2835275" y="2670175"/>
          <p14:tracePt t="32460" x="2827338" y="2674938"/>
          <p14:tracePt t="32461" x="2822575" y="2678113"/>
          <p14:tracePt t="32462" x="2814638" y="2682875"/>
          <p14:tracePt t="32464" x="2803525" y="2690813"/>
          <p14:tracePt t="32465" x="2798763" y="2693988"/>
          <p14:tracePt t="32466" x="2794000" y="2698750"/>
          <p14:tracePt t="32467" x="2790825" y="2698750"/>
          <p14:tracePt t="32468" x="2782888" y="2701925"/>
          <p14:tracePt t="32469" x="2778125" y="2714625"/>
          <p14:tracePt t="32470" x="2770188" y="2717800"/>
          <p14:tracePt t="32471" x="2767013" y="2722563"/>
          <p14:tracePt t="32472" x="2762250" y="2730500"/>
          <p14:tracePt t="32473" x="2759075" y="2733675"/>
          <p14:tracePt t="32474" x="2751138" y="2741613"/>
          <p14:tracePt t="32475" x="2746375" y="2746375"/>
          <p14:tracePt t="32477" x="2735263" y="2762250"/>
          <p14:tracePt t="32479" x="2730500" y="2767013"/>
          <p14:tracePt t="32481" x="2719388" y="2790825"/>
          <p14:tracePt t="32482" x="2711450" y="2798763"/>
          <p14:tracePt t="32483" x="2706688" y="2809875"/>
          <p14:tracePt t="32484" x="2701925" y="2817813"/>
          <p14:tracePt t="32485" x="2690813" y="2825750"/>
          <p14:tracePt t="32486" x="2686050" y="2833688"/>
          <p14:tracePt t="32487" x="2682875" y="2843213"/>
          <p14:tracePt t="32488" x="2678113" y="2854325"/>
          <p14:tracePt t="32489" x="2674938" y="2862263"/>
          <p14:tracePt t="32490" x="2670175" y="2874963"/>
          <p14:tracePt t="32491" x="2667000" y="2882900"/>
          <p14:tracePt t="32492" x="2662238" y="2894013"/>
          <p14:tracePt t="32493" x="2662238" y="2901950"/>
          <p14:tracePt t="32494" x="2654300" y="2914650"/>
          <p14:tracePt t="32495" x="2651125" y="2922588"/>
          <p14:tracePt t="32497" x="2643188" y="2943225"/>
          <p14:tracePt t="32498" x="2643188" y="2951163"/>
          <p14:tracePt t="32499" x="2638425" y="2962275"/>
          <p14:tracePt t="32500" x="2635250" y="2970213"/>
          <p14:tracePt t="32501" x="2630488" y="2986088"/>
          <p14:tracePt t="32502" x="2630488" y="2994025"/>
          <p14:tracePt t="32503" x="2627313" y="3001963"/>
          <p14:tracePt t="32504" x="2622550" y="3009900"/>
          <p14:tracePt t="32505" x="2622550" y="3027363"/>
          <p14:tracePt t="32506" x="2617788" y="3035300"/>
          <p14:tracePt t="32507" x="2617788" y="3043238"/>
          <p14:tracePt t="32508" x="2617788" y="3051175"/>
          <p14:tracePt t="32509" x="2609850" y="3059113"/>
          <p14:tracePt t="32510" x="2609850" y="3074988"/>
          <p14:tracePt t="32511" x="2606675" y="3082925"/>
          <p14:tracePt t="32512" x="2606675" y="3090863"/>
          <p14:tracePt t="32514" x="2606675" y="3098800"/>
          <p14:tracePt t="32514" x="2606675" y="3106738"/>
          <p14:tracePt t="32515" x="2606675" y="3119438"/>
          <p14:tracePt t="32516" x="2606675" y="3130550"/>
          <p14:tracePt t="32517" x="2606675" y="3138488"/>
          <p14:tracePt t="32518" x="2606675" y="3146425"/>
          <p14:tracePt t="32519" x="2606675" y="3154363"/>
          <p14:tracePt t="32520" x="2606675" y="3162300"/>
          <p14:tracePt t="32521" x="2606675" y="3170238"/>
          <p14:tracePt t="32522" x="2606675" y="3178175"/>
          <p14:tracePt t="32523" x="2606675" y="3186113"/>
          <p14:tracePt t="32524" x="2606675" y="3194050"/>
          <p14:tracePt t="32525" x="2606675" y="3203575"/>
          <p14:tracePt t="32527" x="2609850" y="3214688"/>
          <p14:tracePt t="32528" x="2609850" y="3222625"/>
          <p14:tracePt t="32529" x="2614613" y="3227388"/>
          <p14:tracePt t="32530" x="2614613" y="3235325"/>
          <p14:tracePt t="32531" x="2617788" y="3243263"/>
          <p14:tracePt t="32532" x="2617788" y="3246438"/>
          <p14:tracePt t="32533" x="2622550" y="3251200"/>
          <p14:tracePt t="32534" x="2627313" y="3259138"/>
          <p14:tracePt t="32535" x="2627313" y="3262313"/>
          <p14:tracePt t="32536" x="2630488" y="3270250"/>
          <p14:tracePt t="32537" x="2635250" y="3275013"/>
          <p14:tracePt t="32538" x="2635250" y="3278188"/>
          <p14:tracePt t="32539" x="2638425" y="3278188"/>
          <p14:tracePt t="32540" x="2643188" y="3282950"/>
          <p14:tracePt t="32541" x="2643188" y="3286125"/>
          <p14:tracePt t="32542" x="2646363" y="3290888"/>
          <p14:tracePt t="32543" x="2651125" y="3290888"/>
          <p14:tracePt t="32544" x="2651125" y="3295650"/>
          <p14:tracePt t="32546" x="2659063" y="3298825"/>
          <p14:tracePt t="32547" x="2659063" y="3303588"/>
          <p14:tracePt t="32548" x="2662238" y="3306763"/>
          <p14:tracePt t="32550" x="2662238" y="3311525"/>
          <p14:tracePt t="32551" x="2667000" y="3314700"/>
          <p14:tracePt t="32553" x="2670175" y="3314700"/>
          <p14:tracePt t="32555" x="2674938" y="3319463"/>
          <p14:tracePt t="32557" x="2678113" y="3319463"/>
          <p14:tracePt t="32559" x="2682875" y="3319463"/>
          <p14:tracePt t="32562" x="2686050" y="3322638"/>
          <p14:tracePt t="32562" x="2690813" y="3322638"/>
          <p14:tracePt t="32564" x="2693988" y="3322638"/>
          <p14:tracePt t="32566" x="2698750" y="3322638"/>
          <p14:tracePt t="32567" x="2698750" y="3327400"/>
          <p14:tracePt t="32568" x="2701925" y="3327400"/>
          <p14:tracePt t="32571" x="2706688" y="3330575"/>
          <p14:tracePt t="32573" x="2711450" y="3330575"/>
          <p14:tracePt t="32575" x="2714625" y="3330575"/>
          <p14:tracePt t="32576" x="2719388" y="3330575"/>
          <p14:tracePt t="32579" x="2722563" y="3335338"/>
          <p14:tracePt t="32580" x="2727325" y="3335338"/>
          <p14:tracePt t="32581" x="2730500" y="3335338"/>
          <p14:tracePt t="32583" x="2735263" y="3335338"/>
          <p14:tracePt t="32585" x="2738438" y="3335338"/>
          <p14:tracePt t="32587" x="2743200" y="3335338"/>
          <p14:tracePt t="32590" x="2746375" y="3335338"/>
          <p14:tracePt t="32592" x="2751138" y="3335338"/>
          <p14:tracePt t="32594" x="2751138" y="3338513"/>
          <p14:tracePt t="32596" x="2754313" y="3338513"/>
          <p14:tracePt t="32598" x="2759075" y="3338513"/>
          <p14:tracePt t="32602" x="2762250" y="3343275"/>
          <p14:tracePt t="32606" x="2767013" y="3343275"/>
          <p14:tracePt t="32638" x="2770188" y="3343275"/>
          <p14:tracePt t="32739" x="2774950" y="3343275"/>
          <p14:tracePt t="32759" x="2778125" y="3343275"/>
          <p14:tracePt t="32763" x="2782888" y="3338513"/>
          <p14:tracePt t="32765" x="2782888" y="3335338"/>
          <p14:tracePt t="32769" x="2786063" y="3335338"/>
          <p14:tracePt t="32770" x="2790825" y="3330575"/>
          <p14:tracePt t="32774" x="2794000" y="3330575"/>
          <p14:tracePt t="32777" x="2798763" y="3327400"/>
          <p14:tracePt t="32779" x="2803525" y="3327400"/>
          <p14:tracePt t="32781" x="2806700" y="3322638"/>
          <p14:tracePt t="32786" x="2811463" y="3322638"/>
          <p14:tracePt t="32789" x="2814638" y="3322638"/>
          <p14:tracePt t="32792" x="2819400" y="3322638"/>
          <p14:tracePt t="32794" x="2822575" y="3319463"/>
          <p14:tracePt t="32798" x="2822575" y="3314700"/>
          <p14:tracePt t="32801" x="2827338" y="3314700"/>
          <p14:tracePt t="32802" x="2827338" y="3311525"/>
          <p14:tracePt t="32804" x="2830513" y="3311525"/>
          <p14:tracePt t="32807" x="2835275" y="3306763"/>
          <p14:tracePt t="32809" x="2838450" y="3306763"/>
          <p14:tracePt t="32812" x="2843213" y="3303588"/>
          <p14:tracePt t="32814" x="2846388" y="3303588"/>
          <p14:tracePt t="32815" x="2846388" y="3298825"/>
          <p14:tracePt t="32816" x="2851150" y="3298825"/>
          <p14:tracePt t="32819" x="2854325" y="3298825"/>
          <p14:tracePt t="32820" x="2859088" y="3298825"/>
          <p14:tracePt t="32823" x="2859088" y="3295650"/>
          <p14:tracePt t="32824" x="2862263" y="3295650"/>
          <p14:tracePt t="32825" x="2862263" y="3290888"/>
          <p14:tracePt t="32828" x="2867025" y="3286125"/>
          <p14:tracePt t="32830" x="2870200" y="3286125"/>
          <p14:tracePt t="32833" x="2874963" y="3286125"/>
          <p14:tracePt t="32834" x="2878138" y="3282950"/>
          <p14:tracePt t="32837" x="2882900" y="3282950"/>
          <p14:tracePt t="32839" x="2890838" y="3282950"/>
          <p14:tracePt t="32840" x="2895600" y="3282950"/>
          <p14:tracePt t="32842" x="2898775" y="3282950"/>
          <p14:tracePt t="32844" x="2903538" y="3278188"/>
          <p14:tracePt t="32847" x="2906713" y="3278188"/>
          <p14:tracePt t="32848" x="2911475" y="3275013"/>
          <p14:tracePt t="32849" x="2914650" y="3275013"/>
          <p14:tracePt t="32850" x="2919413" y="3275013"/>
          <p14:tracePt t="32851" x="2922588" y="3270250"/>
          <p14:tracePt t="32852" x="2927350" y="3270250"/>
          <p14:tracePt t="32854" x="2930525" y="3270250"/>
          <p14:tracePt t="32855" x="2935288" y="3270250"/>
          <p14:tracePt t="32856" x="2943225" y="3270250"/>
          <p14:tracePt t="32857" x="2946400" y="3270250"/>
          <p14:tracePt t="32858" x="2951163" y="3267075"/>
          <p14:tracePt t="32860" x="2954338" y="3267075"/>
          <p14:tracePt t="32861" x="2954338" y="3262313"/>
          <p14:tracePt t="32862" x="2959100" y="3262313"/>
          <p14:tracePt t="32863" x="2962275" y="3262313"/>
          <p14:tracePt t="32864" x="2967038" y="3262313"/>
          <p14:tracePt t="32865" x="2970213" y="3262313"/>
          <p14:tracePt t="32866" x="2974975" y="3259138"/>
          <p14:tracePt t="32867" x="2978150" y="3259138"/>
          <p14:tracePt t="32868" x="2982913" y="3259138"/>
          <p14:tracePt t="32870" x="2987675" y="3254375"/>
          <p14:tracePt t="32871" x="2995613" y="3254375"/>
          <p14:tracePt t="32874" x="2998788" y="3254375"/>
          <p14:tracePt t="32875" x="3003550" y="3251200"/>
          <p14:tracePt t="32876" x="3011488" y="3251200"/>
          <p14:tracePt t="32877" x="3014663" y="3251200"/>
          <p14:tracePt t="32879" x="3022600" y="3251200"/>
          <p14:tracePt t="32880" x="3022600" y="3246438"/>
          <p14:tracePt t="32881" x="3030538" y="3246438"/>
          <p14:tracePt t="32883" x="3035300" y="3246438"/>
          <p14:tracePt t="32884" x="3038475" y="3246438"/>
          <p14:tracePt t="32885" x="3043238" y="3243263"/>
          <p14:tracePt t="32886" x="3046413" y="3243263"/>
          <p14:tracePt t="32888" x="3051175" y="3243263"/>
          <p14:tracePt t="32889" x="3054350" y="3243263"/>
          <p14:tracePt t="32890" x="3059113" y="3243263"/>
          <p14:tracePt t="32892" x="3067050" y="3243263"/>
          <p14:tracePt t="32895" x="3071813" y="3243263"/>
          <p14:tracePt t="32910" x="3122613" y="3235325"/>
          <p14:tracePt t="32912" x="3130550" y="3235325"/>
          <p14:tracePt t="32913" x="3135313" y="3235325"/>
          <p14:tracePt t="32916" x="3138488" y="3230563"/>
          <p14:tracePt t="32917" x="3143250" y="3230563"/>
          <p14:tracePt t="32919" x="3146425" y="3230563"/>
          <p14:tracePt t="32919" x="3151188" y="3230563"/>
          <p14:tracePt t="32920" x="3154363" y="3230563"/>
          <p14:tracePt t="32921" x="3159125" y="3230563"/>
          <p14:tracePt t="32922" x="3167063" y="3230563"/>
          <p14:tracePt t="32923" x="3171825" y="3230563"/>
          <p14:tracePt t="32924" x="3175000" y="3230563"/>
          <p14:tracePt t="32925" x="3179763" y="3230563"/>
          <p14:tracePt t="32927" x="3187700" y="3227388"/>
          <p14:tracePt t="32928" x="3190875" y="3227388"/>
          <p14:tracePt t="32929" x="3195638" y="3227388"/>
          <p14:tracePt t="32930" x="3203575" y="3227388"/>
          <p14:tracePt t="32931" x="3206750" y="3227388"/>
          <p14:tracePt t="32933" x="3219450" y="3227388"/>
          <p14:tracePt t="32934" x="3222625" y="3227388"/>
          <p14:tracePt t="32935" x="3230563" y="3227388"/>
          <p14:tracePt t="32936" x="3235325" y="3227388"/>
          <p14:tracePt t="32937" x="3243263" y="3227388"/>
          <p14:tracePt t="32938" x="3246438" y="3227388"/>
          <p14:tracePt t="32940" x="3255963" y="3227388"/>
          <p14:tracePt t="32941" x="3259138" y="3227388"/>
          <p14:tracePt t="32942" x="3267075" y="3227388"/>
          <p14:tracePt t="32944" x="3271838" y="3227388"/>
          <p14:tracePt t="32945" x="3282950" y="3222625"/>
          <p14:tracePt t="32946" x="3287713" y="3222625"/>
          <p14:tracePt t="32947" x="3295650" y="3222625"/>
          <p14:tracePt t="32948" x="3303588" y="3222625"/>
          <p14:tracePt t="32949" x="3311525" y="3222625"/>
          <p14:tracePt t="32950" x="3314700" y="3222625"/>
          <p14:tracePt t="32951" x="3322638" y="3222625"/>
          <p14:tracePt t="32952" x="3330575" y="3219450"/>
          <p14:tracePt t="32953" x="3338513" y="3219450"/>
          <p14:tracePt t="32954" x="3343275" y="3219450"/>
          <p14:tracePt t="32955" x="3351213" y="3219450"/>
          <p14:tracePt t="32956" x="3359150" y="3219450"/>
          <p14:tracePt t="32957" x="3367088" y="3214688"/>
          <p14:tracePt t="32958" x="3375025" y="3214688"/>
          <p14:tracePt t="32959" x="3379788" y="3214688"/>
          <p14:tracePt t="32960" x="3387725" y="3214688"/>
          <p14:tracePt t="32962" x="3403600" y="3214688"/>
          <p14:tracePt t="32963" x="3411538" y="3211513"/>
          <p14:tracePt t="32964" x="3419475" y="3211513"/>
          <p14:tracePt t="32965" x="3422650" y="3211513"/>
          <p14:tracePt t="32966" x="3430588" y="3211513"/>
          <p14:tracePt t="32967" x="3440113" y="3206750"/>
          <p14:tracePt t="32968" x="3448050" y="3206750"/>
          <p14:tracePt t="32969" x="3455988" y="3206750"/>
          <p14:tracePt t="32970" x="3459163" y="3206750"/>
          <p14:tracePt t="32971" x="3467100" y="3203575"/>
          <p14:tracePt t="32972" x="3475038" y="3203575"/>
          <p14:tracePt t="32973" x="3479800" y="3198813"/>
          <p14:tracePt t="32974" x="3487738" y="3198813"/>
          <p14:tracePt t="32975" x="3495675" y="3198813"/>
          <p14:tracePt t="32976" x="3503613" y="3194050"/>
          <p14:tracePt t="32977" x="3506788" y="3194050"/>
          <p14:tracePt t="32979" x="3524250" y="3190875"/>
          <p14:tracePt t="32981" x="3527425" y="3190875"/>
          <p14:tracePt t="32982" x="3540125" y="3186113"/>
          <p14:tracePt t="32983" x="3548063" y="3186113"/>
          <p14:tracePt t="32984" x="3551238" y="3186113"/>
          <p14:tracePt t="32985" x="3559175" y="3182938"/>
          <p14:tracePt t="32986" x="3563938" y="3182938"/>
          <p14:tracePt t="32987" x="3567113" y="3182938"/>
          <p14:tracePt t="32988" x="3571875" y="3182938"/>
          <p14:tracePt t="32989" x="3575050" y="3178175"/>
          <p14:tracePt t="32990" x="3579813" y="3178175"/>
          <p14:tracePt t="32992" x="3582988" y="3175000"/>
          <p14:tracePt t="32994" x="3590925" y="3175000"/>
          <p14:tracePt t="32995" x="3595688" y="3170238"/>
          <p14:tracePt t="32996" x="3598863" y="3170238"/>
          <p14:tracePt t="32997" x="3603625" y="3170238"/>
          <p14:tracePt t="32998" x="3606800" y="3167063"/>
          <p14:tracePt t="32999" x="3611563" y="3167063"/>
          <p14:tracePt t="33000" x="3611563" y="3162300"/>
          <p14:tracePt t="33001" x="3616325" y="3162300"/>
          <p14:tracePt t="33002" x="3619500" y="3162300"/>
          <p14:tracePt t="33003" x="3624263" y="3162300"/>
          <p14:tracePt t="33006" x="3624263" y="3159125"/>
          <p14:tracePt t="33007" x="3627438" y="3159125"/>
          <p14:tracePt t="33009" x="3632200" y="3154363"/>
          <p14:tracePt t="33012" x="3635375" y="3154363"/>
          <p14:tracePt t="33014" x="3640138" y="3151188"/>
          <p14:tracePt t="33017" x="3643313" y="3151188"/>
          <p14:tracePt t="33019" x="3648075" y="3151188"/>
          <p14:tracePt t="33024" x="3651250" y="3151188"/>
          <p14:tracePt t="33029" x="3656013" y="3151188"/>
          <p14:tracePt t="33070" x="3656013" y="3146425"/>
          <p14:tracePt t="33090" x="3656013" y="3143250"/>
          <p14:tracePt t="33093" x="3656013" y="3138488"/>
          <p14:tracePt t="33094" x="3659188" y="3138488"/>
          <p14:tracePt t="33095" x="3659188" y="3135313"/>
          <p14:tracePt t="33097" x="3659188" y="3130550"/>
          <p14:tracePt t="33098" x="3663950" y="3130550"/>
          <p14:tracePt t="33100" x="3663950" y="3127375"/>
          <p14:tracePt t="33102" x="3663950" y="3122613"/>
          <p14:tracePt t="33104" x="3663950" y="3119438"/>
          <p14:tracePt t="33105" x="3663950" y="3114675"/>
          <p14:tracePt t="33106" x="3667125" y="3114675"/>
          <p14:tracePt t="33108" x="3667125" y="3111500"/>
          <p14:tracePt t="33113" x="3671888" y="3106738"/>
          <p14:tracePt t="33115" x="3671888" y="3101975"/>
          <p14:tracePt t="33116" x="3671888" y="3098800"/>
          <p14:tracePt t="33118" x="3671888" y="3094038"/>
          <p14:tracePt t="33121" x="3671888" y="3090863"/>
          <p14:tracePt t="33122" x="3671888" y="3086100"/>
          <p14:tracePt t="33123" x="3671888" y="3082925"/>
          <p14:tracePt t="33124" x="3671888" y="3078163"/>
          <p14:tracePt t="33125" x="3675063" y="3078163"/>
          <p14:tracePt t="33126" x="3675063" y="3074988"/>
          <p14:tracePt t="33127" x="3675063" y="3070225"/>
          <p14:tracePt t="33128" x="3675063" y="3067050"/>
          <p14:tracePt t="33130" x="3675063" y="3062288"/>
          <p14:tracePt t="33131" x="3675063" y="3059113"/>
          <p14:tracePt t="33132" x="3675063" y="3054350"/>
          <p14:tracePt t="33133" x="3675063" y="3051175"/>
          <p14:tracePt t="33134" x="3675063" y="3046413"/>
          <p14:tracePt t="33135" x="3675063" y="3043238"/>
          <p14:tracePt t="33136" x="3675063" y="3035300"/>
          <p14:tracePt t="33137" x="3675063" y="3030538"/>
          <p14:tracePt t="33138" x="3675063" y="3027363"/>
          <p14:tracePt t="33139" x="3675063" y="3022600"/>
          <p14:tracePt t="33140" x="3675063" y="3019425"/>
          <p14:tracePt t="33141" x="3675063" y="3014663"/>
          <p14:tracePt t="33142" x="3675063" y="3006725"/>
          <p14:tracePt t="33143" x="3675063" y="3001963"/>
          <p14:tracePt t="33144" x="3675063" y="2994025"/>
          <p14:tracePt t="33145" x="3675063" y="2990850"/>
          <p14:tracePt t="33146" x="3675063" y="2982913"/>
          <p14:tracePt t="33147" x="3675063" y="2978150"/>
          <p14:tracePt t="33148" x="3675063" y="2970213"/>
          <p14:tracePt t="33149" x="3675063" y="2967038"/>
          <p14:tracePt t="33150" x="3675063" y="2959100"/>
          <p14:tracePt t="33151" x="3675063" y="2951163"/>
          <p14:tracePt t="33152" x="3675063" y="2946400"/>
          <p14:tracePt t="33153" x="3675063" y="2938463"/>
          <p14:tracePt t="33154" x="3671888" y="2935288"/>
          <p14:tracePt t="33155" x="3671888" y="2927350"/>
          <p14:tracePt t="33156" x="3671888" y="2917825"/>
          <p14:tracePt t="33157" x="3667125" y="2909888"/>
          <p14:tracePt t="33158" x="3667125" y="2906713"/>
          <p14:tracePt t="33159" x="3667125" y="2898775"/>
          <p14:tracePt t="33160" x="3663950" y="2894013"/>
          <p14:tracePt t="33161" x="3663950" y="2882900"/>
          <p14:tracePt t="33162" x="3659188" y="2878138"/>
          <p14:tracePt t="33163" x="3659188" y="2874963"/>
          <p14:tracePt t="33164" x="3656013" y="2862263"/>
          <p14:tracePt t="33165" x="3656013" y="2854325"/>
          <p14:tracePt t="33167" x="3648075" y="2838450"/>
          <p14:tracePt t="33168" x="3648075" y="2833688"/>
          <p14:tracePt t="33169" x="3643313" y="2825750"/>
          <p14:tracePt t="33170" x="3643313" y="2822575"/>
          <p14:tracePt t="33171" x="3640138" y="2809875"/>
          <p14:tracePt t="33172" x="3635375" y="2806700"/>
          <p14:tracePt t="33173" x="3632200" y="2798763"/>
          <p14:tracePt t="33174" x="3632200" y="2794000"/>
          <p14:tracePt t="33175" x="3627438" y="2790825"/>
          <p14:tracePt t="33176" x="3624263" y="2782888"/>
          <p14:tracePt t="33178" x="3619500" y="2774950"/>
          <p14:tracePt t="33178" x="3616325" y="2770188"/>
          <p14:tracePt t="33180" x="3606800" y="2759075"/>
          <p14:tracePt t="33181" x="3603625" y="2751138"/>
          <p14:tracePt t="33182" x="3598863" y="2746375"/>
          <p14:tracePt t="33183" x="3595688" y="2738438"/>
          <p14:tracePt t="33184" x="3590925" y="2733675"/>
          <p14:tracePt t="33185" x="3590925" y="2730500"/>
          <p14:tracePt t="33186" x="3587750" y="2722563"/>
          <p14:tracePt t="33187" x="3582988" y="2722563"/>
          <p14:tracePt t="33188" x="3575050" y="2717800"/>
          <p14:tracePt t="33189" x="3571875" y="2714625"/>
          <p14:tracePt t="33190" x="3567113" y="2706688"/>
          <p14:tracePt t="33191" x="3563938" y="2701925"/>
          <p14:tracePt t="33192" x="3559175" y="2698750"/>
          <p14:tracePt t="33193" x="3556000" y="2693988"/>
          <p14:tracePt t="33194" x="3551238" y="2690813"/>
          <p14:tracePt t="33195" x="3548063" y="2686050"/>
          <p14:tracePt t="33197" x="3540125" y="2678113"/>
          <p14:tracePt t="33198" x="3535363" y="2674938"/>
          <p14:tracePt t="33199" x="3532188" y="2674938"/>
          <p14:tracePt t="33200" x="3532188" y="2670175"/>
          <p14:tracePt t="33201" x="3527425" y="2670175"/>
          <p14:tracePt t="33202" x="3524250" y="2667000"/>
          <p14:tracePt t="33203" x="3519488" y="2662238"/>
          <p14:tracePt t="33204" x="3514725" y="2662238"/>
          <p14:tracePt t="33205" x="3511550" y="2659063"/>
          <p14:tracePt t="33207" x="3506788" y="2654300"/>
          <p14:tracePt t="33208" x="3503613" y="2649538"/>
          <p14:tracePt t="33209" x="3498850" y="2649538"/>
          <p14:tracePt t="33210" x="3495675" y="2646363"/>
          <p14:tracePt t="33211" x="3490913" y="2646363"/>
          <p14:tracePt t="33213" x="3487738" y="2641600"/>
          <p14:tracePt t="33215" x="3482975" y="2638425"/>
          <p14:tracePt t="33216" x="3479800" y="2638425"/>
          <p14:tracePt t="33217" x="3471863" y="2633663"/>
          <p14:tracePt t="33219" x="3467100" y="2633663"/>
          <p14:tracePt t="33220" x="3463925" y="2630488"/>
          <p14:tracePt t="33221" x="3459163" y="2630488"/>
          <p14:tracePt t="33222" x="3455988" y="2630488"/>
          <p14:tracePt t="33223" x="3451225" y="2625725"/>
          <p14:tracePt t="33224" x="3448050" y="2625725"/>
          <p14:tracePt t="33225" x="3443288" y="2625725"/>
          <p14:tracePt t="33227" x="3440113" y="2625725"/>
          <p14:tracePt t="33229" x="3430588" y="2625725"/>
          <p14:tracePt t="33230" x="3427413" y="2625725"/>
          <p14:tracePt t="33231" x="3422650" y="2625725"/>
          <p14:tracePt t="33232" x="3419475" y="2625725"/>
          <p14:tracePt t="33233" x="3414713" y="2622550"/>
          <p14:tracePt t="33234" x="3411538" y="2622550"/>
          <p14:tracePt t="33235" x="3406775" y="2622550"/>
          <p14:tracePt t="33236" x="3403600" y="2622550"/>
          <p14:tracePt t="33238" x="3398838" y="2622550"/>
          <p14:tracePt t="33239" x="3395663" y="2622550"/>
          <p14:tracePt t="33240" x="3390900" y="2622550"/>
          <p14:tracePt t="33241" x="3387725" y="2622550"/>
          <p14:tracePt t="33242" x="3379788" y="2622550"/>
          <p14:tracePt t="33244" x="3379788" y="2617788"/>
          <p14:tracePt t="33245" x="3371850" y="2617788"/>
          <p14:tracePt t="33246" x="3367088" y="2617788"/>
          <p14:tracePt t="33247" x="3363913" y="2617788"/>
          <p14:tracePt t="33248" x="3355975" y="2617788"/>
          <p14:tracePt t="33249" x="3351213" y="2617788"/>
          <p14:tracePt t="33252" x="3343275" y="2617788"/>
          <p14:tracePt t="33254" x="3338513" y="2617788"/>
          <p14:tracePt t="33255" x="3335338" y="2617788"/>
          <p14:tracePt t="33256" x="3330575" y="2617788"/>
          <p14:tracePt t="33257" x="3327400" y="2617788"/>
          <p14:tracePt t="33258" x="3322638" y="2617788"/>
          <p14:tracePt t="33259" x="3319463" y="2617788"/>
          <p14:tracePt t="33260" x="3314700" y="2617788"/>
          <p14:tracePt t="33261" x="3311525" y="2617788"/>
          <p14:tracePt t="33262" x="3306763" y="2617788"/>
          <p14:tracePt t="33263" x="3306763" y="2622550"/>
          <p14:tracePt t="33264" x="3303588" y="2622550"/>
          <p14:tracePt t="33265" x="3298825" y="2622550"/>
          <p14:tracePt t="33266" x="3295650" y="2622550"/>
          <p14:tracePt t="33267" x="3290888" y="2622550"/>
          <p14:tracePt t="33268" x="3287713" y="2625725"/>
          <p14:tracePt t="33269" x="3282950" y="2625725"/>
          <p14:tracePt t="33270" x="3279775" y="2630488"/>
          <p14:tracePt t="33271" x="3275013" y="2630488"/>
          <p14:tracePt t="33272" x="3271838" y="2630488"/>
          <p14:tracePt t="33273" x="3267075" y="2633663"/>
          <p14:tracePt t="33275" x="3263900" y="2633663"/>
          <p14:tracePt t="33277" x="3259138" y="2638425"/>
          <p14:tracePt t="33278" x="3255963" y="2641600"/>
          <p14:tracePt t="33279" x="3251200" y="2641600"/>
          <p14:tracePt t="33280" x="3246438" y="2646363"/>
          <p14:tracePt t="33281" x="3243263" y="2646363"/>
          <p14:tracePt t="33283" x="3238500" y="2649538"/>
          <p14:tracePt t="33285" x="3235325" y="2649538"/>
          <p14:tracePt t="33286" x="3230563" y="2654300"/>
          <p14:tracePt t="33288" x="3227388" y="2654300"/>
          <p14:tracePt t="33289" x="3227388" y="2659063"/>
          <p14:tracePt t="33291" x="3227388" y="2662238"/>
          <p14:tracePt t="33292" x="3222625" y="2662238"/>
          <p14:tracePt t="33293" x="3219450" y="2662238"/>
          <p14:tracePt t="33295" x="3219450" y="2667000"/>
          <p14:tracePt t="33296" x="3214688" y="2667000"/>
          <p14:tracePt t="33298" x="3211513" y="2670175"/>
          <p14:tracePt t="33300" x="3206750" y="2670175"/>
          <p14:tracePt t="33301" x="3206750" y="2674938"/>
          <p14:tracePt t="33302" x="3203575" y="2674938"/>
          <p14:tracePt t="33303" x="3203575" y="2678113"/>
          <p14:tracePt t="33304" x="3198813" y="2678113"/>
          <p14:tracePt t="33305" x="3198813" y="2682875"/>
          <p14:tracePt t="33306" x="3195638" y="2686050"/>
          <p14:tracePt t="33308" x="3190875" y="2690813"/>
          <p14:tracePt t="33310" x="3187700" y="2690813"/>
          <p14:tracePt t="33312" x="3187700" y="2693988"/>
          <p14:tracePt t="33313" x="3187700" y="2698750"/>
          <p14:tracePt t="33314" x="3182938" y="2701925"/>
          <p14:tracePt t="33318" x="3182938" y="2706688"/>
          <p14:tracePt t="33320" x="3182938" y="2709863"/>
          <p14:tracePt t="33322" x="3179763" y="2709863"/>
          <p14:tracePt t="33323" x="3179763" y="2714625"/>
          <p14:tracePt t="33324" x="3179763" y="2717800"/>
          <p14:tracePt t="33327" x="3175000" y="2722563"/>
          <p14:tracePt t="33329" x="3175000" y="2725738"/>
          <p14:tracePt t="33331" x="3175000" y="2730500"/>
          <p14:tracePt t="33334" x="3175000" y="2733675"/>
          <p14:tracePt t="33336" x="3175000" y="2738438"/>
          <p14:tracePt t="33338" x="3175000" y="2741613"/>
          <p14:tracePt t="33344" x="3175000" y="2746375"/>
          <p14:tracePt t="33347" x="3175000" y="2751138"/>
          <p14:tracePt t="33350" x="3175000" y="2754313"/>
          <p14:tracePt t="33353" x="3175000" y="2759075"/>
          <p14:tracePt t="33356" x="3175000" y="2762250"/>
          <p14:tracePt t="33359" x="3175000" y="2767013"/>
          <p14:tracePt t="33363" x="3175000" y="2770188"/>
          <p14:tracePt t="33365" x="3175000" y="2774950"/>
          <p14:tracePt t="33368" x="3175000" y="2778125"/>
          <p14:tracePt t="33371" x="3175000" y="2782888"/>
          <p14:tracePt t="33375" x="3175000" y="2786063"/>
          <p14:tracePt t="33380" x="3179763" y="2786063"/>
          <p14:tracePt t="33382" x="3179763" y="2790825"/>
          <p14:tracePt t="33385" x="3179763" y="2794000"/>
          <p14:tracePt t="33388" x="3179763" y="2798763"/>
          <p14:tracePt t="33391" x="3179763" y="2801938"/>
          <p14:tracePt t="33394" x="3182938" y="2801938"/>
          <p14:tracePt t="33395" x="3182938" y="2806700"/>
          <p14:tracePt t="33396" x="3187700" y="2806700"/>
          <p14:tracePt t="33397" x="3187700" y="2809875"/>
          <p14:tracePt t="33400" x="3190875" y="2814638"/>
          <p14:tracePt t="33402" x="3190875" y="2817813"/>
          <p14:tracePt t="33404" x="3195638" y="2817813"/>
          <p14:tracePt t="33405" x="3195638" y="2822575"/>
          <p14:tracePt t="33407" x="3198813" y="2825750"/>
          <p14:tracePt t="33409" x="3203575" y="2825750"/>
          <p14:tracePt t="33412" x="3206750" y="2830513"/>
          <p14:tracePt t="33414" x="3211513" y="2830513"/>
          <p14:tracePt t="33415" x="3211513" y="2833688"/>
          <p14:tracePt t="33416" x="3214688" y="2833688"/>
          <p14:tracePt t="33417" x="3214688" y="2838450"/>
          <p14:tracePt t="33419" x="3219450" y="2843213"/>
          <p14:tracePt t="33420" x="3219450" y="2846388"/>
          <p14:tracePt t="33422" x="3222625" y="2851150"/>
          <p14:tracePt t="33424" x="3222625" y="2854325"/>
          <p14:tracePt t="33425" x="3227388" y="2854325"/>
          <p14:tracePt t="33426" x="3227388" y="2859088"/>
          <p14:tracePt t="33427" x="3230563" y="2859088"/>
          <p14:tracePt t="33429" x="3230563" y="2862263"/>
          <p14:tracePt t="33430" x="3235325" y="2862263"/>
          <p14:tracePt t="33431" x="3238500" y="2867025"/>
          <p14:tracePt t="33433" x="3243263" y="2867025"/>
          <p14:tracePt t="33435" x="3246438" y="2870200"/>
          <p14:tracePt t="33437" x="3251200" y="2874963"/>
          <p14:tracePt t="33439" x="3255963" y="2878138"/>
          <p14:tracePt t="33441" x="3259138" y="2878138"/>
          <p14:tracePt t="33442" x="3259138" y="2882900"/>
          <p14:tracePt t="33444" x="3263900" y="2886075"/>
          <p14:tracePt t="33447" x="3263900" y="2890838"/>
          <p14:tracePt t="33449" x="3267075" y="2890838"/>
          <p14:tracePt t="33450" x="3267075" y="2894013"/>
          <p14:tracePt t="33453" x="3271838" y="2894013"/>
          <p14:tracePt t="33454" x="3271838" y="2898775"/>
          <p14:tracePt t="33457" x="3275013" y="2898775"/>
          <p14:tracePt t="33459" x="3275013" y="2901950"/>
          <p14:tracePt t="33836" x="3279775" y="2901950"/>
          <p14:tracePt t="33844" x="3279775" y="2906713"/>
          <p14:tracePt t="34275" x="3279775" y="2909888"/>
          <p14:tracePt t="34278" x="3279775" y="2914650"/>
          <p14:tracePt t="34280" x="3275013" y="2917825"/>
          <p14:tracePt t="34284" x="3271838" y="2922588"/>
          <p14:tracePt t="34286" x="3271838" y="2927350"/>
          <p14:tracePt t="34288" x="3267075" y="2935288"/>
          <p14:tracePt t="34290" x="3267075" y="2938463"/>
          <p14:tracePt t="34291" x="3267075" y="2943225"/>
          <p14:tracePt t="34292" x="3263900" y="2943225"/>
          <p14:tracePt t="34295" x="3259138" y="2946400"/>
          <p14:tracePt t="34298" x="3255963" y="2951163"/>
          <p14:tracePt t="34300" x="3255963" y="2954338"/>
          <p14:tracePt t="34302" x="3251200" y="2959100"/>
          <p14:tracePt t="34304" x="3251200" y="2962275"/>
          <p14:tracePt t="34306" x="3243263" y="2967038"/>
          <p14:tracePt t="34308" x="3238500" y="2974975"/>
          <p14:tracePt t="34309" x="3235325" y="2978150"/>
          <p14:tracePt t="34310" x="3230563" y="2978150"/>
          <p14:tracePt t="34311" x="3230563" y="2982913"/>
          <p14:tracePt t="34313" x="3227388" y="2986088"/>
          <p14:tracePt t="34315" x="3222625" y="2990850"/>
          <p14:tracePt t="34318" x="3219450" y="2994025"/>
          <p14:tracePt t="34319" x="3214688" y="2998788"/>
          <p14:tracePt t="34320" x="3214688" y="3001963"/>
          <p14:tracePt t="34321" x="3211513" y="3001963"/>
          <p14:tracePt t="34322" x="3211513" y="3006725"/>
          <p14:tracePt t="34323" x="3206750" y="3006725"/>
          <p14:tracePt t="34324" x="3206750" y="3009900"/>
          <p14:tracePt t="34325" x="3203575" y="3014663"/>
          <p14:tracePt t="34327" x="3198813" y="3019425"/>
          <p14:tracePt t="34329" x="3195638" y="3022600"/>
          <p14:tracePt t="34331" x="3195638" y="3027363"/>
          <p14:tracePt t="34332" x="3190875" y="3027363"/>
          <p14:tracePt t="34336" x="3187700" y="3027363"/>
          <p14:tracePt t="34339" x="3187700" y="3030538"/>
          <p14:tracePt t="34341" x="3187700" y="3035300"/>
          <p14:tracePt t="34342" x="3182938" y="3035300"/>
          <p14:tracePt t="34347" x="3182938" y="3038475"/>
          <p14:tracePt t="34354" x="3182938" y="3043238"/>
          <p14:tracePt t="34356" x="3179763" y="3043238"/>
          <p14:tracePt t="34469" x="3179763" y="3046413"/>
          <p14:tracePt t="34494" x="3179763" y="3051175"/>
          <p14:tracePt t="34497" x="3179763" y="3054350"/>
          <p14:tracePt t="34499" x="3179763" y="3059113"/>
          <p14:tracePt t="34500" x="3175000" y="3062288"/>
          <p14:tracePt t="34501" x="3175000" y="3067050"/>
          <p14:tracePt t="34503" x="3175000" y="3070225"/>
          <p14:tracePt t="34504" x="3175000" y="3074988"/>
          <p14:tracePt t="34505" x="3171825" y="3078163"/>
          <p14:tracePt t="34506" x="3171825" y="3086100"/>
          <p14:tracePt t="34507" x="3171825" y="3090863"/>
          <p14:tracePt t="34508" x="3167063" y="3094038"/>
          <p14:tracePt t="34509" x="3167063" y="3098800"/>
          <p14:tracePt t="34511" x="3167063" y="3111500"/>
          <p14:tracePt t="34512" x="3163888" y="3114675"/>
          <p14:tracePt t="34513" x="3163888" y="3119438"/>
          <p14:tracePt t="34514" x="3163888" y="3122613"/>
          <p14:tracePt t="34515" x="3163888" y="3127375"/>
          <p14:tracePt t="34516" x="3159125" y="3130550"/>
          <p14:tracePt t="34517" x="3159125" y="3138488"/>
          <p14:tracePt t="34518" x="3154363" y="3143250"/>
          <p14:tracePt t="34519" x="3154363" y="3151188"/>
          <p14:tracePt t="34520" x="3154363" y="3154363"/>
          <p14:tracePt t="34521" x="3151188" y="3162300"/>
          <p14:tracePt t="34522" x="3151188" y="3170238"/>
          <p14:tracePt t="34523" x="3151188" y="3178175"/>
          <p14:tracePt t="34524" x="3151188" y="3186113"/>
          <p14:tracePt t="34525" x="3146425" y="3190875"/>
          <p14:tracePt t="34526" x="3146425" y="3198813"/>
          <p14:tracePt t="34528" x="3146425" y="3206750"/>
          <p14:tracePt t="34528" x="3143250" y="3214688"/>
          <p14:tracePt t="34529" x="3143250" y="3222625"/>
          <p14:tracePt t="34531" x="3143250" y="3230563"/>
          <p14:tracePt t="34531" x="3143250" y="3238500"/>
          <p14:tracePt t="34532" x="3143250" y="3246438"/>
          <p14:tracePt t="34534" x="3138488" y="3270250"/>
          <p14:tracePt t="34535" x="3138488" y="3278188"/>
          <p14:tracePt t="34536" x="3138488" y="3290888"/>
          <p14:tracePt t="34537" x="3138488" y="3298825"/>
          <p14:tracePt t="34538" x="3135313" y="3314700"/>
          <p14:tracePt t="34539" x="3135313" y="3327400"/>
          <p14:tracePt t="34540" x="3135313" y="3335338"/>
          <p14:tracePt t="34541" x="3130550" y="3351213"/>
          <p14:tracePt t="34542" x="3130550" y="3359150"/>
          <p14:tracePt t="34544" x="3130550" y="3387725"/>
          <p14:tracePt t="34545" x="3130550" y="3398838"/>
          <p14:tracePt t="34546" x="3130550" y="3414713"/>
          <p14:tracePt t="34547" x="3130550" y="3427413"/>
          <p14:tracePt t="34548" x="3127375" y="3443288"/>
          <p14:tracePt t="34549" x="3127375" y="3454400"/>
          <p14:tracePt t="34550" x="3127375" y="3467100"/>
          <p14:tracePt t="34551" x="3127375" y="3482975"/>
          <p14:tracePt t="34552" x="3127375" y="3495675"/>
          <p14:tracePt t="34553" x="3127375" y="3511550"/>
          <p14:tracePt t="34554" x="3127375" y="3530600"/>
          <p14:tracePt t="34555" x="3127375" y="3543300"/>
          <p14:tracePt t="34556" x="3127375" y="3562350"/>
          <p14:tracePt t="34557" x="3127375" y="3575050"/>
          <p14:tracePt t="34558" x="3127375" y="3595688"/>
          <p14:tracePt t="34559" x="3127375" y="3606800"/>
          <p14:tracePt t="34560" x="3127375" y="3622675"/>
          <p14:tracePt t="34562" x="3127375" y="3651250"/>
          <p14:tracePt t="34563" x="3127375" y="3667125"/>
          <p14:tracePt t="34564" x="3127375" y="3687763"/>
          <p14:tracePt t="34565" x="3127375" y="3703638"/>
          <p14:tracePt t="34566" x="3127375" y="3719513"/>
          <p14:tracePt t="34567" x="3127375" y="3735388"/>
          <p14:tracePt t="34568" x="3127375" y="3746500"/>
          <p14:tracePt t="34569" x="3127375" y="3775075"/>
          <p14:tracePt t="34570" x="3127375" y="3787775"/>
          <p14:tracePt t="34571" x="3127375" y="3798888"/>
          <p14:tracePt t="34572" x="3127375" y="3814763"/>
          <p14:tracePt t="34573" x="3127375" y="3835400"/>
          <p14:tracePt t="34574" x="3127375" y="3851275"/>
          <p14:tracePt t="34575" x="3127375" y="3867150"/>
          <p14:tracePt t="34576" x="3127375" y="3887788"/>
          <p14:tracePt t="34577" x="3127375" y="3898900"/>
          <p14:tracePt t="34578" x="3127375" y="3919538"/>
          <p14:tracePt t="34579" x="3119438" y="3940175"/>
          <p14:tracePt t="34580" x="3119438" y="3956050"/>
          <p14:tracePt t="34581" x="3119438" y="3971925"/>
          <p14:tracePt t="34582" x="3119438" y="3983038"/>
          <p14:tracePt t="34583" x="3114675" y="4003675"/>
          <p14:tracePt t="34584" x="3114675" y="4024313"/>
          <p14:tracePt t="34585" x="3114675" y="4043363"/>
          <p14:tracePt t="34586" x="3111500" y="4056063"/>
          <p14:tracePt t="34587" x="3111500" y="4075113"/>
          <p14:tracePt t="34588" x="3111500" y="4090988"/>
          <p14:tracePt t="34589" x="3111500" y="4116388"/>
          <p14:tracePt t="34590" x="3111500" y="4127500"/>
          <p14:tracePt t="34591" x="3111500" y="4148138"/>
          <p14:tracePt t="34592" x="3106738" y="4164013"/>
          <p14:tracePt t="34594" x="3106738" y="4198938"/>
          <p14:tracePt t="34595" x="3106738" y="4219575"/>
          <p14:tracePt t="34596" x="3106738" y="4232275"/>
          <p14:tracePt t="34597" x="3103563" y="4251325"/>
          <p14:tracePt t="34598" x="3103563" y="4267200"/>
          <p14:tracePt t="34599" x="3103563" y="4291013"/>
          <p14:tracePt t="34600" x="3103563" y="4308475"/>
          <p14:tracePt t="34601" x="3095625" y="4324350"/>
          <p14:tracePt t="34602" x="3095625" y="4340225"/>
          <p14:tracePt t="34604" x="3095625" y="4379913"/>
          <p14:tracePt t="34605" x="3090863" y="4392613"/>
          <p14:tracePt t="34606" x="3090863" y="4411663"/>
          <p14:tracePt t="34607" x="3090863" y="4424363"/>
          <p14:tracePt t="34608" x="3090863" y="4443413"/>
          <p14:tracePt t="34609" x="3090863" y="4459288"/>
          <p14:tracePt t="34610" x="3087688" y="4484688"/>
          <p14:tracePt t="34612" x="3087688" y="4503738"/>
          <p14:tracePt t="34612" x="3087688" y="4516438"/>
          <p14:tracePt t="34613" x="3087688" y="4535488"/>
          <p14:tracePt t="34614" x="3087688" y="4559300"/>
          <p14:tracePt t="34615" x="3087688" y="4579938"/>
          <p14:tracePt t="34616" x="3087688" y="4595813"/>
          <p14:tracePt t="34617" x="3087688" y="4611688"/>
          <p14:tracePt t="34618" x="3087688" y="4632325"/>
          <p14:tracePt t="34619" x="3087688" y="4651375"/>
          <p14:tracePt t="34620" x="3087688" y="4676775"/>
          <p14:tracePt t="34621" x="3087688" y="4695825"/>
          <p14:tracePt t="34622" x="3087688" y="4711700"/>
          <p14:tracePt t="34623" x="3087688" y="4727575"/>
          <p14:tracePt t="34624" x="3087688" y="4756150"/>
          <p14:tracePt t="34625" x="3087688" y="4776788"/>
          <p14:tracePt t="34626" x="3087688" y="4792663"/>
          <p14:tracePt t="34627" x="3087688" y="4811713"/>
          <p14:tracePt t="34628" x="3087688" y="4827588"/>
          <p14:tracePt t="34629" x="3087688" y="4843463"/>
          <p14:tracePt t="34630" x="3087688" y="4872038"/>
          <p14:tracePt t="34631" x="3087688" y="4892675"/>
          <p14:tracePt t="34632" x="3087688" y="4908550"/>
          <p14:tracePt t="34633" x="3087688" y="4927600"/>
          <p14:tracePt t="34634" x="3087688" y="4945063"/>
          <p14:tracePt t="34635" x="3087688" y="4968875"/>
          <p14:tracePt t="34636" x="3087688" y="4987925"/>
          <p14:tracePt t="34637" x="3087688" y="5003800"/>
          <p14:tracePt t="34638" x="3087688" y="5019675"/>
          <p14:tracePt t="34639" x="3087688" y="5040313"/>
          <p14:tracePt t="34640" x="3087688" y="5064125"/>
          <p14:tracePt t="34641" x="3087688" y="5076825"/>
          <p14:tracePt t="34642" x="3087688" y="5095875"/>
          <p14:tracePt t="34643" x="3087688" y="5111750"/>
          <p14:tracePt t="34644" x="3087688" y="5129213"/>
          <p14:tracePt t="34645" x="3087688" y="5148263"/>
          <p14:tracePt t="34646" x="3087688" y="5168900"/>
          <p14:tracePt t="34647" x="3087688" y="5180013"/>
          <p14:tracePt t="34648" x="3087688" y="5200650"/>
          <p14:tracePt t="34649" x="3087688" y="5216525"/>
          <p14:tracePt t="34650" x="3087688" y="5240338"/>
          <p14:tracePt t="34651" x="3087688" y="5256213"/>
          <p14:tracePt t="34652" x="3090863" y="5268913"/>
          <p14:tracePt t="34653" x="3090863" y="5287963"/>
          <p14:tracePt t="34654" x="3090863" y="5300663"/>
          <p14:tracePt t="34655" x="3098800" y="5321300"/>
          <p14:tracePt t="34656" x="3098800" y="5340350"/>
          <p14:tracePt t="34657" x="3103563" y="5356225"/>
          <p14:tracePt t="34658" x="3103563" y="5368925"/>
          <p14:tracePt t="34659" x="3106738" y="5384800"/>
          <p14:tracePt t="34660" x="3106738" y="5400675"/>
          <p14:tracePt t="34661" x="3111500" y="5421313"/>
          <p14:tracePt t="34662" x="3111500" y="5437188"/>
          <p14:tracePt t="34663" x="3114675" y="5448300"/>
          <p14:tracePt t="34664" x="3119438" y="5464175"/>
          <p14:tracePt t="34665" x="3119438" y="5476875"/>
          <p14:tracePt t="34666" x="3127375" y="5497513"/>
          <p14:tracePt t="34667" x="3130550" y="5508625"/>
          <p14:tracePt t="34668" x="3135313" y="5524500"/>
          <p14:tracePt t="34669" x="3135313" y="5532438"/>
          <p14:tracePt t="34670" x="3138488" y="5553075"/>
          <p14:tracePt t="34671" x="3143250" y="5564188"/>
          <p14:tracePt t="34672" x="3143250" y="5581650"/>
          <p14:tracePt t="34673" x="3146425" y="5589588"/>
          <p14:tracePt t="34674" x="3154363" y="5605463"/>
          <p14:tracePt t="34675" x="3159125" y="5613400"/>
          <p14:tracePt t="34676" x="3159125" y="5632450"/>
          <p14:tracePt t="34677" x="3163888" y="5640388"/>
          <p14:tracePt t="34678" x="3167063" y="5653088"/>
          <p14:tracePt t="34679" x="3171825" y="5661025"/>
          <p14:tracePt t="34680" x="3175000" y="5681663"/>
          <p14:tracePt t="34681" x="3179763" y="5692775"/>
          <p14:tracePt t="34682" x="3187700" y="5705475"/>
          <p14:tracePt t="34683" x="3187700" y="5713413"/>
          <p14:tracePt t="34684" x="3190875" y="5721350"/>
          <p14:tracePt t="34685" x="3195638" y="5729288"/>
          <p14:tracePt t="34686" x="3203575" y="5745163"/>
          <p14:tracePt t="34687" x="3203575" y="5753100"/>
          <p14:tracePt t="34688" x="3206750" y="5761038"/>
          <p14:tracePt t="34689" x="3211513" y="5768975"/>
          <p14:tracePt t="34690" x="3214688" y="5781675"/>
          <p14:tracePt t="34691" x="3222625" y="5792788"/>
          <p14:tracePt t="34692" x="3227388" y="5797550"/>
          <p14:tracePt t="34693" x="3230563" y="5805488"/>
          <p14:tracePt t="34694" x="3235325" y="5813425"/>
          <p14:tracePt t="34695" x="3238500" y="5821363"/>
          <p14:tracePt t="34696" x="3243263" y="5832475"/>
          <p14:tracePt t="34697" x="3246438" y="5837238"/>
          <p14:tracePt t="34698" x="3246438" y="5840413"/>
          <p14:tracePt t="34699" x="3251200" y="5853113"/>
          <p14:tracePt t="34700" x="3255963" y="5857875"/>
          <p14:tracePt t="34701" x="3259138" y="5865813"/>
          <p14:tracePt t="34702" x="3263900" y="5865813"/>
          <p14:tracePt t="34703" x="3267075" y="5868988"/>
          <p14:tracePt t="34704" x="3271838" y="5876925"/>
          <p14:tracePt t="34705" x="3271838" y="5881688"/>
          <p14:tracePt t="34706" x="3275013" y="5889625"/>
          <p14:tracePt t="34707" x="3279775" y="5892800"/>
          <p14:tracePt t="34708" x="3282950" y="5897563"/>
          <p14:tracePt t="34709" x="3287713" y="5900738"/>
          <p14:tracePt t="34710" x="3287713" y="5908675"/>
          <p14:tracePt t="34711" x="3295650" y="5913438"/>
          <p14:tracePt t="34713" x="3295650" y="5916613"/>
          <p14:tracePt t="34714" x="3311525" y="5929313"/>
          <p14:tracePt t="34715" x="3311525" y="5932488"/>
          <p14:tracePt t="34716" x="3314700" y="5940425"/>
          <p14:tracePt t="34717" x="3319463" y="5945188"/>
          <p14:tracePt t="34718" x="3322638" y="5949950"/>
          <p14:tracePt t="34719" x="3327400" y="5953125"/>
          <p14:tracePt t="34720" x="3335338" y="5961063"/>
          <p14:tracePt t="34721" x="3338513" y="5965825"/>
          <p14:tracePt t="34722" x="3348038" y="5973763"/>
          <p14:tracePt t="34723" x="3351213" y="5976938"/>
          <p14:tracePt t="34724" x="3355975" y="5981700"/>
          <p14:tracePt t="34725" x="3363913" y="5984875"/>
          <p14:tracePt t="34726" x="3371850" y="5992813"/>
          <p14:tracePt t="34727" x="3375025" y="5997575"/>
          <p14:tracePt t="34728" x="3379788" y="6000750"/>
          <p14:tracePt t="34729" x="3387725" y="6008688"/>
          <p14:tracePt t="34730" x="3390900" y="6013450"/>
          <p14:tracePt t="34731" x="3398838" y="6016625"/>
          <p14:tracePt t="34732" x="3406775" y="6021388"/>
          <p14:tracePt t="34733" x="3411538" y="6029325"/>
          <p14:tracePt t="34734" x="3422650" y="6032500"/>
          <p14:tracePt t="34735" x="3422650" y="6037263"/>
          <p14:tracePt t="34736" x="3430588" y="6042025"/>
          <p14:tracePt t="34737" x="3443288" y="6049963"/>
          <p14:tracePt t="34738" x="3448050" y="6053138"/>
          <p14:tracePt t="34739" x="3455988" y="6057900"/>
          <p14:tracePt t="34740" x="3459163" y="6061075"/>
          <p14:tracePt t="34741" x="3467100" y="6065838"/>
          <p14:tracePt t="34742" x="3479800" y="6073775"/>
          <p14:tracePt t="34744" x="3490913" y="6081713"/>
          <p14:tracePt t="34745" x="3498850" y="6084888"/>
          <p14:tracePt t="34747" x="3514725" y="6097588"/>
          <p14:tracePt t="34748" x="3532188" y="6105525"/>
          <p14:tracePt t="34749" x="3535363" y="6108700"/>
          <p14:tracePt t="34750" x="3543300" y="6113463"/>
          <p14:tracePt t="34751" x="3551238" y="6116638"/>
          <p14:tracePt t="34752" x="3567113" y="6121400"/>
          <p14:tracePt t="34753" x="3571875" y="6124575"/>
          <p14:tracePt t="34754" x="3579813" y="6129338"/>
          <p14:tracePt t="34755" x="3587750" y="6134100"/>
          <p14:tracePt t="34756" x="3595688" y="6137275"/>
          <p14:tracePt t="34757" x="3611563" y="6149975"/>
          <p14:tracePt t="34758" x="3619500" y="6153150"/>
          <p14:tracePt t="34760" x="3632200" y="6161088"/>
          <p14:tracePt t="34761" x="3643313" y="6165850"/>
          <p14:tracePt t="34762" x="3651250" y="6169025"/>
          <p14:tracePt t="34764" x="3671888" y="6176963"/>
          <p14:tracePt t="34765" x="3683000" y="6181725"/>
          <p14:tracePt t="34766" x="3690938" y="6181725"/>
          <p14:tracePt t="34767" x="3698875" y="6184900"/>
          <p14:tracePt t="34768" x="3716338" y="6192838"/>
          <p14:tracePt t="34769" x="3724275" y="6197600"/>
          <p14:tracePt t="34770" x="3732213" y="6200775"/>
          <p14:tracePt t="34771" x="3743325" y="6205538"/>
          <p14:tracePt t="34772" x="3759200" y="6208713"/>
          <p14:tracePt t="34773" x="3767138" y="6208713"/>
          <p14:tracePt t="34774" x="3779838" y="6213475"/>
          <p14:tracePt t="34775" x="3790950" y="6216650"/>
          <p14:tracePt t="34776" x="3808413" y="6216650"/>
          <p14:tracePt t="34777" x="3819525" y="6221413"/>
          <p14:tracePt t="34778" x="3835400" y="6229350"/>
          <p14:tracePt t="34780" x="3843338" y="6234113"/>
          <p14:tracePt t="34781" x="3871913" y="6237288"/>
          <p14:tracePt t="34782" x="3892550" y="6242050"/>
          <p14:tracePt t="34783" x="3903663" y="6245225"/>
          <p14:tracePt t="34784" x="3919538" y="6249988"/>
          <p14:tracePt t="34785" x="3932238" y="6257925"/>
          <p14:tracePt t="34786" x="3948113" y="6261100"/>
          <p14:tracePt t="34787" x="3967163" y="6265863"/>
          <p14:tracePt t="34788" x="3979863" y="6265863"/>
          <p14:tracePt t="34789" x="4000500" y="6269038"/>
          <p14:tracePt t="34790" x="4011613" y="6273800"/>
          <p14:tracePt t="34791" x="4032250" y="6273800"/>
          <p14:tracePt t="34792" x="4051300" y="6281738"/>
          <p14:tracePt t="34794" x="4071938" y="6284913"/>
          <p14:tracePt t="34794" x="4084638" y="6284913"/>
          <p14:tracePt t="34795" x="4103688" y="6289675"/>
          <p14:tracePt t="34797" x="4140200" y="6292850"/>
          <p14:tracePt t="34798" x="4164013" y="6300788"/>
          <p14:tracePt t="34799" x="4184650" y="6300788"/>
          <p14:tracePt t="34800" x="4203700" y="6305550"/>
          <p14:tracePt t="34801" x="4224338" y="6310313"/>
          <p14:tracePt t="34802" x="4243388" y="6310313"/>
          <p14:tracePt t="34803" x="4276725" y="6313488"/>
          <p14:tracePt t="34804" x="4295775" y="6321425"/>
          <p14:tracePt t="34805" x="4316413" y="6321425"/>
          <p14:tracePt t="34806" x="4340225" y="6326188"/>
          <p14:tracePt t="34807" x="4360863" y="6329363"/>
          <p14:tracePt t="34808" x="4395788" y="6337300"/>
          <p14:tracePt t="34809" x="4416425" y="6337300"/>
          <p14:tracePt t="34810" x="4437063" y="6342063"/>
          <p14:tracePt t="34811" x="4460875" y="6342063"/>
          <p14:tracePt t="34812" x="4487863" y="6345238"/>
          <p14:tracePt t="34814" x="4537075" y="6353175"/>
          <p14:tracePt t="34815" x="4556125" y="6353175"/>
          <p14:tracePt t="34816" x="4579938" y="6357938"/>
          <p14:tracePt t="34817" x="4600575" y="6357938"/>
          <p14:tracePt t="34818" x="4632325" y="6361113"/>
          <p14:tracePt t="34819" x="4652963" y="6365875"/>
          <p14:tracePt t="34820" x="4672013" y="6365875"/>
          <p14:tracePt t="34821" x="4692650" y="6373813"/>
          <p14:tracePt t="34822" x="4713288" y="6373813"/>
          <p14:tracePt t="34823" x="4737100" y="6376988"/>
          <p14:tracePt t="34824" x="4756150" y="6381750"/>
          <p14:tracePt t="34825" x="4776788" y="6381750"/>
          <p14:tracePt t="34826" x="4792663" y="6384925"/>
          <p14:tracePt t="34827" x="4808538" y="6384925"/>
          <p14:tracePt t="34828" x="4837113" y="6392863"/>
          <p14:tracePt t="34830" x="4856163" y="6392863"/>
          <p14:tracePt t="34830" x="4868863" y="6397625"/>
          <p14:tracePt t="34831" x="4889500" y="6397625"/>
          <p14:tracePt t="34832" x="4908550" y="6397625"/>
          <p14:tracePt t="34833" x="4929188" y="6402388"/>
          <p14:tracePt t="34834" x="4948238" y="6402388"/>
          <p14:tracePt t="34835" x="4960938" y="6405563"/>
          <p14:tracePt t="34836" x="4981575" y="6405563"/>
          <p14:tracePt t="34837" x="4992688" y="6413500"/>
          <p14:tracePt t="34838" x="5021263" y="6413500"/>
          <p14:tracePt t="34839" x="5032375" y="6413500"/>
          <p14:tracePt t="34840" x="5053013" y="6418263"/>
          <p14:tracePt t="34841" x="5065713" y="6418263"/>
          <p14:tracePt t="34842" x="5081588" y="6418263"/>
          <p14:tracePt t="34843" x="5100638" y="6421438"/>
          <p14:tracePt t="34844" x="5121275" y="6421438"/>
          <p14:tracePt t="34845" x="5140325" y="6426200"/>
          <p14:tracePt t="34847" x="5165725" y="6429375"/>
          <p14:tracePt t="34848" x="5184775" y="6429375"/>
          <p14:tracePt t="34849" x="5200650" y="6437313"/>
          <p14:tracePt t="34850" x="5221288" y="6437313"/>
          <p14:tracePt t="34851" x="5232400" y="6437313"/>
          <p14:tracePt t="34852" x="5245100" y="6442075"/>
          <p14:tracePt t="34853" x="5265738" y="6442075"/>
          <p14:tracePt t="34854" x="5284788" y="6445250"/>
          <p14:tracePt t="34855" x="5300663" y="6445250"/>
          <p14:tracePt t="34856" x="5313363" y="6450013"/>
          <p14:tracePt t="34857" x="5324475" y="6450013"/>
          <p14:tracePt t="34858" x="5353050" y="6453188"/>
          <p14:tracePt t="34859" x="5365750" y="6453188"/>
          <p14:tracePt t="34860" x="5381625" y="6461125"/>
          <p14:tracePt t="34861" x="5400675" y="6461125"/>
          <p14:tracePt t="34862" x="5413375" y="6465888"/>
          <p14:tracePt t="34863" x="5429250" y="6465888"/>
          <p14:tracePt t="34864" x="5449888" y="6469063"/>
          <p14:tracePt t="34865" x="5461000" y="6469063"/>
          <p14:tracePt t="34866" x="5481638" y="6473825"/>
          <p14:tracePt t="34867" x="5492750" y="6473825"/>
          <p14:tracePt t="34868" x="5513388" y="6477000"/>
          <p14:tracePt t="34869" x="5534025" y="6477000"/>
          <p14:tracePt t="34870" x="5549900" y="6484938"/>
          <p14:tracePt t="34871" x="5561013" y="6489700"/>
          <p14:tracePt t="34872" x="5576888" y="6489700"/>
          <p14:tracePt t="34873" x="5589588" y="6494463"/>
          <p14:tracePt t="34874" x="5610225" y="6497638"/>
          <p14:tracePt t="34875" x="5621338" y="6497638"/>
          <p14:tracePt t="34876" x="5637213" y="6502400"/>
          <p14:tracePt t="34877" x="5649913" y="6502400"/>
          <p14:tracePt t="34878" x="5668963" y="6510338"/>
          <p14:tracePt t="34880" x="5684838" y="6513513"/>
          <p14:tracePt t="34880" x="5697538" y="6518275"/>
          <p14:tracePt t="34881" x="5713413" y="6518275"/>
          <p14:tracePt t="34882" x="5726113" y="6521450"/>
          <p14:tracePt t="34883" x="5734050" y="6521450"/>
          <p14:tracePt t="34884" x="5753100" y="6526213"/>
          <p14:tracePt t="34885" x="5768975" y="6529388"/>
          <p14:tracePt t="34894" x="5878513" y="6557963"/>
          <p14:tracePt t="34895" x="5889625" y="6565900"/>
          <p14:tracePt t="34897" x="5913438" y="6569075"/>
          <p14:tracePt t="34898" x="5921375" y="6569075"/>
          <p14:tracePt t="34899" x="5937250" y="6573838"/>
          <p14:tracePt t="34900" x="5945188" y="6577013"/>
          <p14:tracePt t="34901" x="5957888" y="6577013"/>
          <p14:tracePt t="34902" x="5965825" y="6581775"/>
          <p14:tracePt t="34903" x="5978525" y="6586538"/>
          <p14:tracePt t="34904" x="5989638" y="6589713"/>
          <p14:tracePt t="34905" x="5997575" y="6594475"/>
          <p14:tracePt t="34906" x="6005513" y="6594475"/>
          <p14:tracePt t="34907" x="6013450" y="6602413"/>
          <p14:tracePt t="34908" x="6029325" y="6605588"/>
          <p14:tracePt t="34909" x="6037263" y="6610350"/>
          <p14:tracePt t="34910" x="6054725" y="6613525"/>
          <p14:tracePt t="34911" x="6062663" y="6618288"/>
          <p14:tracePt t="34913" x="6078538" y="6621463"/>
          <p14:tracePt t="34914" x="6086475" y="6626225"/>
          <p14:tracePt t="34915" x="6102350" y="6629400"/>
          <p14:tracePt t="34916" x="6110288" y="6634163"/>
          <p14:tracePt t="34917" x="6118225" y="6642100"/>
          <p14:tracePt t="34918" x="6126163" y="6645275"/>
          <p14:tracePt t="34919" x="6137275" y="6650038"/>
          <p14:tracePt t="34920" x="6149975" y="6653213"/>
          <p14:tracePt t="34921" x="6157913" y="6657975"/>
          <p14:tracePt t="34922" x="6165850" y="6661150"/>
          <p14:tracePt t="34923" x="6178550" y="6665913"/>
          <p14:tracePt t="34924" x="6186488" y="6669088"/>
          <p14:tracePt t="34925" x="6197600" y="6673850"/>
          <p14:tracePt t="34926" x="6210300" y="6686550"/>
          <p14:tracePt t="34927" x="6218238" y="6686550"/>
          <p14:tracePt t="34928" x="6226175" y="6694488"/>
          <p14:tracePt t="34929" x="6234113" y="6697663"/>
          <p14:tracePt t="34931" x="6249988" y="6705600"/>
          <p14:tracePt t="34932" x="6265863" y="6710363"/>
          <p14:tracePt t="34933" x="6273800" y="6718300"/>
          <p14:tracePt t="34934" x="6281738" y="6721475"/>
          <p14:tracePt t="34935" x="6294438" y="6726238"/>
          <p14:tracePt t="34936" x="6302375" y="6729413"/>
          <p14:tracePt t="34937" x="6310313" y="6734175"/>
          <p14:tracePt t="34938" x="6318250" y="6737350"/>
          <p14:tracePt t="34939" x="6326188" y="6742113"/>
          <p14:tracePt t="34940" x="6338888" y="6745288"/>
          <p14:tracePt t="34941" x="6346825" y="6750050"/>
          <p14:tracePt t="34942" x="6354763" y="6753225"/>
          <p14:tracePt t="34944" x="6362700" y="6761163"/>
          <p14:tracePt t="34944" x="6370638" y="6765925"/>
          <p14:tracePt t="34945" x="6378575" y="6770688"/>
          <p14:tracePt t="34947" x="6389688" y="6778625"/>
          <p14:tracePt t="34949" x="6402388" y="6781800"/>
          <p14:tracePt t="34950" x="6410325" y="6789738"/>
          <p14:tracePt t="34951" x="6423025" y="6794500"/>
          <p14:tracePt t="34952" x="6426200" y="6794500"/>
          <p14:tracePt t="34953" x="6434138" y="6797675"/>
          <p14:tracePt t="34954" x="6434138" y="6802438"/>
          <p14:tracePt t="34955" x="6446838" y="6805613"/>
          <p14:tracePt t="34956" x="6446838" y="6810375"/>
          <p14:tracePt t="34957" x="6450013" y="6813550"/>
          <p14:tracePt t="34958" x="6454775" y="6813550"/>
          <p14:tracePt t="34959" x="6462713" y="6818313"/>
          <p14:tracePt t="34960" x="6465888" y="6818313"/>
          <p14:tracePt t="34961" x="6470650" y="6821488"/>
          <p14:tracePt t="34962" x="6473825" y="6821488"/>
          <p14:tracePt t="34964" x="6478588" y="6829425"/>
          <p14:tracePt t="34965" x="6481763" y="6829425"/>
          <p14:tracePt t="34966" x="6486525" y="6834188"/>
          <p14:tracePt t="34967" x="6489700" y="6834188"/>
          <p14:tracePt t="34969" x="6494463" y="6837363"/>
          <p14:tracePt t="34971" x="6494463" y="6842125"/>
          <p14:tracePt t="34974" x="6494463" y="6845300"/>
          <p14:tracePt t="34979" x="6497638" y="6845300"/>
          <p14:tracePt t="34990" x="6497638" y="6850063"/>
          <p14:tracePt t="34997" x="6497638" y="6853238"/>
          <p14:tracePt t="35103" x="6081713" y="6853238"/>
          <p14:tracePt t="35104" x="6073775" y="6850063"/>
          <p14:tracePt t="35106" x="6054725" y="6845300"/>
          <p14:tracePt t="35108" x="6026150" y="6837363"/>
          <p14:tracePt t="35109" x="6013450" y="6837363"/>
          <p14:tracePt t="35110" x="6005513" y="6834188"/>
          <p14:tracePt t="35112" x="5989638" y="6829425"/>
          <p14:tracePt t="35112" x="5978525" y="6821488"/>
          <p14:tracePt t="35113" x="5965825" y="6818313"/>
          <p14:tracePt t="35114" x="5953125" y="6818313"/>
          <p14:tracePt t="35115" x="5945188" y="6813550"/>
          <p14:tracePt t="35116" x="5929313" y="6810375"/>
          <p14:tracePt t="35117" x="5918200" y="6805613"/>
          <p14:tracePt t="35118" x="5897563" y="6802438"/>
          <p14:tracePt t="35119" x="5881688" y="6794500"/>
          <p14:tracePt t="35120" x="5868988" y="6789738"/>
          <p14:tracePt t="35121" x="5853113" y="6786563"/>
          <p14:tracePt t="35122" x="5834063" y="6781800"/>
          <p14:tracePt t="35123" x="5813425" y="6778625"/>
          <p14:tracePt t="35124" x="5802313" y="6770688"/>
          <p14:tracePt t="35125" x="5781675" y="6765925"/>
          <p14:tracePt t="35126" x="5768975" y="6761163"/>
          <p14:tracePt t="35127" x="5749925" y="6757988"/>
          <p14:tracePt t="35128" x="5718175" y="6745288"/>
          <p14:tracePt t="35129" x="5705475" y="6742113"/>
          <p14:tracePt t="35130" x="5684838" y="6737350"/>
          <p14:tracePt t="35131" x="5665788" y="6729413"/>
          <p14:tracePt t="35132" x="5645150" y="6721475"/>
          <p14:tracePt t="35133" x="5618163" y="6713538"/>
          <p14:tracePt t="35134" x="5589588" y="6702425"/>
          <p14:tracePt t="35135" x="5568950" y="6697663"/>
          <p14:tracePt t="35136" x="5549900" y="6694488"/>
          <p14:tracePt t="35137" x="5526088" y="6681788"/>
          <p14:tracePt t="35138" x="5489575" y="6669088"/>
          <p14:tracePt t="35139" x="5468938" y="6665913"/>
          <p14:tracePt t="35140" x="5449888" y="6661150"/>
          <p14:tracePt t="35141" x="5421313" y="6650038"/>
          <p14:tracePt t="35142" x="5400675" y="6645275"/>
          <p14:tracePt t="35144" x="5345113" y="6626225"/>
          <p14:tracePt t="35146" x="5297488" y="6610350"/>
          <p14:tracePt t="35148" x="5241925" y="6597650"/>
          <p14:tracePt t="35149" x="5213350" y="6589713"/>
          <p14:tracePt t="35150" x="5192713" y="6581775"/>
          <p14:tracePt t="35151" x="5173663" y="6577013"/>
          <p14:tracePt t="35152" x="5145088" y="6573838"/>
          <p14:tracePt t="35153" x="5124450" y="6565900"/>
          <p14:tracePt t="35154" x="5089525" y="6553200"/>
          <p14:tracePt t="35155" x="5068888" y="6550025"/>
          <p14:tracePt t="35156" x="5048250" y="6545263"/>
          <p14:tracePt t="35157" x="5029200" y="6542088"/>
          <p14:tracePt t="35158" x="5000625" y="6534150"/>
          <p14:tracePt t="35159" x="4973638" y="6529388"/>
          <p14:tracePt t="35160" x="4956175" y="6526213"/>
          <p14:tracePt t="35161" x="4940300" y="6521450"/>
          <p14:tracePt t="35162" x="4921250" y="6513513"/>
          <p14:tracePt t="35164" x="4872038" y="6505575"/>
          <p14:tracePt t="35165" x="4856163" y="6502400"/>
          <p14:tracePt t="35166" x="4845050" y="6494463"/>
          <p14:tracePt t="35167" x="4824413" y="6489700"/>
          <p14:tracePt t="35168" x="4805363" y="6484938"/>
          <p14:tracePt t="35169" x="4789488" y="6484938"/>
          <p14:tracePt t="35170" x="4768850" y="6481763"/>
          <p14:tracePt t="35171" x="4756150" y="6473825"/>
          <p14:tracePt t="35172" x="4748213" y="6469063"/>
          <p14:tracePt t="35173" x="4732338" y="6465888"/>
          <p14:tracePt t="35174" x="4713288" y="6461125"/>
          <p14:tracePt t="35175" x="4700588" y="6457950"/>
          <p14:tracePt t="35176" x="4684713" y="6457950"/>
          <p14:tracePt t="35177" x="4672013" y="6453188"/>
          <p14:tracePt t="35178" x="4656138" y="6445250"/>
          <p14:tracePt t="35179" x="4645025" y="6442075"/>
          <p14:tracePt t="35180" x="4637088" y="6442075"/>
          <p14:tracePt t="35181" x="4621213" y="6437313"/>
          <p14:tracePt t="35182" x="4613275" y="6434138"/>
          <p14:tracePt t="35183" x="4600575" y="6434138"/>
          <p14:tracePt t="35184" x="4584700" y="6429375"/>
          <p14:tracePt t="35185" x="4576763" y="6426200"/>
          <p14:tracePt t="35186" x="4564063" y="6421438"/>
          <p14:tracePt t="35187" x="4552950" y="6418263"/>
          <p14:tracePt t="35188" x="4545013" y="6418263"/>
          <p14:tracePt t="35189" x="4532313" y="6410325"/>
          <p14:tracePt t="35190" x="4516438" y="6405563"/>
          <p14:tracePt t="35191" x="4508500" y="6402388"/>
          <p14:tracePt t="35192" x="4500563" y="6397625"/>
          <p14:tracePt t="35194" x="4476750" y="6392863"/>
          <p14:tracePt t="35195" x="4468813" y="6389688"/>
          <p14:tracePt t="35196" x="4456113" y="6384925"/>
          <p14:tracePt t="35198" x="4437063" y="6376988"/>
          <p14:tracePt t="35199" x="4424363" y="6373813"/>
          <p14:tracePt t="35200" x="4416425" y="6369050"/>
          <p14:tracePt t="35201" x="4403725" y="6365875"/>
          <p14:tracePt t="35202" x="4395788" y="6361113"/>
          <p14:tracePt t="35203" x="4387850" y="6361113"/>
          <p14:tracePt t="35204" x="4376738" y="6357938"/>
          <p14:tracePt t="35205" x="4368800" y="6353175"/>
          <p14:tracePt t="35206" x="4352925" y="6350000"/>
          <p14:tracePt t="35207" x="4344988" y="6342063"/>
          <p14:tracePt t="35208" x="4337050" y="6337300"/>
          <p14:tracePt t="35209" x="4319588" y="6334125"/>
          <p14:tracePt t="35210" x="4311650" y="6329363"/>
          <p14:tracePt t="35211" x="4303713" y="6326188"/>
          <p14:tracePt t="35212" x="4295775" y="6321425"/>
          <p14:tracePt t="35214" x="4271963" y="6313488"/>
          <p14:tracePt t="35215" x="4264025" y="6310313"/>
          <p14:tracePt t="35216" x="4256088" y="6300788"/>
          <p14:tracePt t="35217" x="4243388" y="6297613"/>
          <p14:tracePt t="35218" x="4235450" y="6292850"/>
          <p14:tracePt t="35219" x="4227513" y="6289675"/>
          <p14:tracePt t="35220" x="4211638" y="6281738"/>
          <p14:tracePt t="35221" x="4208463" y="6276975"/>
          <p14:tracePt t="35222" x="4200525" y="6273800"/>
          <p14:tracePt t="35223" x="4192588" y="6269038"/>
          <p14:tracePt t="35224" x="4184650" y="6265863"/>
          <p14:tracePt t="35225" x="4176713" y="6261100"/>
          <p14:tracePt t="35226" x="4168775" y="6257925"/>
          <p14:tracePt t="35227" x="4164013" y="6253163"/>
          <p14:tracePt t="35228" x="4156075" y="6249988"/>
          <p14:tracePt t="35229" x="4151313" y="6245225"/>
          <p14:tracePt t="35230" x="4143375" y="6242050"/>
          <p14:tracePt t="35231" x="4135438" y="6237288"/>
          <p14:tracePt t="35232" x="4132263" y="6234113"/>
          <p14:tracePt t="35233" x="4127500" y="6229350"/>
          <p14:tracePt t="35234" x="4119563" y="6226175"/>
          <p14:tracePt t="35235" x="4116388" y="6221413"/>
          <p14:tracePt t="35236" x="4111625" y="6216650"/>
          <p14:tracePt t="35237" x="4103688" y="6216650"/>
          <p14:tracePt t="35238" x="4100513" y="6213475"/>
          <p14:tracePt t="35239" x="4095750" y="6208713"/>
          <p14:tracePt t="35240" x="4087813" y="6205538"/>
          <p14:tracePt t="35241" x="4084638" y="6200775"/>
          <p14:tracePt t="35242" x="4079875" y="6200775"/>
          <p14:tracePt t="35243" x="4079875" y="6197600"/>
          <p14:tracePt t="35244" x="4076700" y="6192838"/>
          <p14:tracePt t="35245" x="4071938" y="6192838"/>
          <p14:tracePt t="35246" x="4071938" y="6189663"/>
          <p14:tracePt t="35247" x="4068763" y="6189663"/>
          <p14:tracePt t="35249" x="4064000" y="6184900"/>
          <p14:tracePt t="35249" x="4059238" y="6184900"/>
          <p14:tracePt t="35250" x="4056063" y="6181725"/>
          <p14:tracePt t="35251" x="4051300" y="6176963"/>
          <p14:tracePt t="35252" x="4048125" y="6176963"/>
          <p14:tracePt t="35253" x="4043363" y="6173788"/>
          <p14:tracePt t="35254" x="4043363" y="6169025"/>
          <p14:tracePt t="35255" x="4040188" y="6169025"/>
          <p14:tracePt t="35256" x="4040188" y="6165850"/>
          <p14:tracePt t="35257" x="4035425" y="6161088"/>
          <p14:tracePt t="35259" x="4032250" y="6157913"/>
          <p14:tracePt t="35260" x="4027488" y="6157913"/>
          <p14:tracePt t="35261" x="4027488" y="6153150"/>
          <p14:tracePt t="35262" x="4024313" y="6153150"/>
          <p14:tracePt t="35263" x="4024313" y="6149975"/>
          <p14:tracePt t="35264" x="4019550" y="6149975"/>
          <p14:tracePt t="35266" x="4016375" y="6149975"/>
          <p14:tracePt t="35267" x="4011613" y="6145213"/>
          <p14:tracePt t="35269" x="4008438" y="6142038"/>
          <p14:tracePt t="35271" x="4003675" y="6142038"/>
          <p14:tracePt t="35272" x="4003675" y="6137275"/>
          <p14:tracePt t="35273" x="4000500" y="6137275"/>
          <p14:tracePt t="35274" x="4000500" y="6134100"/>
          <p14:tracePt t="35275" x="4000500" y="6129338"/>
          <p14:tracePt t="35277" x="3995738" y="6124575"/>
          <p14:tracePt t="35278" x="3992563" y="6124575"/>
          <p14:tracePt t="35280" x="3987800" y="6121400"/>
          <p14:tracePt t="35281" x="3984625" y="6116638"/>
          <p14:tracePt t="35283" x="3979863" y="6116638"/>
          <p14:tracePt t="35284" x="3979863" y="6113463"/>
          <p14:tracePt t="35286" x="3976688" y="6108700"/>
          <p14:tracePt t="35288" x="3971925" y="6108700"/>
          <p14:tracePt t="35290" x="3967163" y="6105525"/>
          <p14:tracePt t="35291" x="3963988" y="6105525"/>
          <p14:tracePt t="35292" x="3963988" y="6100763"/>
          <p14:tracePt t="35294" x="3959225" y="6100763"/>
          <p14:tracePt t="35295" x="3959225" y="6097588"/>
          <p14:tracePt t="35298" x="3959225" y="6092825"/>
          <p14:tracePt t="35301" x="3956050" y="6089650"/>
          <p14:tracePt t="35304" x="3951288" y="6089650"/>
          <p14:tracePt t="35305" x="3951288" y="6084888"/>
          <p14:tracePt t="35310" x="3948113" y="6081713"/>
          <p14:tracePt t="35315" x="3948113" y="6076950"/>
          <p14:tracePt t="35327" x="3948113" y="6073775"/>
          <p14:tracePt t="35332" x="3943350" y="6073775"/>
          <p14:tracePt t="35334" x="3943350" y="6069013"/>
          <p14:tracePt t="35345" x="3943350" y="6065838"/>
          <p14:tracePt t="35347" x="3943350" y="6061075"/>
          <p14:tracePt t="35350" x="3943350" y="6057900"/>
          <p14:tracePt t="35353" x="3943350" y="6053138"/>
          <p14:tracePt t="35355" x="3943350" y="6049963"/>
          <p14:tracePt t="35357" x="3943350" y="6045200"/>
          <p14:tracePt t="35359" x="3943350" y="6042025"/>
          <p14:tracePt t="35361" x="3943350" y="6037263"/>
          <p14:tracePt t="35362" x="3940175" y="6032500"/>
          <p14:tracePt t="35364" x="3940175" y="6029325"/>
          <p14:tracePt t="35366" x="3940175" y="6024563"/>
          <p14:tracePt t="35369" x="3935413" y="6016625"/>
          <p14:tracePt t="35370" x="3935413" y="6013450"/>
          <p14:tracePt t="35371" x="3935413" y="6008688"/>
          <p14:tracePt t="35372" x="3932238" y="6008688"/>
          <p14:tracePt t="35373" x="3932238" y="6005513"/>
          <p14:tracePt t="35374" x="3932238" y="6000750"/>
          <p14:tracePt t="35375" x="3932238" y="5997575"/>
          <p14:tracePt t="35376" x="3927475" y="5992813"/>
          <p14:tracePt t="35377" x="3927475" y="5989638"/>
          <p14:tracePt t="35379" x="3927475" y="5984875"/>
          <p14:tracePt t="35380" x="3924300" y="5981700"/>
          <p14:tracePt t="35381" x="3924300" y="5976938"/>
          <p14:tracePt t="35382" x="3924300" y="5973763"/>
          <p14:tracePt t="35383" x="3919538" y="5969000"/>
          <p14:tracePt t="35384" x="3919538" y="5965825"/>
          <p14:tracePt t="35385" x="3919538" y="5961063"/>
          <p14:tracePt t="35386" x="3919538" y="5957888"/>
          <p14:tracePt t="35387" x="3916363" y="5953125"/>
          <p14:tracePt t="35388" x="3916363" y="5949950"/>
          <p14:tracePt t="35389" x="3911600" y="5949950"/>
          <p14:tracePt t="35390" x="3908425" y="5945188"/>
          <p14:tracePt t="35391" x="3908425" y="5940425"/>
          <p14:tracePt t="35392" x="3903663" y="5937250"/>
          <p14:tracePt t="35394" x="3900488" y="5929313"/>
          <p14:tracePt t="35395" x="3900488" y="5924550"/>
          <p14:tracePt t="35396" x="3895725" y="5921375"/>
          <p14:tracePt t="35397" x="3892550" y="5913438"/>
          <p14:tracePt t="35398" x="3887788" y="5908675"/>
          <p14:tracePt t="35399" x="3887788" y="5905500"/>
          <p14:tracePt t="35400" x="3884613" y="5900738"/>
          <p14:tracePt t="35401" x="3879850" y="5897563"/>
          <p14:tracePt t="35402" x="3875088" y="5897563"/>
          <p14:tracePt t="35403" x="3871913" y="5892800"/>
          <p14:tracePt t="35404" x="3871913" y="5889625"/>
          <p14:tracePt t="35405" x="3871913" y="5884863"/>
          <p14:tracePt t="35406" x="3867150" y="5881688"/>
          <p14:tracePt t="35407" x="3863975" y="5876925"/>
          <p14:tracePt t="35408" x="3859213" y="5873750"/>
          <p14:tracePt t="35409" x="3856038" y="5868988"/>
          <p14:tracePt t="35410" x="3851275" y="5865813"/>
          <p14:tracePt t="35411" x="3848100" y="5861050"/>
          <p14:tracePt t="35412" x="3843338" y="5857875"/>
          <p14:tracePt t="35413" x="3840163" y="5857875"/>
          <p14:tracePt t="35414" x="3835400" y="5853113"/>
          <p14:tracePt t="35415" x="3835400" y="5848350"/>
          <p14:tracePt t="35417" x="3824288" y="5840413"/>
          <p14:tracePt t="35418" x="3824288" y="5837238"/>
          <p14:tracePt t="35419" x="3819525" y="5832475"/>
          <p14:tracePt t="35420" x="3816350" y="5832475"/>
          <p14:tracePt t="35421" x="3811588" y="5829300"/>
          <p14:tracePt t="35422" x="3808413" y="5821363"/>
          <p14:tracePt t="35423" x="3803650" y="5821363"/>
          <p14:tracePt t="35424" x="3800475" y="5816600"/>
          <p14:tracePt t="35425" x="3795713" y="5813425"/>
          <p14:tracePt t="35426" x="3790950" y="5808663"/>
          <p14:tracePt t="35427" x="3787775" y="5808663"/>
          <p14:tracePt t="35428" x="3779838" y="5805488"/>
          <p14:tracePt t="35429" x="3775075" y="5800725"/>
          <p14:tracePt t="35430" x="3771900" y="5800725"/>
          <p14:tracePt t="35431" x="3771900" y="5797550"/>
          <p14:tracePt t="35432" x="3767138" y="5797550"/>
          <p14:tracePt t="35433" x="3763963" y="5792788"/>
          <p14:tracePt t="35434" x="3759200" y="5789613"/>
          <p14:tracePt t="35435" x="3756025" y="5789613"/>
          <p14:tracePt t="35436" x="3751263" y="5784850"/>
          <p14:tracePt t="35437" x="3748088" y="5781675"/>
          <p14:tracePt t="35438" x="3743325" y="5776913"/>
          <p14:tracePt t="35439" x="3740150" y="5776913"/>
          <p14:tracePt t="35440" x="3735388" y="5773738"/>
          <p14:tracePt t="35441" x="3732213" y="5768975"/>
          <p14:tracePt t="35442" x="3732213" y="5765800"/>
          <p14:tracePt t="35443" x="3727450" y="5765800"/>
          <p14:tracePt t="35444" x="3719513" y="5761038"/>
          <p14:tracePt t="35445" x="3716338" y="5756275"/>
          <p14:tracePt t="35446" x="3711575" y="5756275"/>
          <p14:tracePt t="35447" x="3708400" y="5756275"/>
          <p14:tracePt t="35448" x="3698875" y="5756275"/>
          <p14:tracePt t="35449" x="3695700" y="5753100"/>
          <p14:tracePt t="35450" x="3690938" y="5748338"/>
          <p14:tracePt t="35451" x="3687763" y="5745163"/>
          <p14:tracePt t="35452" x="3683000" y="5745163"/>
          <p14:tracePt t="35453" x="3679825" y="5740400"/>
          <p14:tracePt t="35454" x="3671888" y="5737225"/>
          <p14:tracePt t="35456" x="3667125" y="5732463"/>
          <p14:tracePt t="35457" x="3659188" y="5729288"/>
          <p14:tracePt t="35458" x="3648075" y="5724525"/>
          <p14:tracePt t="35459" x="3643313" y="5721350"/>
          <p14:tracePt t="35460" x="3640138" y="5721350"/>
          <p14:tracePt t="35461" x="3635375" y="5716588"/>
          <p14:tracePt t="35462" x="3632200" y="5713413"/>
          <p14:tracePt t="35463" x="3624263" y="5713413"/>
          <p14:tracePt t="35464" x="3616325" y="5708650"/>
          <p14:tracePt t="35465" x="3611563" y="5705475"/>
          <p14:tracePt t="35466" x="3603625" y="5700713"/>
          <p14:tracePt t="35467" x="3598863" y="5700713"/>
          <p14:tracePt t="35468" x="3590925" y="5697538"/>
          <p14:tracePt t="35469" x="3587750" y="5692775"/>
          <p14:tracePt t="35470" x="3579813" y="5692775"/>
          <p14:tracePt t="35471" x="3575050" y="5689600"/>
          <p14:tracePt t="35472" x="3567113" y="5684838"/>
          <p14:tracePt t="35473" x="3563938" y="5684838"/>
          <p14:tracePt t="35474" x="3556000" y="5681663"/>
          <p14:tracePt t="35475" x="3548063" y="5676900"/>
          <p14:tracePt t="35476" x="3543300" y="5676900"/>
          <p14:tracePt t="35477" x="3535363" y="5673725"/>
          <p14:tracePt t="35478" x="3527425" y="5668963"/>
          <p14:tracePt t="35480" x="3524250" y="5668963"/>
          <p14:tracePt t="35480" x="3514725" y="5664200"/>
          <p14:tracePt t="35481" x="3511550" y="5664200"/>
          <p14:tracePt t="35482" x="3506788" y="5661025"/>
          <p14:tracePt t="35483" x="3498850" y="5661025"/>
          <p14:tracePt t="35484" x="3490913" y="5656263"/>
          <p14:tracePt t="35485" x="3487738" y="5653088"/>
          <p14:tracePt t="35486" x="3479800" y="5653088"/>
          <p14:tracePt t="35487" x="3475038" y="5648325"/>
          <p14:tracePt t="35488" x="3471863" y="5648325"/>
          <p14:tracePt t="35489" x="3463925" y="5645150"/>
          <p14:tracePt t="35490" x="3459163" y="5645150"/>
          <p14:tracePt t="35491" x="3455988" y="5645150"/>
          <p14:tracePt t="35492" x="3455988" y="5640388"/>
          <p14:tracePt t="35494" x="3443288" y="5637213"/>
          <p14:tracePt t="35495" x="3440113" y="5632450"/>
          <p14:tracePt t="35496" x="3435350" y="5632450"/>
          <p14:tracePt t="35497" x="3430588" y="5632450"/>
          <p14:tracePt t="35498" x="3427413" y="5632450"/>
          <p14:tracePt t="35499" x="3422650" y="5632450"/>
          <p14:tracePt t="35500" x="3419475" y="5632450"/>
          <p14:tracePt t="35501" x="3414713" y="5629275"/>
          <p14:tracePt t="35502" x="3411538" y="5629275"/>
          <p14:tracePt t="35503" x="3406775" y="5629275"/>
          <p14:tracePt t="35504" x="3406775" y="5624513"/>
          <p14:tracePt t="35505" x="3403600" y="5624513"/>
          <p14:tracePt t="35506" x="3398838" y="5624513"/>
          <p14:tracePt t="35507" x="3395663" y="5621338"/>
          <p14:tracePt t="35508" x="3390900" y="5621338"/>
          <p14:tracePt t="35509" x="3387725" y="5621338"/>
          <p14:tracePt t="35510" x="3387725" y="5616575"/>
          <p14:tracePt t="35511" x="3382963" y="5616575"/>
          <p14:tracePt t="35512" x="3379788" y="5616575"/>
          <p14:tracePt t="35513" x="3375025" y="5616575"/>
          <p14:tracePt t="35514" x="3371850" y="5613400"/>
          <p14:tracePt t="35516" x="3367088" y="5613400"/>
          <p14:tracePt t="35518" x="3363913" y="5613400"/>
          <p14:tracePt t="35519" x="3363913" y="5608638"/>
          <p14:tracePt t="35520" x="3359150" y="5608638"/>
          <p14:tracePt t="35522" x="3355975" y="5608638"/>
          <p14:tracePt t="35524" x="3351213" y="5605463"/>
          <p14:tracePt t="35526" x="3348038" y="5605463"/>
          <p14:tracePt t="35528" x="3343275" y="5605463"/>
          <p14:tracePt t="35530" x="3338513" y="5600700"/>
          <p14:tracePt t="35533" x="3335338" y="5600700"/>
          <p14:tracePt t="35535" x="3330575" y="5597525"/>
          <p14:tracePt t="35538" x="3327400" y="5597525"/>
          <p14:tracePt t="35544" x="3322638" y="5592763"/>
          <p14:tracePt t="35550" x="3319463" y="5592763"/>
          <p14:tracePt t="35557" x="3314700" y="5592763"/>
          <p14:tracePt t="35581" x="3311525" y="5592763"/>
          <p14:tracePt t="35586" x="3306763" y="5592763"/>
          <p14:tracePt t="35590" x="3303588" y="5592763"/>
          <p14:tracePt t="35595" x="3298825" y="5592763"/>
          <p14:tracePt t="35597" x="3295650" y="5592763"/>
          <p14:tracePt t="35599" x="3290888" y="5592763"/>
          <p14:tracePt t="35601" x="3287713" y="5592763"/>
          <p14:tracePt t="35607" x="3282950" y="5592763"/>
          <p14:tracePt t="35610" x="3279775" y="5592763"/>
          <p14:tracePt t="35612" x="3275013" y="5592763"/>
          <p14:tracePt t="35613" x="3275013" y="5597525"/>
          <p14:tracePt t="35614" x="3271838" y="5597525"/>
          <p14:tracePt t="35616" x="3267075" y="5597525"/>
          <p14:tracePt t="35618" x="3263900" y="5597525"/>
          <p14:tracePt t="35621" x="3259138" y="5597525"/>
          <p14:tracePt t="35624" x="3255963" y="5600700"/>
          <p14:tracePt t="35629" x="3251200" y="5600700"/>
          <p14:tracePt t="35638" x="3251200" y="5605463"/>
          <p14:tracePt t="35652" x="3246438" y="5605463"/>
          <p14:tracePt t="35747" x="3243263" y="5605463"/>
          <p14:tracePt t="35753" x="3238500" y="5605463"/>
          <p14:tracePt t="35795" x="3235325" y="5605463"/>
          <p14:tracePt t="35804" x="3230563" y="5605463"/>
          <p14:tracePt t="35809" x="3227388" y="5605463"/>
          <p14:tracePt t="35814" x="3222625" y="5605463"/>
          <p14:tracePt t="35894" x="3219450" y="5605463"/>
          <p14:tracePt t="35901" x="3214688" y="5605463"/>
          <p14:tracePt t="35904" x="3211513" y="5605463"/>
          <p14:tracePt t="35906" x="3206750" y="5605463"/>
          <p14:tracePt t="35909" x="3206750" y="5600700"/>
          <p14:tracePt t="35910" x="3203575" y="5600700"/>
          <p14:tracePt t="35912" x="3198813" y="5600700"/>
          <p14:tracePt t="35914" x="3195638" y="5600700"/>
          <p14:tracePt t="35916" x="3190875" y="5600700"/>
          <p14:tracePt t="35918" x="3187700" y="5600700"/>
          <p14:tracePt t="35920" x="3182938" y="5600700"/>
          <p14:tracePt t="35921" x="3182938" y="5597525"/>
          <p14:tracePt t="35922" x="3179763" y="5597525"/>
          <p14:tracePt t="35924" x="3175000" y="5597525"/>
          <p14:tracePt t="35926" x="3171825" y="5597525"/>
          <p14:tracePt t="35927" x="3167063" y="5597525"/>
          <p14:tracePt t="35929" x="3163888" y="5597525"/>
          <p14:tracePt t="35933" x="3159125" y="5597525"/>
          <p14:tracePt t="35936" x="3154363" y="5597525"/>
          <p14:tracePt t="35938" x="3151188" y="5597525"/>
          <p14:tracePt t="35941" x="3146425" y="5597525"/>
          <p14:tracePt t="35944" x="3143250" y="5597525"/>
          <p14:tracePt t="35946" x="3138488" y="5597525"/>
          <p14:tracePt t="35947" x="3138488" y="5592763"/>
          <p14:tracePt t="35949" x="3135313" y="5592763"/>
          <p14:tracePt t="35952" x="3130550" y="5592763"/>
          <p14:tracePt t="35954" x="3127375" y="5592763"/>
          <p14:tracePt t="35957" x="3122613" y="5592763"/>
          <p14:tracePt t="35964" x="3119438" y="5592763"/>
          <p14:tracePt t="35968" x="3114675" y="5592763"/>
          <p14:tracePt t="35972" x="3111500" y="5592763"/>
          <p14:tracePt t="36517" x="3111500" y="5597525"/>
          <p14:tracePt t="36518" x="3114675" y="5597525"/>
          <p14:tracePt t="36522" x="3119438" y="5605463"/>
          <p14:tracePt t="36524" x="3127375" y="5605463"/>
          <p14:tracePt t="36528" x="3138488" y="5608638"/>
          <p14:tracePt t="36532" x="3163888" y="5621338"/>
          <p14:tracePt t="36534" x="3167063" y="5624513"/>
          <p14:tracePt t="36537" x="3179763" y="5629275"/>
          <p14:tracePt t="36540" x="3195638" y="5632450"/>
          <p14:tracePt t="36542" x="3203575" y="5637213"/>
          <p14:tracePt t="36543" x="3214688" y="5637213"/>
          <p14:tracePt t="36546" x="3222625" y="5640388"/>
          <p14:tracePt t="36547" x="3230563" y="5645150"/>
          <p14:tracePt t="36550" x="3230563" y="5648325"/>
          <p14:tracePt t="36552" x="3235325" y="5653088"/>
          <p14:tracePt t="36556" x="3238500" y="5653088"/>
          <p14:tracePt t="36873" x="3238500" y="5656263"/>
          <p14:tracePt t="37333" x="3238500" y="5653088"/>
          <p14:tracePt t="37336" x="3243263" y="5653088"/>
          <p14:tracePt t="37339" x="3246438" y="5653088"/>
          <p14:tracePt t="37340" x="3246438" y="5648325"/>
          <p14:tracePt t="37341" x="3251200" y="5648325"/>
          <p14:tracePt t="37343" x="3255963" y="5648325"/>
          <p14:tracePt t="37345" x="3259138" y="5645150"/>
          <p14:tracePt t="37345" x="3263900" y="5645150"/>
          <p14:tracePt t="37347" x="3267075" y="5645150"/>
          <p14:tracePt t="37348" x="3271838" y="5640388"/>
          <p14:tracePt t="37350" x="3275013" y="5640388"/>
          <p14:tracePt t="37351" x="3275013" y="5637213"/>
          <p14:tracePt t="37353" x="3282950" y="5637213"/>
          <p14:tracePt t="37354" x="3290888" y="5632450"/>
          <p14:tracePt t="37355" x="3295650" y="5632450"/>
          <p14:tracePt t="37357" x="3298825" y="5632450"/>
          <p14:tracePt t="37358" x="3303588" y="5632450"/>
          <p14:tracePt t="37359" x="3306763" y="5632450"/>
          <p14:tracePt t="37361" x="3314700" y="5632450"/>
          <p14:tracePt t="37362" x="3319463" y="5632450"/>
          <p14:tracePt t="37365" x="3322638" y="5632450"/>
          <p14:tracePt t="37366" x="3327400" y="5629275"/>
          <p14:tracePt t="37370" x="3335338" y="5629275"/>
          <p14:tracePt t="37371" x="3338513" y="5629275"/>
          <p14:tracePt t="37372" x="3343275" y="5629275"/>
          <p14:tracePt t="37373" x="3348038" y="5629275"/>
          <p14:tracePt t="37375" x="3351213" y="5629275"/>
          <p14:tracePt t="37376" x="3355975" y="5629275"/>
          <p14:tracePt t="37378" x="3359150" y="5629275"/>
          <p14:tracePt t="37380" x="3363913" y="5624513"/>
          <p14:tracePt t="37382" x="3367088" y="5624513"/>
          <p14:tracePt t="37383" x="3371850" y="5624513"/>
          <p14:tracePt t="37386" x="3379788" y="5621338"/>
          <p14:tracePt t="37388" x="3382963" y="5621338"/>
          <p14:tracePt t="37389" x="3387725" y="5621338"/>
          <p14:tracePt t="37390" x="3390900" y="5621338"/>
          <p14:tracePt t="37391" x="3395663" y="5621338"/>
          <p14:tracePt t="37393" x="3398838" y="5621338"/>
          <p14:tracePt t="37395" x="3406775" y="5621338"/>
          <p14:tracePt t="37397" x="3411538" y="5621338"/>
          <p14:tracePt t="37398" x="3414713" y="5621338"/>
          <p14:tracePt t="37399" x="3419475" y="5616575"/>
          <p14:tracePt t="37400" x="3422650" y="5616575"/>
          <p14:tracePt t="37401" x="3427413" y="5616575"/>
          <p14:tracePt t="37402" x="3430588" y="5616575"/>
          <p14:tracePt t="37403" x="3435350" y="5616575"/>
          <p14:tracePt t="37404" x="3440113" y="5616575"/>
          <p14:tracePt t="37406" x="3443288" y="5616575"/>
          <p14:tracePt t="37407" x="3448050" y="5616575"/>
          <p14:tracePt t="37411" x="3455988" y="5616575"/>
          <p14:tracePt t="37413" x="3459163" y="5616575"/>
          <p14:tracePt t="37415" x="3463925" y="5616575"/>
          <p14:tracePt t="37417" x="3467100" y="5616575"/>
          <p14:tracePt t="37418" x="3471863" y="5616575"/>
          <p14:tracePt t="37419" x="3475038" y="5616575"/>
          <p14:tracePt t="37420" x="3479800" y="5616575"/>
          <p14:tracePt t="37422" x="3482975" y="5616575"/>
          <p14:tracePt t="37424" x="3487738" y="5616575"/>
          <p14:tracePt t="37428" x="3490913" y="5616575"/>
          <p14:tracePt t="37429" x="3495675" y="5616575"/>
          <p14:tracePt t="37430" x="3498850" y="5616575"/>
          <p14:tracePt t="37432" x="3503613" y="5616575"/>
          <p14:tracePt t="37434" x="3506788" y="5616575"/>
          <p14:tracePt t="37435" x="3511550" y="5616575"/>
          <p14:tracePt t="37436" x="3514725" y="5616575"/>
          <p14:tracePt t="37438" x="3519488" y="5616575"/>
          <p14:tracePt t="37440" x="3524250" y="5616575"/>
          <p14:tracePt t="37445" x="3527425" y="5616575"/>
          <p14:tracePt t="37448" x="3532188" y="5616575"/>
          <p14:tracePt t="37451" x="3535363" y="5616575"/>
          <p14:tracePt t="37452" x="3540125" y="5616575"/>
          <p14:tracePt t="37455" x="3543300" y="5616575"/>
          <p14:tracePt t="37457" x="3548063" y="5616575"/>
          <p14:tracePt t="37459" x="3551238" y="5621338"/>
          <p14:tracePt t="37461" x="3556000" y="5621338"/>
          <p14:tracePt t="37462" x="3559175" y="5621338"/>
          <p14:tracePt t="37465" x="3563938" y="5621338"/>
          <p14:tracePt t="37466" x="3567113" y="5624513"/>
          <p14:tracePt t="37468" x="3571875" y="5624513"/>
          <p14:tracePt t="37470" x="3579813" y="5624513"/>
          <p14:tracePt t="37472" x="3582988" y="5624513"/>
          <p14:tracePt t="37473" x="3587750" y="5624513"/>
          <p14:tracePt t="37474" x="3590925" y="5624513"/>
          <p14:tracePt t="37475" x="3595688" y="5624513"/>
          <p14:tracePt t="37476" x="3598863" y="5629275"/>
          <p14:tracePt t="37478" x="3603625" y="5629275"/>
          <p14:tracePt t="37479" x="3611563" y="5629275"/>
          <p14:tracePt t="37481" x="3619500" y="5629275"/>
          <p14:tracePt t="37484" x="3624263" y="5629275"/>
          <p14:tracePt t="37485" x="3627438" y="5629275"/>
          <p14:tracePt t="37486" x="3635375" y="5629275"/>
          <p14:tracePt t="37487" x="3640138" y="5629275"/>
          <p14:tracePt t="37488" x="3643313" y="5629275"/>
          <p14:tracePt t="37489" x="3648075" y="5629275"/>
          <p14:tracePt t="37490" x="3651250" y="5629275"/>
          <p14:tracePt t="37491" x="3656013" y="5629275"/>
          <p14:tracePt t="37492" x="3659188" y="5629275"/>
          <p14:tracePt t="37493" x="3663950" y="5629275"/>
          <p14:tracePt t="37495" x="3667125" y="5629275"/>
          <p14:tracePt t="37496" x="3671888" y="5629275"/>
          <p14:tracePt t="37497" x="3675063" y="5629275"/>
          <p14:tracePt t="37498" x="3679825" y="5629275"/>
          <p14:tracePt t="37499" x="3687763" y="5629275"/>
          <p14:tracePt t="37501" x="3690938" y="5629275"/>
          <p14:tracePt t="37502" x="3698875" y="5629275"/>
          <p14:tracePt t="37503" x="3703638" y="5629275"/>
          <p14:tracePt t="37504" x="3708400" y="5629275"/>
          <p14:tracePt t="37505" x="3711575" y="5629275"/>
          <p14:tracePt t="37506" x="3716338" y="5629275"/>
          <p14:tracePt t="37508" x="3719513" y="5629275"/>
          <p14:tracePt t="37509" x="3724275" y="5629275"/>
          <p14:tracePt t="37511" x="3732213" y="5629275"/>
          <p14:tracePt t="37512" x="3735388" y="5629275"/>
          <p14:tracePt t="37513" x="3743325" y="5629275"/>
          <p14:tracePt t="37514" x="3748088" y="5629275"/>
          <p14:tracePt t="37515" x="3751263" y="5629275"/>
          <p14:tracePt t="37516" x="3759200" y="5629275"/>
          <p14:tracePt t="37517" x="3763963" y="5629275"/>
          <p14:tracePt t="37519" x="3767138" y="5629275"/>
          <p14:tracePt t="37520" x="3771900" y="5629275"/>
          <p14:tracePt t="37521" x="3779838" y="5629275"/>
          <p14:tracePt t="37522" x="3783013" y="5629275"/>
          <p14:tracePt t="37523" x="3787775" y="5629275"/>
          <p14:tracePt t="37524" x="3795713" y="5629275"/>
          <p14:tracePt t="37525" x="3800475" y="5629275"/>
          <p14:tracePt t="37526" x="3803650" y="5629275"/>
          <p14:tracePt t="37527" x="3811588" y="5629275"/>
          <p14:tracePt t="37528" x="3816350" y="5629275"/>
          <p14:tracePt t="37529" x="3819525" y="5629275"/>
          <p14:tracePt t="37531" x="3827463" y="5632450"/>
          <p14:tracePt t="37532" x="3832225" y="5632450"/>
          <p14:tracePt t="37533" x="3835400" y="5632450"/>
          <p14:tracePt t="37534" x="3840163" y="5632450"/>
          <p14:tracePt t="37535" x="3843338" y="5632450"/>
          <p14:tracePt t="37536" x="3848100" y="5632450"/>
          <p14:tracePt t="37537" x="3851275" y="5632450"/>
          <p14:tracePt t="37538" x="3856038" y="5632450"/>
          <p14:tracePt t="37539" x="3859213" y="5632450"/>
          <p14:tracePt t="37540" x="3863975" y="5632450"/>
          <p14:tracePt t="37541" x="3867150" y="5632450"/>
          <p14:tracePt t="37542" x="3871913" y="5637213"/>
          <p14:tracePt t="37544" x="3875088" y="5637213"/>
          <p14:tracePt t="37546" x="3879850" y="5637213"/>
          <p14:tracePt t="37547" x="3884613" y="5637213"/>
          <p14:tracePt t="37548" x="3887788" y="5637213"/>
          <p14:tracePt t="37550" x="3892550" y="5637213"/>
          <p14:tracePt t="37552" x="3895725" y="5637213"/>
          <p14:tracePt t="37554" x="3900488" y="5637213"/>
          <p14:tracePt t="37556" x="3903663" y="5637213"/>
          <p14:tracePt t="37557" x="3908425" y="5637213"/>
          <p14:tracePt t="37559" x="3911600" y="5637213"/>
          <p14:tracePt t="37564" x="3916363" y="5637213"/>
          <p14:tracePt t="37566" x="3919538" y="5637213"/>
          <p14:tracePt t="37567" x="3924300" y="5637213"/>
          <p14:tracePt t="37568" x="3927475" y="5637213"/>
          <p14:tracePt t="37570" x="3932238" y="5637213"/>
          <p14:tracePt t="37571" x="3935413" y="5637213"/>
          <p14:tracePt t="37573" x="3940175" y="5637213"/>
          <p14:tracePt t="37575" x="3943350" y="5637213"/>
          <p14:tracePt t="37577" x="3948113" y="5637213"/>
          <p14:tracePt t="37579" x="3951288" y="5637213"/>
          <p14:tracePt t="37584" x="3956050" y="5637213"/>
          <p14:tracePt t="37588" x="3959225" y="5637213"/>
          <p14:tracePt t="37590" x="3963988" y="5637213"/>
          <p14:tracePt t="37593" x="3967163" y="5637213"/>
          <p14:tracePt t="37598" x="3971925" y="5637213"/>
          <p14:tracePt t="37601" x="3976688" y="5637213"/>
          <p14:tracePt t="37605" x="3979863" y="5637213"/>
          <p14:tracePt t="37607" x="3984625" y="5637213"/>
          <p14:tracePt t="37609" x="3987800" y="5637213"/>
          <p14:tracePt t="37613" x="3992563" y="5637213"/>
          <p14:tracePt t="37616" x="3995738" y="5637213"/>
          <p14:tracePt t="37618" x="4000500" y="5637213"/>
          <p14:tracePt t="37620" x="4003675" y="5637213"/>
          <p14:tracePt t="37623" x="4008438" y="5637213"/>
          <p14:tracePt t="37625" x="4011613" y="5637213"/>
          <p14:tracePt t="37626" x="4016375" y="5637213"/>
          <p14:tracePt t="37629" x="4019550" y="5637213"/>
          <p14:tracePt t="37632" x="4024313" y="5637213"/>
          <p14:tracePt t="37635" x="4027488" y="5637213"/>
          <p14:tracePt t="37637" x="4032250" y="5637213"/>
          <p14:tracePt t="37641" x="4035425" y="5637213"/>
          <p14:tracePt t="37645" x="4040188" y="5637213"/>
          <p14:tracePt t="37646" x="4043363" y="5637213"/>
          <p14:tracePt t="37648" x="4048125" y="5637213"/>
          <p14:tracePt t="37650" x="4051300" y="5637213"/>
          <p14:tracePt t="37652" x="4056063" y="5637213"/>
          <p14:tracePt t="37653" x="4059238" y="5637213"/>
          <p14:tracePt t="37654" x="4064000" y="5637213"/>
          <p14:tracePt t="37657" x="4068763" y="5637213"/>
          <p14:tracePt t="37658" x="4071938" y="5637213"/>
          <p14:tracePt t="37662" x="4076700" y="5637213"/>
          <p14:tracePt t="37664" x="4079875" y="5637213"/>
          <p14:tracePt t="37666" x="4084638" y="5637213"/>
          <p14:tracePt t="37668" x="4087813" y="5637213"/>
          <p14:tracePt t="37669" x="4092575" y="5637213"/>
          <p14:tracePt t="37671" x="4095750" y="5637213"/>
          <p14:tracePt t="37674" x="4100513" y="5637213"/>
          <p14:tracePt t="37675" x="4103688" y="5637213"/>
          <p14:tracePt t="37678" x="4108450" y="5637213"/>
          <p14:tracePt t="37679" x="4111625" y="5637213"/>
          <p14:tracePt t="37683" x="4116388" y="5637213"/>
          <p14:tracePt t="37684" x="4119563" y="5637213"/>
          <p14:tracePt t="37686" x="4124325" y="5637213"/>
          <p14:tracePt t="37688" x="4127500" y="5637213"/>
          <p14:tracePt t="37691" x="4132263" y="5637213"/>
          <p14:tracePt t="37695" x="4132263" y="5632450"/>
          <p14:tracePt t="37697" x="4135438" y="5632450"/>
          <p14:tracePt t="37705" x="4140200" y="5632450"/>
          <p14:tracePt t="37708" x="4143375" y="5632450"/>
          <p14:tracePt t="37711" x="4148138" y="5632450"/>
          <p14:tracePt t="37716" x="4151313" y="5632450"/>
          <p14:tracePt t="37719" x="4156075" y="5632450"/>
          <p14:tracePt t="37723" x="4156075" y="5629275"/>
          <p14:tracePt t="37725" x="4164013" y="5629275"/>
          <p14:tracePt t="37727" x="4168775" y="5629275"/>
          <p14:tracePt t="37729" x="4171950" y="5629275"/>
          <p14:tracePt t="37731" x="4176713" y="5629275"/>
          <p14:tracePt t="37732" x="4179888" y="5629275"/>
          <p14:tracePt t="37733" x="4184650" y="5629275"/>
          <p14:tracePt t="37735" x="4187825" y="5624513"/>
          <p14:tracePt t="37736" x="4192588" y="5624513"/>
          <p14:tracePt t="37738" x="4195763" y="5624513"/>
          <p14:tracePt t="37741" x="4200525" y="5624513"/>
          <p14:tracePt t="37742" x="4203700" y="5624513"/>
          <p14:tracePt t="37745" x="4208463" y="5624513"/>
          <p14:tracePt t="37745" x="4211638" y="5624513"/>
          <p14:tracePt t="37747" x="4216400" y="5621338"/>
          <p14:tracePt t="37748" x="4219575" y="5621338"/>
          <p14:tracePt t="37750" x="4224338" y="5621338"/>
          <p14:tracePt t="37751" x="4227513" y="5621338"/>
          <p14:tracePt t="37753" x="4232275" y="5621338"/>
          <p14:tracePt t="37755" x="4235450" y="5621338"/>
          <p14:tracePt t="37760" x="4240213" y="5616575"/>
          <p14:tracePt t="37761" x="4243388" y="5616575"/>
          <p14:tracePt t="37763" x="4248150" y="5616575"/>
          <p14:tracePt t="37765" x="4252913" y="5616575"/>
          <p14:tracePt t="37768" x="4256088" y="5616575"/>
          <p14:tracePt t="37770" x="4260850" y="5616575"/>
          <p14:tracePt t="37772" x="4264025" y="5616575"/>
          <p14:tracePt t="37773" x="4264025" y="5613400"/>
          <p14:tracePt t="37775" x="4268788" y="5613400"/>
          <p14:tracePt t="37776" x="4271963" y="5613400"/>
          <p14:tracePt t="37777" x="4276725" y="5613400"/>
          <p14:tracePt t="37780" x="4279900" y="5613400"/>
          <p14:tracePt t="37781" x="4284663" y="5608638"/>
          <p14:tracePt t="37782" x="4287838" y="5608638"/>
          <p14:tracePt t="37784" x="4292600" y="5608638"/>
          <p14:tracePt t="37785" x="4295775" y="5608638"/>
          <p14:tracePt t="37786" x="4300538" y="5608638"/>
          <p14:tracePt t="37787" x="4303713" y="5608638"/>
          <p14:tracePt t="37788" x="4308475" y="5608638"/>
          <p14:tracePt t="37789" x="4311650" y="5608638"/>
          <p14:tracePt t="37790" x="4316413" y="5608638"/>
          <p14:tracePt t="37792" x="4319588" y="5608638"/>
          <p14:tracePt t="37793" x="4324350" y="5605463"/>
          <p14:tracePt t="37794" x="4327525" y="5605463"/>
          <p14:tracePt t="37796" x="4332288" y="5605463"/>
          <p14:tracePt t="37796" x="4340225" y="5605463"/>
          <p14:tracePt t="37797" x="4344988" y="5605463"/>
          <p14:tracePt t="37798" x="4348163" y="5605463"/>
          <p14:tracePt t="37799" x="4352925" y="5605463"/>
          <p14:tracePt t="37800" x="4356100" y="5605463"/>
          <p14:tracePt t="37801" x="4364038" y="5605463"/>
          <p14:tracePt t="37802" x="4368800" y="5605463"/>
          <p14:tracePt t="37804" x="4376738" y="5605463"/>
          <p14:tracePt t="37805" x="4379913" y="5605463"/>
          <p14:tracePt t="37806" x="4384675" y="5605463"/>
          <p14:tracePt t="37807" x="4392613" y="5605463"/>
          <p14:tracePt t="37808" x="4395788" y="5605463"/>
          <p14:tracePt t="37809" x="4400550" y="5605463"/>
          <p14:tracePt t="37811" x="4403725" y="5605463"/>
          <p14:tracePt t="37811" x="4408488" y="5605463"/>
          <p14:tracePt t="37812" x="4416425" y="5605463"/>
          <p14:tracePt t="37813" x="4419600" y="5605463"/>
          <p14:tracePt t="37814" x="4424363" y="5605463"/>
          <p14:tracePt t="37816" x="4429125" y="5605463"/>
          <p14:tracePt t="37817" x="4437063" y="5605463"/>
          <p14:tracePt t="37818" x="4440238" y="5605463"/>
          <p14:tracePt t="37819" x="4445000" y="5605463"/>
          <p14:tracePt t="37820" x="4448175" y="5605463"/>
          <p14:tracePt t="37822" x="4456113" y="5605463"/>
          <p14:tracePt t="37823" x="4460875" y="5605463"/>
          <p14:tracePt t="37824" x="4468813" y="5605463"/>
          <p14:tracePt t="37825" x="4471988" y="5605463"/>
          <p14:tracePt t="37828" x="4476750" y="5605463"/>
          <p14:tracePt t="37828" x="4479925" y="5605463"/>
          <p14:tracePt t="37829" x="4487863" y="5605463"/>
          <p14:tracePt t="37830" x="4492625" y="5605463"/>
          <p14:tracePt t="37831" x="4495800" y="5605463"/>
          <p14:tracePt t="37832" x="4500563" y="5605463"/>
          <p14:tracePt t="37833" x="4503738" y="5605463"/>
          <p14:tracePt t="37834" x="4508500" y="5605463"/>
          <p14:tracePt t="37835" x="4511675" y="5605463"/>
          <p14:tracePt t="37836" x="4516438" y="5605463"/>
          <p14:tracePt t="37837" x="4524375" y="5605463"/>
          <p14:tracePt t="37839" x="4529138" y="5605463"/>
          <p14:tracePt t="37840" x="4532313" y="5605463"/>
          <p14:tracePt t="37841" x="4537075" y="5605463"/>
          <p14:tracePt t="37842" x="4545013" y="5605463"/>
          <p14:tracePt t="37843" x="4548188" y="5605463"/>
          <p14:tracePt t="37844" x="4552950" y="5605463"/>
          <p14:tracePt t="37845" x="4556125" y="5605463"/>
          <p14:tracePt t="37846" x="4560888" y="5605463"/>
          <p14:tracePt t="37847" x="4564063" y="5605463"/>
          <p14:tracePt t="37848" x="4568825" y="5605463"/>
          <p14:tracePt t="37850" x="4572000" y="5605463"/>
          <p14:tracePt t="37851" x="4576763" y="5605463"/>
          <p14:tracePt t="37852" x="4579938" y="5605463"/>
          <p14:tracePt t="37853" x="4584700" y="5605463"/>
          <p14:tracePt t="37854" x="4587875" y="5605463"/>
          <p14:tracePt t="37855" x="4592638" y="5605463"/>
          <p14:tracePt t="37856" x="4595813" y="5605463"/>
          <p14:tracePt t="37857" x="4600575" y="5605463"/>
          <p14:tracePt t="37858" x="4608513" y="5605463"/>
          <p14:tracePt t="37861" x="4616450" y="5605463"/>
          <p14:tracePt t="37863" x="4621213" y="5605463"/>
          <p14:tracePt t="37864" x="4624388" y="5605463"/>
          <p14:tracePt t="37866" x="4629150" y="5605463"/>
          <p14:tracePt t="37868" x="4632325" y="5605463"/>
          <p14:tracePt t="37869" x="4637088" y="5605463"/>
          <p14:tracePt t="37871" x="4640263" y="5605463"/>
          <p14:tracePt t="37872" x="4645025" y="5605463"/>
          <p14:tracePt t="37874" x="4648200" y="5605463"/>
          <p14:tracePt t="37876" x="4652963" y="5605463"/>
          <p14:tracePt t="37878" x="4656138" y="5605463"/>
          <p14:tracePt t="37883" x="4660900" y="5605463"/>
          <p14:tracePt t="37895" x="4679950" y="5605463"/>
          <p14:tracePt t="37896" x="4684713" y="5605463"/>
          <p14:tracePt t="37899" x="4687888" y="5605463"/>
          <p14:tracePt t="37901" x="4692650" y="5605463"/>
          <p14:tracePt t="37903" x="4697413" y="5605463"/>
          <p14:tracePt t="37909" x="4700588" y="5605463"/>
          <p14:tracePt t="37913" x="4705350" y="5605463"/>
          <p14:tracePt t="37916" x="4708525" y="5605463"/>
          <p14:tracePt t="37918" x="4713288" y="5605463"/>
          <p14:tracePt t="37920" x="4716463" y="5605463"/>
          <p14:tracePt t="37923" x="4721225" y="5605463"/>
          <p14:tracePt t="37924" x="4724400" y="5605463"/>
          <p14:tracePt t="37926" x="4729163" y="5605463"/>
          <p14:tracePt t="37928" x="4732338" y="5605463"/>
          <p14:tracePt t="37929" x="4737100" y="5605463"/>
          <p14:tracePt t="37933" x="4740275" y="5605463"/>
          <p14:tracePt t="37936" x="4748213" y="5605463"/>
          <p14:tracePt t="37937" x="4752975" y="5605463"/>
          <p14:tracePt t="37938" x="4756150" y="5605463"/>
          <p14:tracePt t="37940" x="4760913" y="5605463"/>
          <p14:tracePt t="37942" x="4764088" y="5605463"/>
          <p14:tracePt t="37944" x="4768850" y="5605463"/>
          <p14:tracePt t="37945" x="4772025" y="5605463"/>
          <p14:tracePt t="37947" x="4776788" y="5605463"/>
          <p14:tracePt t="37951" x="4779963" y="5605463"/>
          <p14:tracePt t="37953" x="4784725" y="5605463"/>
          <p14:tracePt t="37955" x="4789488" y="5605463"/>
          <p14:tracePt t="37957" x="4792663" y="5605463"/>
          <p14:tracePt t="37961" x="4797425" y="5600700"/>
          <p14:tracePt t="37962" x="4800600" y="5600700"/>
          <p14:tracePt t="37964" x="4805363" y="5600700"/>
          <p14:tracePt t="37965" x="4808538" y="5600700"/>
          <p14:tracePt t="37967" x="4813300" y="5600700"/>
          <p14:tracePt t="37970" x="4816475" y="5600700"/>
          <p14:tracePt t="37974" x="4821238" y="5597525"/>
          <p14:tracePt t="37975" x="4824413" y="5597525"/>
          <p14:tracePt t="37977" x="4829175" y="5597525"/>
          <p14:tracePt t="37978" x="4832350" y="5597525"/>
          <p14:tracePt t="37979" x="4837113" y="5597525"/>
          <p14:tracePt t="37981" x="4840288" y="5597525"/>
          <p14:tracePt t="37982" x="4845050" y="5597525"/>
          <p14:tracePt t="37984" x="4848225" y="5597525"/>
          <p14:tracePt t="37985" x="4852988" y="5597525"/>
          <p14:tracePt t="37986" x="4856163" y="5597525"/>
          <p14:tracePt t="37987" x="4860925" y="5597525"/>
          <p14:tracePt t="37989" x="4864100" y="5597525"/>
          <p14:tracePt t="37990" x="4868863" y="5597525"/>
          <p14:tracePt t="37991" x="4872038" y="5597525"/>
          <p14:tracePt t="37992" x="4876800" y="5597525"/>
          <p14:tracePt t="37993" x="4881563" y="5597525"/>
          <p14:tracePt t="37994" x="4884738" y="5597525"/>
          <p14:tracePt t="37995" x="4889500" y="5597525"/>
          <p14:tracePt t="37996" x="4892675" y="5597525"/>
          <p14:tracePt t="37997" x="4897438" y="5592763"/>
          <p14:tracePt t="37998" x="4900613" y="5592763"/>
          <p14:tracePt t="38000" x="4905375" y="5592763"/>
          <p14:tracePt t="38001" x="4908550" y="5592763"/>
          <p14:tracePt t="38002" x="4913313" y="5592763"/>
          <p14:tracePt t="38003" x="4916488" y="5592763"/>
          <p14:tracePt t="38004" x="4921250" y="5592763"/>
          <p14:tracePt t="38005" x="4924425" y="5592763"/>
          <p14:tracePt t="38006" x="4929188" y="5592763"/>
          <p14:tracePt t="38008" x="4932363" y="5592763"/>
          <p14:tracePt t="38009" x="4937125" y="5592763"/>
          <p14:tracePt t="38011" x="4940300" y="5592763"/>
          <p14:tracePt t="38013" x="4945063" y="5592763"/>
          <p14:tracePt t="38014" x="4948238" y="5592763"/>
          <p14:tracePt t="38015" x="4953000" y="5592763"/>
          <p14:tracePt t="38017" x="4956175" y="5592763"/>
          <p14:tracePt t="38018" x="4960938" y="5592763"/>
          <p14:tracePt t="38020" x="4964113" y="5592763"/>
          <p14:tracePt t="38021" x="4968875" y="5592763"/>
          <p14:tracePt t="38022" x="4968875" y="5589588"/>
          <p14:tracePt t="38023" x="4973638" y="5589588"/>
          <p14:tracePt t="38026" x="4976813" y="5589588"/>
          <p14:tracePt t="38027" x="4981575" y="5589588"/>
          <p14:tracePt t="38030" x="4984750" y="5589588"/>
          <p14:tracePt t="38032" x="4989513" y="5589588"/>
          <p14:tracePt t="38034" x="4992688" y="5589588"/>
          <p14:tracePt t="38037" x="4997450" y="5589588"/>
          <p14:tracePt t="38039" x="5000625" y="5589588"/>
          <p14:tracePt t="38043" x="5005388" y="5584825"/>
          <p14:tracePt t="38045" x="5008563" y="5584825"/>
          <p14:tracePt t="38047" x="5013325" y="5584825"/>
          <p14:tracePt t="38054" x="5016500" y="5581650"/>
          <p14:tracePt t="38059" x="5021263" y="5581650"/>
          <p14:tracePt t="38069" x="5021263" y="5576888"/>
          <p14:tracePt t="38073" x="5024438" y="5576888"/>
          <p14:tracePt t="38076" x="5029200" y="5576888"/>
          <p14:tracePt t="38082" x="5032375" y="5576888"/>
          <p14:tracePt t="38083" x="5032375" y="5572125"/>
          <p14:tracePt t="38086" x="5037138" y="5572125"/>
          <p14:tracePt t="38093" x="5040313" y="5572125"/>
          <p14:tracePt t="38096" x="5040313" y="5568950"/>
          <p14:tracePt t="38099" x="5045075" y="5568950"/>
          <p14:tracePt t="38103" x="5048250" y="5568950"/>
          <p14:tracePt t="38106" x="5048250" y="5564188"/>
          <p14:tracePt t="38108" x="5053013" y="5564188"/>
          <p14:tracePt t="38116" x="5056188" y="5564188"/>
          <p14:tracePt t="38117" x="5056188" y="5561013"/>
          <p14:tracePt t="38120" x="5060950" y="5561013"/>
          <p14:tracePt t="38125" x="5060950" y="5556250"/>
          <p14:tracePt t="38131" x="5065713" y="5556250"/>
          <p14:tracePt t="38138" x="5068888" y="5556250"/>
          <p14:tracePt t="38149" x="5068888" y="5553075"/>
          <p14:tracePt t="38155" x="5073650" y="5553075"/>
          <p14:tracePt t="38161" x="5073650" y="5548313"/>
          <p14:tracePt t="38165" x="5073650" y="5545138"/>
          <p14:tracePt t="38169" x="5073650" y="5540375"/>
          <p14:tracePt t="38171" x="5076825" y="5540375"/>
          <p14:tracePt t="38172" x="5076825" y="5537200"/>
          <p14:tracePt t="38175" x="5076825" y="5532438"/>
          <p14:tracePt t="38178" x="5076825" y="5529263"/>
          <p14:tracePt t="38180" x="5076825" y="5524500"/>
          <p14:tracePt t="38182" x="5081588" y="5521325"/>
          <p14:tracePt t="38184" x="5084763" y="5516563"/>
          <p14:tracePt t="38188" x="5089525" y="5516563"/>
          <p14:tracePt t="38189" x="5089525" y="5513388"/>
          <p14:tracePt t="38192" x="5089525" y="5508625"/>
          <p14:tracePt t="38194" x="5089525" y="5505450"/>
          <p14:tracePt t="38196" x="5089525" y="5500688"/>
          <p14:tracePt t="38197" x="5092700" y="5500688"/>
          <p14:tracePt t="38198" x="5092700" y="5497513"/>
          <p14:tracePt t="38199" x="5092700" y="5492750"/>
          <p14:tracePt t="38202" x="5092700" y="5489575"/>
          <p14:tracePt t="38203" x="5092700" y="5484813"/>
          <p14:tracePt t="38205" x="5092700" y="5480050"/>
          <p14:tracePt t="38208" x="5092700" y="5476875"/>
          <p14:tracePt t="38212" x="5092700" y="5472113"/>
          <p14:tracePt t="38214" x="5092700" y="5468938"/>
          <p14:tracePt t="38215" x="5092700" y="5464175"/>
          <p14:tracePt t="38217" x="5092700" y="5461000"/>
          <p14:tracePt t="38218" x="5092700" y="5456238"/>
          <p14:tracePt t="38220" x="5092700" y="5453063"/>
          <p14:tracePt t="38223" x="5092700" y="5448300"/>
          <p14:tracePt t="38223" x="5092700" y="5445125"/>
          <p14:tracePt t="38225" x="5092700" y="5440363"/>
          <p14:tracePt t="38226" x="5092700" y="5437188"/>
          <p14:tracePt t="38229" x="5092700" y="5432425"/>
          <p14:tracePt t="38230" x="5092700" y="5429250"/>
          <p14:tracePt t="38232" x="5092700" y="5424488"/>
          <p14:tracePt t="38233" x="5089525" y="5424488"/>
          <p14:tracePt t="38234" x="5089525" y="5421313"/>
          <p14:tracePt t="38235" x="5089525" y="5416550"/>
          <p14:tracePt t="38236" x="5084763" y="5416550"/>
          <p14:tracePt t="38237" x="5084763" y="5413375"/>
          <p14:tracePt t="38238" x="5081588" y="5408613"/>
          <p14:tracePt t="38239" x="5081588" y="5405438"/>
          <p14:tracePt t="38241" x="5081588" y="5400675"/>
          <p14:tracePt t="38242" x="5076825" y="5400675"/>
          <p14:tracePt t="38243" x="5076825" y="5397500"/>
          <p14:tracePt t="38244" x="5073650" y="5397500"/>
          <p14:tracePt t="38246" x="5073650" y="5392738"/>
          <p14:tracePt t="38248" x="5068888" y="5387975"/>
          <p14:tracePt t="38249" x="5068888" y="5384800"/>
          <p14:tracePt t="38251" x="5065713" y="5380038"/>
          <p14:tracePt t="38253" x="5065713" y="5376863"/>
          <p14:tracePt t="38254" x="5060950" y="5376863"/>
          <p14:tracePt t="38255" x="5060950" y="5372100"/>
          <p14:tracePt t="38257" x="5056188" y="5368925"/>
          <p14:tracePt t="38259" x="5053013" y="5364163"/>
          <p14:tracePt t="38261" x="5053013" y="5360988"/>
          <p14:tracePt t="38262" x="5048250" y="5360988"/>
          <p14:tracePt t="38263" x="5048250" y="5356225"/>
          <p14:tracePt t="38264" x="5045075" y="5356225"/>
          <p14:tracePt t="38265" x="5040313" y="5353050"/>
          <p14:tracePt t="38267" x="5037138" y="5353050"/>
          <p14:tracePt t="38269" x="5032375" y="5348288"/>
          <p14:tracePt t="38271" x="5032375" y="5345113"/>
          <p14:tracePt t="38272" x="5029200" y="5345113"/>
          <p14:tracePt t="38273" x="5024438" y="5340350"/>
          <p14:tracePt t="38274" x="5024438" y="5337175"/>
          <p14:tracePt t="38276" x="5021263" y="5332413"/>
          <p14:tracePt t="38278" x="5016500" y="5329238"/>
          <p14:tracePt t="38280" x="5013325" y="5324475"/>
          <p14:tracePt t="38281" x="5008563" y="5324475"/>
          <p14:tracePt t="38282" x="5008563" y="5321300"/>
          <p14:tracePt t="38283" x="5005388" y="5321300"/>
          <p14:tracePt t="38284" x="5000625" y="5316538"/>
          <p14:tracePt t="38285" x="4997450" y="5316538"/>
          <p14:tracePt t="38286" x="4997450" y="5313363"/>
          <p14:tracePt t="38287" x="4992688" y="5313363"/>
          <p14:tracePt t="38288" x="4989513" y="5313363"/>
          <p14:tracePt t="38289" x="4989513" y="5308600"/>
          <p14:tracePt t="38290" x="4984750" y="5308600"/>
          <p14:tracePt t="38291" x="4984750" y="5305425"/>
          <p14:tracePt t="38292" x="4981575" y="5305425"/>
          <p14:tracePt t="38293" x="4981575" y="5300663"/>
          <p14:tracePt t="38294" x="4976813" y="5300663"/>
          <p14:tracePt t="38296" x="4973638" y="5295900"/>
          <p14:tracePt t="38297" x="4968875" y="5292725"/>
          <p14:tracePt t="38298" x="4964113" y="5292725"/>
          <p14:tracePt t="38300" x="4960938" y="5287963"/>
          <p14:tracePt t="38301" x="4956175" y="5287963"/>
          <p14:tracePt t="38302" x="4956175" y="5284788"/>
          <p14:tracePt t="38303" x="4953000" y="5280025"/>
          <p14:tracePt t="38305" x="4948238" y="5276850"/>
          <p14:tracePt t="38308" x="4945063" y="5272088"/>
          <p14:tracePt t="38313" x="4940300" y="5272088"/>
          <p14:tracePt t="38314" x="4940300" y="5268913"/>
          <p14:tracePt t="38316" x="4937125" y="5268913"/>
          <p14:tracePt t="38318" x="4932363" y="5264150"/>
          <p14:tracePt t="38320" x="4929188" y="5264150"/>
          <p14:tracePt t="38321" x="4929188" y="5260975"/>
          <p14:tracePt t="38323" x="4924425" y="5260975"/>
          <p14:tracePt t="38326" x="4924425" y="5256213"/>
          <p14:tracePt t="38331" x="4921250" y="5256213"/>
          <p14:tracePt t="38334" x="4921250" y="5253038"/>
          <p14:tracePt t="38336" x="4916488" y="5253038"/>
          <p14:tracePt t="38343" x="4913313" y="5253038"/>
          <p14:tracePt t="38348" x="4913313" y="5248275"/>
          <p14:tracePt t="38349" x="4908550" y="5248275"/>
          <p14:tracePt t="38357" x="4905375" y="5248275"/>
          <p14:tracePt t="38390" x="4900613" y="5248275"/>
          <p14:tracePt t="38394" x="4897438" y="5248275"/>
          <p14:tracePt t="38396" x="4897438" y="5245100"/>
          <p14:tracePt t="38400" x="4892675" y="5245100"/>
          <p14:tracePt t="38402" x="4889500" y="5245100"/>
          <p14:tracePt t="38405" x="4884738" y="5245100"/>
          <p14:tracePt t="38408" x="4881563" y="5240338"/>
          <p14:tracePt t="38409" x="4876800" y="5240338"/>
          <p14:tracePt t="38411" x="4872038" y="5237163"/>
          <p14:tracePt t="38413" x="4868863" y="5237163"/>
          <p14:tracePt t="38414" x="4868863" y="5232400"/>
          <p14:tracePt t="38415" x="4864100" y="5232400"/>
          <p14:tracePt t="38418" x="4860925" y="5232400"/>
          <p14:tracePt t="38419" x="4856163" y="5232400"/>
          <p14:tracePt t="38421" x="4852988" y="5229225"/>
          <p14:tracePt t="38422" x="4848225" y="5229225"/>
          <p14:tracePt t="38423" x="4845050" y="5229225"/>
          <p14:tracePt t="38424" x="4845050" y="5224463"/>
          <p14:tracePt t="38425" x="4840288" y="5224463"/>
          <p14:tracePt t="38426" x="4837113" y="5224463"/>
          <p14:tracePt t="38427" x="4832350" y="5221288"/>
          <p14:tracePt t="38429" x="4824413" y="5216525"/>
          <p14:tracePt t="38430" x="4821238" y="5216525"/>
          <p14:tracePt t="38432" x="4821238" y="5213350"/>
          <p14:tracePt t="38433" x="4816475" y="5213350"/>
          <p14:tracePt t="38434" x="4813300" y="5213350"/>
          <p14:tracePt t="38435" x="4808538" y="5208588"/>
          <p14:tracePt t="38437" x="4800600" y="5203825"/>
          <p14:tracePt t="38438" x="4797425" y="5203825"/>
          <p14:tracePt t="38439" x="4792663" y="5200650"/>
          <p14:tracePt t="38440" x="4789488" y="5200650"/>
          <p14:tracePt t="38442" x="4779963" y="5195888"/>
          <p14:tracePt t="38444" x="4776788" y="5192713"/>
          <p14:tracePt t="38445" x="4772025" y="5192713"/>
          <p14:tracePt t="38446" x="4768850" y="5192713"/>
          <p14:tracePt t="38447" x="4764088" y="5187950"/>
          <p14:tracePt t="38449" x="4760913" y="5184775"/>
          <p14:tracePt t="38450" x="4756150" y="5184775"/>
          <p14:tracePt t="38451" x="4752975" y="5184775"/>
          <p14:tracePt t="38452" x="4748213" y="5184775"/>
          <p14:tracePt t="38453" x="4745038" y="5184775"/>
          <p14:tracePt t="38454" x="4740275" y="5180013"/>
          <p14:tracePt t="38455" x="4737100" y="5180013"/>
          <p14:tracePt t="38456" x="4732338" y="5176838"/>
          <p14:tracePt t="38457" x="4724400" y="5176838"/>
          <p14:tracePt t="38458" x="4721225" y="5172075"/>
          <p14:tracePt t="38461" x="4713288" y="5168900"/>
          <p14:tracePt t="38462" x="4708525" y="5164138"/>
          <p14:tracePt t="38464" x="4705350" y="5164138"/>
          <p14:tracePt t="38464" x="4700588" y="5160963"/>
          <p14:tracePt t="38465" x="4697413" y="5160963"/>
          <p14:tracePt t="38466" x="4692650" y="5160963"/>
          <p14:tracePt t="38467" x="4687888" y="5156200"/>
          <p14:tracePt t="38468" x="4679950" y="5156200"/>
          <p14:tracePt t="38469" x="4676775" y="5153025"/>
          <p14:tracePt t="38470" x="4672013" y="5153025"/>
          <p14:tracePt t="38472" x="4668838" y="5148263"/>
          <p14:tracePt t="38473" x="4664075" y="5148263"/>
          <p14:tracePt t="38474" x="4660900" y="5145088"/>
          <p14:tracePt t="38475" x="4656138" y="5145088"/>
          <p14:tracePt t="38476" x="4652963" y="5145088"/>
          <p14:tracePt t="38477" x="4648200" y="5145088"/>
          <p14:tracePt t="38479" x="4640263" y="5140325"/>
          <p14:tracePt t="38480" x="4637088" y="5140325"/>
          <p14:tracePt t="38480" x="4632325" y="5140325"/>
          <p14:tracePt t="38481" x="4629150" y="5137150"/>
          <p14:tracePt t="38482" x="4624388" y="5137150"/>
          <p14:tracePt t="38484" x="4621213" y="5132388"/>
          <p14:tracePt t="38485" x="4616450" y="5132388"/>
          <p14:tracePt t="38486" x="4613275" y="5132388"/>
          <p14:tracePt t="38487" x="4608513" y="5129213"/>
          <p14:tracePt t="38488" x="4600575" y="5129213"/>
          <p14:tracePt t="38489" x="4595813" y="5129213"/>
          <p14:tracePt t="38490" x="4592638" y="5124450"/>
          <p14:tracePt t="38491" x="4584700" y="5124450"/>
          <p14:tracePt t="38492" x="4579938" y="5119688"/>
          <p14:tracePt t="38493" x="4576763" y="5119688"/>
          <p14:tracePt t="38494" x="4568825" y="5119688"/>
          <p14:tracePt t="38495" x="4568825" y="5116513"/>
          <p14:tracePt t="38496" x="4564063" y="5116513"/>
          <p14:tracePt t="38497" x="4560888" y="5116513"/>
          <p14:tracePt t="38498" x="4552950" y="5111750"/>
          <p14:tracePt t="38499" x="4548188" y="5111750"/>
          <p14:tracePt t="38500" x="4545013" y="5111750"/>
          <p14:tracePt t="38501" x="4540250" y="5111750"/>
          <p14:tracePt t="38502" x="4537075" y="5108575"/>
          <p14:tracePt t="38503" x="4529138" y="5108575"/>
          <p14:tracePt t="38504" x="4524375" y="5108575"/>
          <p14:tracePt t="38505" x="4521200" y="5108575"/>
          <p14:tracePt t="38506" x="4516438" y="5108575"/>
          <p14:tracePt t="38507" x="4516438" y="5103813"/>
          <p14:tracePt t="38508" x="4508500" y="5103813"/>
          <p14:tracePt t="38509" x="4503738" y="5103813"/>
          <p14:tracePt t="38511" x="4495800" y="5103813"/>
          <p14:tracePt t="38513" x="4487863" y="5100638"/>
          <p14:tracePt t="38514" x="4484688" y="5100638"/>
          <p14:tracePt t="38515" x="4479925" y="5100638"/>
          <p14:tracePt t="38516" x="4476750" y="5095875"/>
          <p14:tracePt t="38517" x="4471988" y="5095875"/>
          <p14:tracePt t="38518" x="4464050" y="5095875"/>
          <p14:tracePt t="38520" x="4460875" y="5095875"/>
          <p14:tracePt t="38521" x="4456113" y="5095875"/>
          <p14:tracePt t="38522" x="4452938" y="5095875"/>
          <p14:tracePt t="38523" x="4448175" y="5095875"/>
          <p14:tracePt t="38524" x="4445000" y="5095875"/>
          <p14:tracePt t="38525" x="4440238" y="5095875"/>
          <p14:tracePt t="38526" x="4437063" y="5095875"/>
          <p14:tracePt t="38528" x="4429125" y="5095875"/>
          <p14:tracePt t="38529" x="4424363" y="5095875"/>
          <p14:tracePt t="38531" x="4419600" y="5095875"/>
          <p14:tracePt t="38533" x="4416425" y="5095875"/>
          <p14:tracePt t="38534" x="4408488" y="5095875"/>
          <p14:tracePt t="38536" x="4403725" y="5095875"/>
          <p14:tracePt t="38537" x="4400550" y="5095875"/>
          <p14:tracePt t="38538" x="4395788" y="5095875"/>
          <p14:tracePt t="38539" x="4392613" y="5095875"/>
          <p14:tracePt t="38540" x="4387850" y="5095875"/>
          <p14:tracePt t="38541" x="4384675" y="5095875"/>
          <p14:tracePt t="38542" x="4379913" y="5095875"/>
          <p14:tracePt t="38544" x="4376738" y="5095875"/>
          <p14:tracePt t="38545" x="4371975" y="5095875"/>
          <p14:tracePt t="38546" x="4368800" y="5095875"/>
          <p14:tracePt t="38547" x="4364038" y="5095875"/>
          <p14:tracePt t="38549" x="4356100" y="5095875"/>
          <p14:tracePt t="38551" x="4352925" y="5095875"/>
          <p14:tracePt t="38552" x="4348163" y="5095875"/>
          <p14:tracePt t="38553" x="4344988" y="5095875"/>
          <p14:tracePt t="38554" x="4340225" y="5095875"/>
          <p14:tracePt t="38555" x="4337050" y="5095875"/>
          <p14:tracePt t="38559" x="4327525" y="5095875"/>
          <p14:tracePt t="38561" x="4324350" y="5095875"/>
          <p14:tracePt t="38562" x="4319588" y="5095875"/>
          <p14:tracePt t="38563" x="4316413" y="5095875"/>
          <p14:tracePt t="38564" x="4311650" y="5095875"/>
          <p14:tracePt t="38566" x="4308475" y="5095875"/>
          <p14:tracePt t="38567" x="4303713" y="5095875"/>
          <p14:tracePt t="38569" x="4300538" y="5095875"/>
          <p14:tracePt t="38570" x="4295775" y="5095875"/>
          <p14:tracePt t="38571" x="4292600" y="5095875"/>
          <p14:tracePt t="38574" x="4287838" y="5095875"/>
          <p14:tracePt t="38575" x="4284663" y="5095875"/>
          <p14:tracePt t="38578" x="4276725" y="5095875"/>
          <p14:tracePt t="38579" x="4271963" y="5095875"/>
          <p14:tracePt t="38581" x="4268788" y="5095875"/>
          <p14:tracePt t="38582" x="4264025" y="5095875"/>
          <p14:tracePt t="38584" x="4260850" y="5095875"/>
          <p14:tracePt t="38585" x="4256088" y="5095875"/>
          <p14:tracePt t="38586" x="4252913" y="5095875"/>
          <p14:tracePt t="38589" x="4248150" y="5095875"/>
          <p14:tracePt t="38590" x="4243388" y="5095875"/>
          <p14:tracePt t="38591" x="4240213" y="5095875"/>
          <p14:tracePt t="38593" x="4235450" y="5095875"/>
          <p14:tracePt t="38594" x="4232275" y="5095875"/>
          <p14:tracePt t="38595" x="4227513" y="5095875"/>
          <p14:tracePt t="38597" x="4224338" y="5095875"/>
          <p14:tracePt t="38598" x="4219575" y="5095875"/>
          <p14:tracePt t="38599" x="4216400" y="5092700"/>
          <p14:tracePt t="38600" x="4211638" y="5092700"/>
          <p14:tracePt t="38604" x="4208463" y="5092700"/>
          <p14:tracePt t="38606" x="4200525" y="5092700"/>
          <p14:tracePt t="38607" x="4195763" y="5092700"/>
          <p14:tracePt t="38608" x="4192588" y="5092700"/>
          <p14:tracePt t="38611" x="4184650" y="5092700"/>
          <p14:tracePt t="38612" x="4179888" y="5092700"/>
          <p14:tracePt t="38613" x="4176713" y="5092700"/>
          <p14:tracePt t="38614" x="4171950" y="5092700"/>
          <p14:tracePt t="38616" x="4168775" y="5092700"/>
          <p14:tracePt t="38618" x="4164013" y="5092700"/>
          <p14:tracePt t="38619" x="4160838" y="5092700"/>
          <p14:tracePt t="38620" x="4156075" y="5092700"/>
          <p14:tracePt t="38622" x="4151313" y="5092700"/>
          <p14:tracePt t="38623" x="4148138" y="5092700"/>
          <p14:tracePt t="38624" x="4143375" y="5092700"/>
          <p14:tracePt t="38625" x="4143375" y="5087938"/>
          <p14:tracePt t="38626" x="4140200" y="5087938"/>
          <p14:tracePt t="38627" x="4135438" y="5087938"/>
          <p14:tracePt t="38628" x="4132263" y="5087938"/>
          <p14:tracePt t="38631" x="4127500" y="5087938"/>
          <p14:tracePt t="38633" x="4124325" y="5087938"/>
          <p14:tracePt t="38634" x="4119563" y="5087938"/>
          <p14:tracePt t="38636" x="4116388" y="5087938"/>
          <p14:tracePt t="38637" x="4111625" y="5087938"/>
          <p14:tracePt t="38638" x="4108450" y="5087938"/>
          <p14:tracePt t="38640" x="4103688" y="5087938"/>
          <p14:tracePt t="38641" x="4100513" y="5087938"/>
          <p14:tracePt t="38642" x="4095750" y="5087938"/>
          <p14:tracePt t="38644" x="4092575" y="5087938"/>
          <p14:tracePt t="38647" x="4087813" y="5087938"/>
          <p14:tracePt t="38648" x="4084638" y="5087938"/>
          <p14:tracePt t="38649" x="4079875" y="5087938"/>
          <p14:tracePt t="38651" x="4076700" y="5087938"/>
          <p14:tracePt t="38652" x="4071938" y="5087938"/>
          <p14:tracePt t="38653" x="4068763" y="5087938"/>
          <p14:tracePt t="38655" x="4064000" y="5087938"/>
          <p14:tracePt t="38656" x="4059238" y="5087938"/>
          <p14:tracePt t="38658" x="4056063" y="5087938"/>
          <p14:tracePt t="38659" x="4051300" y="5087938"/>
          <p14:tracePt t="38661" x="4048125" y="5087938"/>
          <p14:tracePt t="38663" x="4043363" y="5087938"/>
          <p14:tracePt t="38664" x="4040188" y="5087938"/>
          <p14:tracePt t="38665" x="4035425" y="5087938"/>
          <p14:tracePt t="38666" x="4032250" y="5092700"/>
          <p14:tracePt t="38668" x="4027488" y="5092700"/>
          <p14:tracePt t="38669" x="4024313" y="5092700"/>
          <p14:tracePt t="38671" x="4019550" y="5092700"/>
          <p14:tracePt t="38672" x="4016375" y="5092700"/>
          <p14:tracePt t="38673" x="4011613" y="5092700"/>
          <p14:tracePt t="38675" x="4008438" y="5092700"/>
          <p14:tracePt t="38678" x="4000500" y="5092700"/>
          <p14:tracePt t="38679" x="3995738" y="5092700"/>
          <p14:tracePt t="38681" x="3992563" y="5095875"/>
          <p14:tracePt t="38683" x="3984625" y="5095875"/>
          <p14:tracePt t="38685" x="3979863" y="5095875"/>
          <p14:tracePt t="38686" x="3976688" y="5095875"/>
          <p14:tracePt t="38687" x="3971925" y="5100638"/>
          <p14:tracePt t="38689" x="3967163" y="5100638"/>
          <p14:tracePt t="38692" x="3959225" y="5100638"/>
          <p14:tracePt t="38694" x="3956050" y="5100638"/>
          <p14:tracePt t="38695" x="3951288" y="5103813"/>
          <p14:tracePt t="38696" x="3948113" y="5103813"/>
          <p14:tracePt t="38698" x="3943350" y="5103813"/>
          <p14:tracePt t="38699" x="3940175" y="5103813"/>
          <p14:tracePt t="38701" x="3935413" y="5108575"/>
          <p14:tracePt t="38703" x="3932238" y="5108575"/>
          <p14:tracePt t="38705" x="3927475" y="5108575"/>
          <p14:tracePt t="38706" x="3924300" y="5108575"/>
          <p14:tracePt t="38708" x="3924300" y="5111750"/>
          <p14:tracePt t="38711" x="3919538" y="5111750"/>
          <p14:tracePt t="38714" x="3916363" y="5111750"/>
          <p14:tracePt t="38716" x="3916363" y="5116513"/>
          <p14:tracePt t="38718" x="3911600" y="5116513"/>
          <p14:tracePt t="38722" x="3908425" y="5116513"/>
          <p14:tracePt t="38725" x="3903663" y="5116513"/>
          <p14:tracePt t="38730" x="3903663" y="5119688"/>
          <p14:tracePt t="38731" x="3900488" y="5119688"/>
          <p14:tracePt t="38738" x="3895725" y="5119688"/>
          <p14:tracePt t="38744" x="3895725" y="5124450"/>
          <p14:tracePt t="38747" x="3892550" y="5124450"/>
          <p14:tracePt t="38753" x="3887788" y="5129213"/>
          <p14:tracePt t="38761" x="3884613" y="5132388"/>
          <p14:tracePt t="38773" x="3879850" y="5132388"/>
          <p14:tracePt t="38775" x="3879850" y="5137150"/>
          <p14:tracePt t="38779" x="3875088" y="5137150"/>
          <p14:tracePt t="38782" x="3875088" y="5140325"/>
          <p14:tracePt t="38784" x="3871913" y="5140325"/>
          <p14:tracePt t="38785" x="3871913" y="5145088"/>
          <p14:tracePt t="38788" x="3871913" y="5148263"/>
          <p14:tracePt t="38791" x="3867150" y="5148263"/>
          <p14:tracePt t="38793" x="3867150" y="5153025"/>
          <p14:tracePt t="38797" x="3863975" y="5153025"/>
          <p14:tracePt t="38798" x="3863975" y="5156200"/>
          <p14:tracePt t="38802" x="3859213" y="5160963"/>
          <p14:tracePt t="38807" x="3859213" y="5164138"/>
          <p14:tracePt t="38808" x="3856038" y="5168900"/>
          <p14:tracePt t="38812" x="3856038" y="5172075"/>
          <p14:tracePt t="38818" x="3851275" y="5176838"/>
          <p14:tracePt t="38821" x="3851275" y="5180013"/>
          <p14:tracePt t="38824" x="3851275" y="5184775"/>
          <p14:tracePt t="38826" x="3851275" y="5187950"/>
          <p14:tracePt t="38828" x="3848100" y="5187950"/>
          <p14:tracePt t="38830" x="3848100" y="5192713"/>
          <p14:tracePt t="38834" x="3848100" y="5195888"/>
          <p14:tracePt t="38837" x="3848100" y="5200650"/>
          <p14:tracePt t="38839" x="3848100" y="5203825"/>
          <p14:tracePt t="38841" x="3848100" y="5208588"/>
          <p14:tracePt t="38844" x="3848100" y="5213350"/>
          <p14:tracePt t="38849" x="3848100" y="5216525"/>
          <p14:tracePt t="38851" x="3848100" y="5221288"/>
          <p14:tracePt t="38855" x="3848100" y="5224463"/>
          <p14:tracePt t="38857" x="3848100" y="5229225"/>
          <p14:tracePt t="38861" x="3848100" y="5232400"/>
          <p14:tracePt t="38862" x="3848100" y="5237163"/>
          <p14:tracePt t="38864" x="3848100" y="5240338"/>
          <p14:tracePt t="38866" x="3848100" y="5245100"/>
          <p14:tracePt t="38870" x="3848100" y="5248275"/>
          <p14:tracePt t="38875" x="3848100" y="5253038"/>
          <p14:tracePt t="38880" x="3848100" y="5256213"/>
          <p14:tracePt t="38883" x="3848100" y="5260975"/>
          <p14:tracePt t="38886" x="3848100" y="5264150"/>
          <p14:tracePt t="38890" x="3848100" y="5268913"/>
          <p14:tracePt t="38892" x="3848100" y="5272088"/>
          <p14:tracePt t="38895" x="3848100" y="5276850"/>
          <p14:tracePt t="38897" x="3851275" y="5276850"/>
          <p14:tracePt t="38898" x="3851275" y="5280025"/>
          <p14:tracePt t="38901" x="3851275" y="5284788"/>
          <p14:tracePt t="38903" x="3856038" y="5284788"/>
          <p14:tracePt t="38905" x="3856038" y="5287963"/>
          <p14:tracePt t="38907" x="3856038" y="5292725"/>
          <p14:tracePt t="38911" x="3859213" y="5292725"/>
          <p14:tracePt t="38914" x="3859213" y="5295900"/>
          <p14:tracePt t="38917" x="3863975" y="5295900"/>
          <p14:tracePt t="38919" x="3863975" y="5300663"/>
          <p14:tracePt t="38924" x="3867150" y="5305425"/>
          <p14:tracePt t="38930" x="3867150" y="5308600"/>
          <p14:tracePt t="38934" x="3867150" y="5313363"/>
          <p14:tracePt t="38936" x="3871913" y="5313363"/>
          <p14:tracePt t="38941" x="3871913" y="5316538"/>
          <p14:tracePt t="38946" x="3875088" y="5321300"/>
          <p14:tracePt t="38955" x="3879850" y="5321300"/>
          <p14:tracePt t="38956" x="3879850" y="5324475"/>
          <p14:tracePt t="38964" x="3879850" y="5329238"/>
          <p14:tracePt t="38970" x="3879850" y="5332413"/>
          <p14:tracePt t="38976" x="3884613" y="5332413"/>
          <p14:tracePt t="38977" x="3884613" y="5337175"/>
          <p14:tracePt t="38981" x="3884613" y="5340350"/>
          <p14:tracePt t="38983" x="3887788" y="5340350"/>
          <p14:tracePt t="38985" x="3887788" y="5345113"/>
          <p14:tracePt t="38988" x="3887788" y="5348288"/>
          <p14:tracePt t="38992" x="3887788" y="5353050"/>
          <p14:tracePt t="38993" x="3892550" y="5353050"/>
          <p14:tracePt t="38996" x="3892550" y="5356225"/>
          <p14:tracePt t="38999" x="3895725" y="5356225"/>
          <p14:tracePt t="39001" x="3895725" y="5360988"/>
          <p14:tracePt t="39004" x="3895725" y="5364163"/>
          <p14:tracePt t="39007" x="3900488" y="5368925"/>
          <p14:tracePt t="39011" x="3900488" y="5372100"/>
          <p14:tracePt t="39014" x="3900488" y="5376863"/>
          <p14:tracePt t="39017" x="3903663" y="5376863"/>
          <p14:tracePt t="39022" x="3903663" y="5380038"/>
          <p14:tracePt t="39023" x="3908425" y="5380038"/>
          <p14:tracePt t="39026" x="3908425" y="5384800"/>
          <p14:tracePt t="39029" x="3908425" y="5387975"/>
          <p14:tracePt t="39030" x="3911600" y="5387975"/>
          <p14:tracePt t="39032" x="3911600" y="5392738"/>
          <p14:tracePt t="39034" x="3916363" y="5392738"/>
          <p14:tracePt t="39035" x="3916363" y="5397500"/>
          <p14:tracePt t="39038" x="3916363" y="5400675"/>
          <p14:tracePt t="39040" x="3919538" y="5400675"/>
          <p14:tracePt t="39042" x="3919538" y="5405438"/>
          <p14:tracePt t="39044" x="3919538" y="5408613"/>
          <p14:tracePt t="39047" x="3919538" y="5413375"/>
          <p14:tracePt t="39050" x="3919538" y="5416550"/>
          <p14:tracePt t="39051" x="3924300" y="5416550"/>
          <p14:tracePt t="39054" x="3927475" y="5416550"/>
          <p14:tracePt t="39055" x="3927475" y="5421313"/>
          <p14:tracePt t="39057" x="3932238" y="5421313"/>
          <p14:tracePt t="39058" x="3932238" y="5424488"/>
          <p14:tracePt t="39061" x="3935413" y="5429250"/>
          <p14:tracePt t="39062" x="3935413" y="5432425"/>
          <p14:tracePt t="39063" x="3940175" y="5432425"/>
          <p14:tracePt t="39064" x="3940175" y="5437188"/>
          <p14:tracePt t="39065" x="3943350" y="5437188"/>
          <p14:tracePt t="39066" x="3943350" y="5440363"/>
          <p14:tracePt t="39067" x="3948113" y="5440363"/>
          <p14:tracePt t="39068" x="3948113" y="5445125"/>
          <p14:tracePt t="39069" x="3951288" y="5445125"/>
          <p14:tracePt t="39070" x="3951288" y="5448300"/>
          <p14:tracePt t="39071" x="3956050" y="5448300"/>
          <p14:tracePt t="39073" x="3959225" y="5453063"/>
          <p14:tracePt t="39075" x="3959225" y="5456238"/>
          <p14:tracePt t="39078" x="3963988" y="5461000"/>
          <p14:tracePt t="39080" x="3967163" y="5461000"/>
          <p14:tracePt t="39081" x="3967163" y="5464175"/>
          <p14:tracePt t="39082" x="3971925" y="5464175"/>
          <p14:tracePt t="39083" x="3971925" y="5468938"/>
          <p14:tracePt t="39084" x="3976688" y="5468938"/>
          <p14:tracePt t="39086" x="3979863" y="5472113"/>
          <p14:tracePt t="39088" x="3984625" y="5476875"/>
          <p14:tracePt t="39090" x="3984625" y="5480050"/>
          <p14:tracePt t="39091" x="3987800" y="5480050"/>
          <p14:tracePt t="39092" x="3987800" y="5484813"/>
          <p14:tracePt t="39093" x="3992563" y="5484813"/>
          <p14:tracePt t="39095" x="3995738" y="5489575"/>
          <p14:tracePt t="39097" x="4000500" y="5489575"/>
          <p14:tracePt t="39098" x="4000500" y="5492750"/>
          <p14:tracePt t="39100" x="4000500" y="5497513"/>
          <p14:tracePt t="39101" x="4003675" y="5497513"/>
          <p14:tracePt t="39103" x="4008438" y="5497513"/>
          <p14:tracePt t="39104" x="4011613" y="5497513"/>
          <p14:tracePt t="39105" x="4016375" y="5500688"/>
          <p14:tracePt t="39107" x="4019550" y="5500688"/>
          <p14:tracePt t="39108" x="4019550" y="5505450"/>
          <p14:tracePt t="39109" x="4024313" y="5505450"/>
          <p14:tracePt t="39111" x="4027488" y="5508625"/>
          <p14:tracePt t="39113" x="4032250" y="5508625"/>
          <p14:tracePt t="39114" x="4035425" y="5513388"/>
          <p14:tracePt t="39116" x="4040188" y="5513388"/>
          <p14:tracePt t="39117" x="4040188" y="5516563"/>
          <p14:tracePt t="39120" x="4043363" y="5516563"/>
          <p14:tracePt t="39121" x="4043363" y="5521325"/>
          <p14:tracePt t="39122" x="4048125" y="5521325"/>
          <p14:tracePt t="39124" x="4051300" y="5521325"/>
          <p14:tracePt t="39126" x="4051300" y="5524500"/>
          <p14:tracePt t="39127" x="4056063" y="5524500"/>
          <p14:tracePt t="39129" x="4059238" y="5524500"/>
          <p14:tracePt t="39130" x="4059238" y="5529263"/>
          <p14:tracePt t="39132" x="4064000" y="5529263"/>
          <p14:tracePt t="39135" x="4068763" y="5529263"/>
          <p14:tracePt t="39137" x="4071938" y="5532438"/>
          <p14:tracePt t="39139" x="4076700" y="5532438"/>
          <p14:tracePt t="39142" x="4076700" y="5537200"/>
          <p14:tracePt t="39143" x="4079875" y="5537200"/>
          <p14:tracePt t="39152" x="4084638" y="5537200"/>
          <p14:tracePt t="39156" x="4087813" y="5537200"/>
          <p14:tracePt t="39159" x="4092575" y="5537200"/>
          <p14:tracePt t="39161" x="4092575" y="5540375"/>
          <p14:tracePt t="39163" x="4095750" y="5540375"/>
          <p14:tracePt t="39166" x="4100513" y="5540375"/>
          <p14:tracePt t="39169" x="4103688" y="5540375"/>
          <p14:tracePt t="39171" x="4108450" y="5540375"/>
          <p14:tracePt t="39172" x="4108450" y="5545138"/>
          <p14:tracePt t="39174" x="4111625" y="5545138"/>
          <p14:tracePt t="39176" x="4116388" y="5545138"/>
          <p14:tracePt t="39178" x="4119563" y="5548313"/>
          <p14:tracePt t="39182" x="4124325" y="5548313"/>
          <p14:tracePt t="39183" x="4124325" y="5553075"/>
          <p14:tracePt t="39184" x="4127500" y="5553075"/>
          <p14:tracePt t="39185" x="4132263" y="5553075"/>
          <p14:tracePt t="39187" x="4135438" y="5556250"/>
          <p14:tracePt t="39188" x="4140200" y="5556250"/>
          <p14:tracePt t="39189" x="4143375" y="5556250"/>
          <p14:tracePt t="39190" x="4148138" y="5556250"/>
          <p14:tracePt t="39191" x="4151313" y="5556250"/>
          <p14:tracePt t="39192" x="4156075" y="5556250"/>
          <p14:tracePt t="39194" x="4160838" y="5561013"/>
          <p14:tracePt t="39196" x="4164013" y="5561013"/>
          <p14:tracePt t="39197" x="4168775" y="5564188"/>
          <p14:tracePt t="39198" x="4171950" y="5564188"/>
          <p14:tracePt t="39199" x="4176713" y="5564188"/>
          <p14:tracePt t="39200" x="4179888" y="5568950"/>
          <p14:tracePt t="39201" x="4184650" y="5568950"/>
          <p14:tracePt t="39202" x="4187825" y="5568950"/>
          <p14:tracePt t="39203" x="4195763" y="5572125"/>
          <p14:tracePt t="39204" x="4200525" y="5572125"/>
          <p14:tracePt t="39205" x="4203700" y="5572125"/>
          <p14:tracePt t="39206" x="4208463" y="5572125"/>
          <p14:tracePt t="39207" x="4216400" y="5572125"/>
          <p14:tracePt t="39208" x="4216400" y="5576888"/>
          <p14:tracePt t="39209" x="4219575" y="5576888"/>
          <p14:tracePt t="39210" x="4224338" y="5576888"/>
          <p14:tracePt t="39211" x="4232275" y="5576888"/>
          <p14:tracePt t="39213" x="4240213" y="5581650"/>
          <p14:tracePt t="39214" x="4243388" y="5581650"/>
          <p14:tracePt t="39215" x="4248150" y="5581650"/>
          <p14:tracePt t="39216" x="4256088" y="5584825"/>
          <p14:tracePt t="39217" x="4260850" y="5584825"/>
          <p14:tracePt t="39218" x="4264025" y="5584825"/>
          <p14:tracePt t="39219" x="4268788" y="5584825"/>
          <p14:tracePt t="39221" x="4271963" y="5584825"/>
          <p14:tracePt t="39222" x="4276725" y="5584825"/>
          <p14:tracePt t="39223" x="4279900" y="5589588"/>
          <p14:tracePt t="39224" x="4284663" y="5589588"/>
          <p14:tracePt t="39225" x="4287838" y="5589588"/>
          <p14:tracePt t="39226" x="4295775" y="5589588"/>
          <p14:tracePt t="39227" x="4300538" y="5589588"/>
          <p14:tracePt t="39229" x="4308475" y="5592763"/>
          <p14:tracePt t="39230" x="4316413" y="5592763"/>
          <p14:tracePt t="39231" x="4319588" y="5592763"/>
          <p14:tracePt t="39233" x="4324350" y="5592763"/>
          <p14:tracePt t="39234" x="4327525" y="5592763"/>
          <p14:tracePt t="39235" x="4332288" y="5597525"/>
          <p14:tracePt t="39236" x="4340225" y="5597525"/>
          <p14:tracePt t="39237" x="4344988" y="5597525"/>
          <p14:tracePt t="39238" x="4348163" y="5600700"/>
          <p14:tracePt t="39239" x="4352925" y="5600700"/>
          <p14:tracePt t="39240" x="4356100" y="5600700"/>
          <p14:tracePt t="39241" x="4360863" y="5605463"/>
          <p14:tracePt t="39242" x="4364038" y="5605463"/>
          <p14:tracePt t="39243" x="4371975" y="5605463"/>
          <p14:tracePt t="39245" x="4376738" y="5605463"/>
          <p14:tracePt t="39246" x="4379913" y="5605463"/>
          <p14:tracePt t="39247" x="4384675" y="5605463"/>
          <p14:tracePt t="39248" x="4387850" y="5605463"/>
          <p14:tracePt t="39249" x="4392613" y="5608638"/>
          <p14:tracePt t="39250" x="4400550" y="5608638"/>
          <p14:tracePt t="39251" x="4403725" y="5608638"/>
          <p14:tracePt t="39252" x="4408488" y="5608638"/>
          <p14:tracePt t="39253" x="4411663" y="5608638"/>
          <p14:tracePt t="39255" x="4416425" y="5608638"/>
          <p14:tracePt t="39256" x="4419600" y="5608638"/>
          <p14:tracePt t="39258" x="4432300" y="5608638"/>
          <p14:tracePt t="39261" x="4440238" y="5608638"/>
          <p14:tracePt t="39262" x="4445000" y="5608638"/>
          <p14:tracePt t="39263" x="4448175" y="5608638"/>
          <p14:tracePt t="39264" x="4452938" y="5608638"/>
          <p14:tracePt t="39265" x="4456113" y="5608638"/>
          <p14:tracePt t="39266" x="4460875" y="5608638"/>
          <p14:tracePt t="39267" x="4464050" y="5608638"/>
          <p14:tracePt t="39268" x="4468813" y="5608638"/>
          <p14:tracePt t="39269" x="4471988" y="5608638"/>
          <p14:tracePt t="39271" x="4476750" y="5608638"/>
          <p14:tracePt t="39272" x="4479925" y="5608638"/>
          <p14:tracePt t="39273" x="4484688" y="5608638"/>
          <p14:tracePt t="39274" x="4487863" y="5608638"/>
          <p14:tracePt t="39275" x="4492625" y="5608638"/>
          <p14:tracePt t="39276" x="4495800" y="5608638"/>
          <p14:tracePt t="39277" x="4500563" y="5608638"/>
          <p14:tracePt t="39278" x="4503738" y="5608638"/>
          <p14:tracePt t="39279" x="4511675" y="5608638"/>
          <p14:tracePt t="39281" x="4521200" y="5608638"/>
          <p14:tracePt t="39282" x="4524375" y="5608638"/>
          <p14:tracePt t="39283" x="4529138" y="5608638"/>
          <p14:tracePt t="39285" x="4532313" y="5608638"/>
          <p14:tracePt t="39286" x="4537075" y="5608638"/>
          <p14:tracePt t="39287" x="4540250" y="5608638"/>
          <p14:tracePt t="39288" x="4545013" y="5608638"/>
          <p14:tracePt t="39290" x="4548188" y="5608638"/>
          <p14:tracePt t="39291" x="4552950" y="5608638"/>
          <p14:tracePt t="39292" x="4556125" y="5608638"/>
          <p14:tracePt t="39293" x="4560888" y="5608638"/>
          <p14:tracePt t="39294" x="4564063" y="5608638"/>
          <p14:tracePt t="39295" x="4568825" y="5608638"/>
          <p14:tracePt t="39297" x="4572000" y="5608638"/>
          <p14:tracePt t="39298" x="4576763" y="5608638"/>
          <p14:tracePt t="39299" x="4576763" y="5605463"/>
          <p14:tracePt t="39300" x="4579938" y="5605463"/>
          <p14:tracePt t="39301" x="4584700" y="5605463"/>
          <p14:tracePt t="39302" x="4587875" y="5605463"/>
          <p14:tracePt t="39303" x="4592638" y="5605463"/>
          <p14:tracePt t="39304" x="4595813" y="5605463"/>
          <p14:tracePt t="39305" x="4600575" y="5605463"/>
          <p14:tracePt t="39306" x="4603750" y="5605463"/>
          <p14:tracePt t="39307" x="4608513" y="5600700"/>
          <p14:tracePt t="39309" x="4613275" y="5600700"/>
          <p14:tracePt t="39311" x="4621213" y="5597525"/>
          <p14:tracePt t="39312" x="4624388" y="5597525"/>
          <p14:tracePt t="39313" x="4629150" y="5597525"/>
          <p14:tracePt t="39314" x="4632325" y="5597525"/>
          <p14:tracePt t="39315" x="4637088" y="5597525"/>
          <p14:tracePt t="39316" x="4640263" y="5592763"/>
          <p14:tracePt t="39317" x="4645025" y="5592763"/>
          <p14:tracePt t="39318" x="4648200" y="5592763"/>
          <p14:tracePt t="39321" x="4652963" y="5589588"/>
          <p14:tracePt t="39322" x="4656138" y="5589588"/>
          <p14:tracePt t="39323" x="4660900" y="5589588"/>
          <p14:tracePt t="39324" x="4664075" y="5589588"/>
          <p14:tracePt t="39326" x="4668838" y="5589588"/>
          <p14:tracePt t="39327" x="4672013" y="5589588"/>
          <p14:tracePt t="39329" x="4676775" y="5589588"/>
          <p14:tracePt t="39330" x="4679950" y="5584825"/>
          <p14:tracePt t="39331" x="4684713" y="5584825"/>
          <p14:tracePt t="39332" x="4687888" y="5581650"/>
          <p14:tracePt t="39334" x="4692650" y="5581650"/>
          <p14:tracePt t="39335" x="4692650" y="5576888"/>
          <p14:tracePt t="39337" x="4697413" y="5576888"/>
          <p14:tracePt t="39338" x="4700588" y="5576888"/>
          <p14:tracePt t="39339" x="4705350" y="5572125"/>
          <p14:tracePt t="39340" x="4708525" y="5572125"/>
          <p14:tracePt t="39343" x="4713288" y="5568950"/>
          <p14:tracePt t="39344" x="4716463" y="5568950"/>
          <p14:tracePt t="39346" x="4721225" y="5564188"/>
          <p14:tracePt t="39348" x="4724400" y="5561013"/>
          <p14:tracePt t="39350" x="4729163" y="5556250"/>
          <p14:tracePt t="39352" x="4732338" y="5556250"/>
          <p14:tracePt t="39353" x="4732338" y="5553075"/>
          <p14:tracePt t="39356" x="4732338" y="5548313"/>
          <p14:tracePt t="39357" x="4737100" y="5548313"/>
          <p14:tracePt t="39359" x="4740275" y="5548313"/>
          <p14:tracePt t="39362" x="4745038" y="5545138"/>
          <p14:tracePt t="39364" x="4745038" y="5540375"/>
          <p14:tracePt t="39365" x="4748213" y="5540375"/>
          <p14:tracePt t="39367" x="4748213" y="5537200"/>
          <p14:tracePt t="39369" x="4752975" y="5537200"/>
          <p14:tracePt t="39370" x="4752975" y="5532438"/>
          <p14:tracePt t="39372" x="4752975" y="5529263"/>
          <p14:tracePt t="39373" x="4756150" y="5529263"/>
          <p14:tracePt t="39374" x="4756150" y="5524500"/>
          <p14:tracePt t="39375" x="4760913" y="5524500"/>
          <p14:tracePt t="39378" x="4764088" y="5521325"/>
          <p14:tracePt t="39380" x="4764088" y="5516563"/>
          <p14:tracePt t="39381" x="4768850" y="5516563"/>
          <p14:tracePt t="39382" x="4768850" y="5513388"/>
          <p14:tracePt t="39384" x="4768850" y="5508625"/>
          <p14:tracePt t="39387" x="4772025" y="5508625"/>
          <p14:tracePt t="39388" x="4772025" y="5505450"/>
          <p14:tracePt t="39391" x="4772025" y="5500688"/>
          <p14:tracePt t="39392" x="4776788" y="5500688"/>
          <p14:tracePt t="39393" x="4776788" y="5497513"/>
          <p14:tracePt t="39395" x="4779963" y="5492750"/>
          <p14:tracePt t="39397" x="4779963" y="5489575"/>
          <p14:tracePt t="39399" x="4779963" y="5484813"/>
          <p14:tracePt t="39400" x="4784725" y="5480050"/>
          <p14:tracePt t="39403" x="4784725" y="5476875"/>
          <p14:tracePt t="39405" x="4784725" y="5472113"/>
          <p14:tracePt t="39407" x="4784725" y="5468938"/>
          <p14:tracePt t="39409" x="4789488" y="5468938"/>
          <p14:tracePt t="39411" x="4789488" y="5464175"/>
          <p14:tracePt t="39413" x="4789488" y="5461000"/>
          <p14:tracePt t="39414" x="4789488" y="5456238"/>
          <p14:tracePt t="39416" x="4789488" y="5453063"/>
          <p14:tracePt t="39418" x="4789488" y="5448300"/>
          <p14:tracePt t="39419" x="4792663" y="5445125"/>
          <p14:tracePt t="39421" x="4792663" y="5440363"/>
          <p14:tracePt t="39423" x="4792663" y="5437188"/>
          <p14:tracePt t="39424" x="4792663" y="5432425"/>
          <p14:tracePt t="39426" x="4792663" y="5429250"/>
          <p14:tracePt t="39430" x="4792663" y="5424488"/>
          <p14:tracePt t="39431" x="4792663" y="5421313"/>
          <p14:tracePt t="39434" x="4792663" y="5416550"/>
          <p14:tracePt t="39435" x="4792663" y="5413375"/>
          <p14:tracePt t="39437" x="4792663" y="5408613"/>
          <p14:tracePt t="39439" x="4792663" y="5405438"/>
          <p14:tracePt t="39442" x="4792663" y="5400675"/>
          <p14:tracePt t="39445" x="4792663" y="5397500"/>
          <p14:tracePt t="39447" x="4792663" y="5392738"/>
          <p14:tracePt t="39449" x="4789488" y="5387975"/>
          <p14:tracePt t="39453" x="4784725" y="5384800"/>
          <p14:tracePt t="39455" x="4784725" y="5380038"/>
          <p14:tracePt t="39458" x="4779963" y="5376863"/>
          <p14:tracePt t="39461" x="4779963" y="5368925"/>
          <p14:tracePt t="39462" x="4776788" y="5368925"/>
          <p14:tracePt t="39464" x="4776788" y="5364163"/>
          <p14:tracePt t="39466" x="4776788" y="5360988"/>
          <p14:tracePt t="39468" x="4772025" y="5360988"/>
          <p14:tracePt t="39469" x="4772025" y="5356225"/>
          <p14:tracePt t="39471" x="4768850" y="5353050"/>
          <p14:tracePt t="39472" x="4768850" y="5348288"/>
          <p14:tracePt t="39473" x="4764088" y="5348288"/>
          <p14:tracePt t="39475" x="4764088" y="5345113"/>
          <p14:tracePt t="39476" x="4760913" y="5345113"/>
          <p14:tracePt t="39479" x="4756150" y="5345113"/>
          <p14:tracePt t="39480" x="4756150" y="5340350"/>
          <p14:tracePt t="39481" x="4752975" y="5340350"/>
          <p14:tracePt t="39482" x="4752975" y="5337175"/>
          <p14:tracePt t="39484" x="4748213" y="5332413"/>
          <p14:tracePt t="39487" x="4745038" y="5329238"/>
          <p14:tracePt t="39489" x="4745038" y="5324475"/>
          <p14:tracePt t="39490" x="4740275" y="5324475"/>
          <p14:tracePt t="39492" x="4737100" y="5321300"/>
          <p14:tracePt t="39496" x="4737100" y="5316538"/>
          <p14:tracePt t="39497" x="4737100" y="5313363"/>
          <p14:tracePt t="39498" x="4732338" y="5313363"/>
          <p14:tracePt t="39500" x="4729163" y="5308600"/>
          <p14:tracePt t="39501" x="4724400" y="5305425"/>
          <p14:tracePt t="39502" x="4721225" y="5305425"/>
          <p14:tracePt t="39504" x="4716463" y="5305425"/>
          <p14:tracePt t="39505" x="4716463" y="5300663"/>
          <p14:tracePt t="39506" x="4713288" y="5300663"/>
          <p14:tracePt t="39507" x="4708525" y="5300663"/>
          <p14:tracePt t="39508" x="4705350" y="5295900"/>
          <p14:tracePt t="39509" x="4700588" y="5295900"/>
          <p14:tracePt t="39511" x="4692650" y="5292725"/>
          <p14:tracePt t="39513" x="4687888" y="5287963"/>
          <p14:tracePt t="39514" x="4687888" y="5284788"/>
          <p14:tracePt t="39515" x="4684713" y="5284788"/>
          <p14:tracePt t="39516" x="4679950" y="5280025"/>
          <p14:tracePt t="39517" x="4676775" y="5280025"/>
          <p14:tracePt t="39518" x="4672013" y="5276850"/>
          <p14:tracePt t="39519" x="4668838" y="5276850"/>
          <p14:tracePt t="39520" x="4664075" y="5276850"/>
          <p14:tracePt t="39521" x="4660900" y="5272088"/>
          <p14:tracePt t="39522" x="4656138" y="5268913"/>
          <p14:tracePt t="39523" x="4652963" y="5268913"/>
          <p14:tracePt t="39524" x="4648200" y="5264150"/>
          <p14:tracePt t="39525" x="4640263" y="5264150"/>
          <p14:tracePt t="39526" x="4640263" y="5260975"/>
          <p14:tracePt t="39527" x="4637088" y="5260975"/>
          <p14:tracePt t="39528" x="4632325" y="5260975"/>
          <p14:tracePt t="39530" x="4621213" y="5256213"/>
          <p14:tracePt t="39531" x="4616450" y="5253038"/>
          <p14:tracePt t="39532" x="4608513" y="5253038"/>
          <p14:tracePt t="39533" x="4603750" y="5253038"/>
          <p14:tracePt t="39534" x="4600575" y="5248275"/>
          <p14:tracePt t="39535" x="4592638" y="5248275"/>
          <p14:tracePt t="39536" x="4584700" y="5245100"/>
          <p14:tracePt t="39537" x="4579938" y="5245100"/>
          <p14:tracePt t="39538" x="4576763" y="5240338"/>
          <p14:tracePt t="39539" x="4568825" y="5240338"/>
          <p14:tracePt t="39540" x="4564063" y="5237163"/>
          <p14:tracePt t="39541" x="4560888" y="5237163"/>
          <p14:tracePt t="39542" x="4552950" y="5232400"/>
          <p14:tracePt t="39543" x="4545013" y="5232400"/>
          <p14:tracePt t="39545" x="4532313" y="5229225"/>
          <p14:tracePt t="39547" x="4524375" y="5224463"/>
          <p14:tracePt t="39548" x="4521200" y="5224463"/>
          <p14:tracePt t="39549" x="4516438" y="5221288"/>
          <p14:tracePt t="39550" x="4508500" y="5221288"/>
          <p14:tracePt t="39551" x="4503738" y="5216525"/>
          <p14:tracePt t="39552" x="4495800" y="5216525"/>
          <p14:tracePt t="39553" x="4487863" y="5213350"/>
          <p14:tracePt t="39554" x="4484688" y="5213350"/>
          <p14:tracePt t="39555" x="4476750" y="5213350"/>
          <p14:tracePt t="39556" x="4468813" y="5208588"/>
          <p14:tracePt t="39557" x="4460875" y="5208588"/>
          <p14:tracePt t="39558" x="4456113" y="5208588"/>
          <p14:tracePt t="39559" x="4448175" y="5208588"/>
          <p14:tracePt t="39560" x="4440238" y="5208588"/>
          <p14:tracePt t="39561" x="4432300" y="5208588"/>
          <p14:tracePt t="39562" x="4424363" y="5203825"/>
          <p14:tracePt t="39564" x="4411663" y="5200650"/>
          <p14:tracePt t="39565" x="4403725" y="5200650"/>
          <p14:tracePt t="39566" x="4400550" y="5200650"/>
          <p14:tracePt t="39567" x="4387850" y="5195888"/>
          <p14:tracePt t="39568" x="4384675" y="5195888"/>
          <p14:tracePt t="39569" x="4376738" y="5192713"/>
          <p14:tracePt t="39570" x="4368800" y="5192713"/>
          <p14:tracePt t="39571" x="4364038" y="5192713"/>
          <p14:tracePt t="39572" x="4352925" y="5187950"/>
          <p14:tracePt t="39574" x="4348163" y="5187950"/>
          <p14:tracePt t="39574" x="4340225" y="5187950"/>
          <p14:tracePt t="39575" x="4337050" y="5184775"/>
          <p14:tracePt t="39576" x="4327525" y="5184775"/>
          <p14:tracePt t="39577" x="4319588" y="5184775"/>
          <p14:tracePt t="39578" x="4311650" y="5184775"/>
          <p14:tracePt t="39579" x="4308475" y="5184775"/>
          <p14:tracePt t="39580" x="4300538" y="5180013"/>
          <p14:tracePt t="39581" x="4295775" y="5180013"/>
          <p14:tracePt t="39582" x="4287838" y="5180013"/>
          <p14:tracePt t="39583" x="4279900" y="5180013"/>
          <p14:tracePt t="39584" x="4276725" y="5176838"/>
          <p14:tracePt t="39585" x="4268788" y="5176838"/>
          <p14:tracePt t="39586" x="4264025" y="5176838"/>
          <p14:tracePt t="39587" x="4260850" y="5176838"/>
          <p14:tracePt t="39588" x="4252913" y="5176838"/>
          <p14:tracePt t="39589" x="4252913" y="5172075"/>
          <p14:tracePt t="39590" x="4243388" y="5172075"/>
          <p14:tracePt t="39591" x="4240213" y="5172075"/>
          <p14:tracePt t="39592" x="4235450" y="5172075"/>
          <p14:tracePt t="39593" x="4227513" y="5172075"/>
          <p14:tracePt t="39594" x="4224338" y="5172075"/>
          <p14:tracePt t="39595" x="4219575" y="5172075"/>
          <p14:tracePt t="39596" x="4216400" y="5168900"/>
          <p14:tracePt t="39597" x="4211638" y="5168900"/>
          <p14:tracePt t="39598" x="4203700" y="5168900"/>
          <p14:tracePt t="39599" x="4200525" y="5168900"/>
          <p14:tracePt t="39600" x="4195763" y="5168900"/>
          <p14:tracePt t="39602" x="4192588" y="5168900"/>
          <p14:tracePt t="39603" x="4187825" y="5168900"/>
          <p14:tracePt t="39604" x="4184650" y="5168900"/>
          <p14:tracePt t="39605" x="4179888" y="5168900"/>
          <p14:tracePt t="39606" x="4176713" y="5168900"/>
          <p14:tracePt t="39607" x="4171950" y="5168900"/>
          <p14:tracePt t="39608" x="4168775" y="5168900"/>
          <p14:tracePt t="39609" x="4164013" y="5168900"/>
          <p14:tracePt t="39610" x="4160838" y="5168900"/>
          <p14:tracePt t="39611" x="4156075" y="5168900"/>
          <p14:tracePt t="39613" x="4151313" y="5168900"/>
          <p14:tracePt t="39614" x="4148138" y="5168900"/>
          <p14:tracePt t="39616" x="4143375" y="5168900"/>
          <p14:tracePt t="39617" x="4140200" y="5168900"/>
          <p14:tracePt t="39618" x="4135438" y="5168900"/>
          <p14:tracePt t="39620" x="4132263" y="5168900"/>
          <p14:tracePt t="39620" x="4127500" y="5168900"/>
          <p14:tracePt t="39621" x="4124325" y="5168900"/>
          <p14:tracePt t="39623" x="4119563" y="5168900"/>
          <p14:tracePt t="39624" x="4116388" y="5168900"/>
          <p14:tracePt t="39625" x="4111625" y="5168900"/>
          <p14:tracePt t="39628" x="4108450" y="5168900"/>
          <p14:tracePt t="39630" x="4103688" y="5168900"/>
          <p14:tracePt t="39631" x="4100513" y="5168900"/>
          <p14:tracePt t="39633" x="4095750" y="5168900"/>
          <p14:tracePt t="39634" x="4092575" y="5168900"/>
          <p14:tracePt t="39636" x="4087813" y="5168900"/>
          <p14:tracePt t="39637" x="4084638" y="5168900"/>
          <p14:tracePt t="39638" x="4079875" y="5168900"/>
          <p14:tracePt t="39640" x="4076700" y="5168900"/>
          <p14:tracePt t="39642" x="4071938" y="5168900"/>
          <p14:tracePt t="39644" x="4068763" y="5168900"/>
          <p14:tracePt t="39646" x="4064000" y="5168900"/>
          <p14:tracePt t="39648" x="4059238" y="5168900"/>
          <p14:tracePt t="39649" x="4056063" y="5168900"/>
          <p14:tracePt t="39651" x="4051300" y="5168900"/>
          <p14:tracePt t="39652" x="4048125" y="5172075"/>
          <p14:tracePt t="39654" x="4043363" y="5172075"/>
          <p14:tracePt t="39655" x="4040188" y="5172075"/>
          <p14:tracePt t="39657" x="4035425" y="5176838"/>
          <p14:tracePt t="39658" x="4032250" y="5176838"/>
          <p14:tracePt t="39661" x="4027488" y="5180013"/>
          <p14:tracePt t="39662" x="4024313" y="5180013"/>
          <p14:tracePt t="39664" x="4019550" y="5184775"/>
          <p14:tracePt t="39666" x="4011613" y="5184775"/>
          <p14:tracePt t="39668" x="4008438" y="5187950"/>
          <p14:tracePt t="39669" x="4003675" y="5187950"/>
          <p14:tracePt t="39670" x="4000500" y="5187950"/>
          <p14:tracePt t="39671" x="3995738" y="5192713"/>
          <p14:tracePt t="39672" x="3992563" y="5192713"/>
          <p14:tracePt t="39673" x="3992563" y="5195888"/>
          <p14:tracePt t="39674" x="3987800" y="5195888"/>
          <p14:tracePt t="39675" x="3984625" y="5200650"/>
          <p14:tracePt t="39678" x="3979863" y="5203825"/>
          <p14:tracePt t="39679" x="3971925" y="5208588"/>
          <p14:tracePt t="39680" x="3967163" y="5208588"/>
          <p14:tracePt t="39681" x="3963988" y="5213350"/>
          <p14:tracePt t="39683" x="3959225" y="5216525"/>
          <p14:tracePt t="39684" x="3956050" y="5221288"/>
          <p14:tracePt t="39685" x="3951288" y="5221288"/>
          <p14:tracePt t="39686" x="3951288" y="5224463"/>
          <p14:tracePt t="39688" x="3948113" y="5224463"/>
          <p14:tracePt t="39689" x="3943350" y="5229225"/>
          <p14:tracePt t="39691" x="3940175" y="5232400"/>
          <p14:tracePt t="39693" x="3940175" y="5237163"/>
          <p14:tracePt t="39694" x="3935413" y="5240338"/>
          <p14:tracePt t="39696" x="3932238" y="5245100"/>
          <p14:tracePt t="39697" x="3932238" y="5248275"/>
          <p14:tracePt t="39698" x="3927475" y="5248275"/>
          <p14:tracePt t="39699" x="3924300" y="5253038"/>
          <p14:tracePt t="39701" x="3924300" y="5256213"/>
          <p14:tracePt t="39702" x="3919538" y="5256213"/>
          <p14:tracePt t="39703" x="3919538" y="5260975"/>
          <p14:tracePt t="39705" x="3916363" y="5264150"/>
          <p14:tracePt t="39708" x="3916363" y="5268913"/>
          <p14:tracePt t="39710" x="3916363" y="5272088"/>
          <p14:tracePt t="39711" x="3916363" y="5276850"/>
          <p14:tracePt t="39713" x="3916363" y="5280025"/>
          <p14:tracePt t="39714" x="3916363" y="5284788"/>
          <p14:tracePt t="39716" x="3916363" y="5287963"/>
          <p14:tracePt t="39717" x="3916363" y="5292725"/>
          <p14:tracePt t="39719" x="3916363" y="5295900"/>
          <p14:tracePt t="39720" x="3916363" y="5300663"/>
          <p14:tracePt t="39722" x="3916363" y="5305425"/>
          <p14:tracePt t="39725" x="3916363" y="5308600"/>
          <p14:tracePt t="39726" x="3916363" y="5313363"/>
          <p14:tracePt t="39728" x="3916363" y="5316538"/>
          <p14:tracePt t="39730" x="3916363" y="5321300"/>
          <p14:tracePt t="39731" x="3916363" y="5324475"/>
          <p14:tracePt t="39733" x="3916363" y="5329238"/>
          <p14:tracePt t="39734" x="3916363" y="5332413"/>
          <p14:tracePt t="39736" x="3919538" y="5337175"/>
          <p14:tracePt t="39737" x="3919538" y="5340350"/>
          <p14:tracePt t="39739" x="3919538" y="5345113"/>
          <p14:tracePt t="39741" x="3919538" y="5348288"/>
          <p14:tracePt t="39744" x="3924300" y="5348288"/>
          <p14:tracePt t="39745" x="3924300" y="5353050"/>
          <p14:tracePt t="39747" x="3927475" y="5356225"/>
          <p14:tracePt t="39749" x="3927475" y="5360988"/>
          <p14:tracePt t="39750" x="3932238" y="5364163"/>
          <p14:tracePt t="39752" x="3935413" y="5368925"/>
          <p14:tracePt t="39754" x="3940175" y="5372100"/>
          <p14:tracePt t="39755" x="3940175" y="5376863"/>
          <p14:tracePt t="39757" x="3940175" y="5380038"/>
          <p14:tracePt t="39758" x="3943350" y="5380038"/>
          <p14:tracePt t="39759" x="3943350" y="5384800"/>
          <p14:tracePt t="39761" x="3948113" y="5387975"/>
          <p14:tracePt t="39763" x="3951288" y="5392738"/>
          <p14:tracePt t="39765" x="3956050" y="5397500"/>
          <p14:tracePt t="39766" x="3959225" y="5397500"/>
          <p14:tracePt t="39767" x="3959225" y="5400675"/>
          <p14:tracePt t="39768" x="3963988" y="5405438"/>
          <p14:tracePt t="39769" x="3967163" y="5405438"/>
          <p14:tracePt t="39770" x="3971925" y="5408613"/>
          <p14:tracePt t="39771" x="3976688" y="5413375"/>
          <p14:tracePt t="39772" x="3979863" y="5413375"/>
          <p14:tracePt t="39773" x="3984625" y="5416550"/>
          <p14:tracePt t="39774" x="3987800" y="5416550"/>
          <p14:tracePt t="39775" x="3987800" y="5421313"/>
          <p14:tracePt t="39776" x="3995738" y="5424488"/>
          <p14:tracePt t="39778" x="4000500" y="5429250"/>
          <p14:tracePt t="39779" x="4003675" y="5432425"/>
          <p14:tracePt t="39780" x="4008438" y="5432425"/>
          <p14:tracePt t="39781" x="4011613" y="5432425"/>
          <p14:tracePt t="39782" x="4016375" y="5437188"/>
          <p14:tracePt t="39783" x="4024313" y="5437188"/>
          <p14:tracePt t="39784" x="4027488" y="5440363"/>
          <p14:tracePt t="39785" x="4032250" y="5445125"/>
          <p14:tracePt t="39786" x="4040188" y="5448300"/>
          <p14:tracePt t="39787" x="4043363" y="5448300"/>
          <p14:tracePt t="39788" x="4048125" y="5453063"/>
          <p14:tracePt t="39790" x="4056063" y="5456238"/>
          <p14:tracePt t="39791" x="4059238" y="5461000"/>
          <p14:tracePt t="39792" x="4068763" y="5461000"/>
          <p14:tracePt t="39793" x="4071938" y="5464175"/>
          <p14:tracePt t="39794" x="4079875" y="5464175"/>
          <p14:tracePt t="39795" x="4084638" y="5468938"/>
          <p14:tracePt t="39796" x="4092575" y="5472113"/>
          <p14:tracePt t="39797" x="4100513" y="5472113"/>
          <p14:tracePt t="39798" x="4103688" y="5476875"/>
          <p14:tracePt t="39799" x="4111625" y="5476875"/>
          <p14:tracePt t="39800" x="4119563" y="5480050"/>
          <p14:tracePt t="39801" x="4127500" y="5480050"/>
          <p14:tracePt t="39802" x="4135438" y="5484813"/>
          <p14:tracePt t="39803" x="4148138" y="5489575"/>
          <p14:tracePt t="39804" x="4156075" y="5489575"/>
          <p14:tracePt t="39805" x="4164013" y="5492750"/>
          <p14:tracePt t="39806" x="4171950" y="5497513"/>
          <p14:tracePt t="39807" x="4179888" y="5497513"/>
          <p14:tracePt t="39808" x="4187825" y="5500688"/>
          <p14:tracePt t="39809" x="4195763" y="5500688"/>
          <p14:tracePt t="39810" x="4203700" y="5505450"/>
          <p14:tracePt t="39811" x="4216400" y="5505450"/>
          <p14:tracePt t="39812" x="4227513" y="5513388"/>
          <p14:tracePt t="39814" x="4243388" y="5516563"/>
          <p14:tracePt t="39815" x="4260850" y="5521325"/>
          <p14:tracePt t="39816" x="4268788" y="5521325"/>
          <p14:tracePt t="39817" x="4279900" y="5524500"/>
          <p14:tracePt t="39818" x="4287838" y="5524500"/>
          <p14:tracePt t="39819" x="4295775" y="5524500"/>
          <p14:tracePt t="39820" x="4308475" y="5529263"/>
          <p14:tracePt t="39821" x="4319588" y="5529263"/>
          <p14:tracePt t="39822" x="4337050" y="5532438"/>
          <p14:tracePt t="39823" x="4344988" y="5532438"/>
          <p14:tracePt t="39824" x="4352925" y="5537200"/>
          <p14:tracePt t="39825" x="4364038" y="5537200"/>
          <p14:tracePt t="39826" x="4371975" y="5540375"/>
          <p14:tracePt t="39827" x="4387850" y="5540375"/>
          <p14:tracePt t="39828" x="4400550" y="5548313"/>
          <p14:tracePt t="39829" x="4408488" y="5548313"/>
          <p14:tracePt t="39830" x="4424363" y="5548313"/>
          <p14:tracePt t="39831" x="4432300" y="5553075"/>
          <p14:tracePt t="39832" x="4445000" y="5553075"/>
          <p14:tracePt t="39833" x="4460875" y="5553075"/>
          <p14:tracePt t="39834" x="4468813" y="5556250"/>
          <p14:tracePt t="39835" x="4476750" y="5556250"/>
          <p14:tracePt t="39836" x="4487863" y="5556250"/>
          <p14:tracePt t="39837" x="4503738" y="5556250"/>
          <p14:tracePt t="39838" x="4511675" y="5561013"/>
          <p14:tracePt t="39839" x="4521200" y="5561013"/>
          <p14:tracePt t="39840" x="4537075" y="5561013"/>
          <p14:tracePt t="39841" x="4545013" y="5561013"/>
          <p14:tracePt t="39842" x="4556125" y="5564188"/>
          <p14:tracePt t="39843" x="4564063" y="5564188"/>
          <p14:tracePt t="39844" x="4572000" y="5564188"/>
          <p14:tracePt t="39845" x="4579938" y="5564188"/>
          <p14:tracePt t="39846" x="4595813" y="5564188"/>
          <p14:tracePt t="39847" x="4603750" y="5564188"/>
          <p14:tracePt t="39848" x="4613275" y="5564188"/>
          <p14:tracePt t="39849" x="4621213" y="5564188"/>
          <p14:tracePt t="39850" x="4629150" y="5564188"/>
          <p14:tracePt t="39851" x="4637088" y="5564188"/>
          <p14:tracePt t="39852" x="4645025" y="5568950"/>
          <p14:tracePt t="39853" x="4652963" y="5568950"/>
          <p14:tracePt t="39854" x="4656138" y="5568950"/>
          <p14:tracePt t="39855" x="4664075" y="5568950"/>
          <p14:tracePt t="39856" x="4672013" y="5568950"/>
          <p14:tracePt t="39857" x="4676775" y="5568950"/>
          <p14:tracePt t="39858" x="4684713" y="5568950"/>
          <p14:tracePt t="39859" x="4687888" y="5568950"/>
          <p14:tracePt t="39860" x="4697413" y="5568950"/>
          <p14:tracePt t="39861" x="4700588" y="5568950"/>
          <p14:tracePt t="39862" x="4708525" y="5568950"/>
          <p14:tracePt t="39864" x="4713288" y="5568950"/>
          <p14:tracePt t="39865" x="4716463" y="5568950"/>
          <p14:tracePt t="39866" x="4721225" y="5568950"/>
          <p14:tracePt t="39867" x="4729163" y="5568950"/>
          <p14:tracePt t="39868" x="4732338" y="5568950"/>
          <p14:tracePt t="39869" x="4737100" y="5568950"/>
          <p14:tracePt t="39870" x="4740275" y="5568950"/>
          <p14:tracePt t="39871" x="4745038" y="5568950"/>
          <p14:tracePt t="39872" x="4748213" y="5568950"/>
          <p14:tracePt t="39874" x="4752975" y="5568950"/>
          <p14:tracePt t="39875" x="4756150" y="5568950"/>
          <p14:tracePt t="39878" x="4764088" y="5568950"/>
          <p14:tracePt t="39880" x="4768850" y="5568950"/>
          <p14:tracePt t="39882" x="4772025" y="5568950"/>
          <p14:tracePt t="39883" x="4776788" y="5568950"/>
          <p14:tracePt t="39895" x="4792663" y="5564188"/>
          <p14:tracePt t="39897" x="4797425" y="5564188"/>
          <p14:tracePt t="39899" x="4800600" y="5564188"/>
          <p14:tracePt t="39905" x="4800600" y="5561013"/>
          <p14:tracePt t="39909" x="4805363" y="5561013"/>
          <p14:tracePt t="39916" x="4808538" y="5561013"/>
          <p14:tracePt t="39922" x="4813300" y="5561013"/>
          <p14:tracePt t="39924" x="4816475" y="5561013"/>
          <p14:tracePt t="39925" x="4816475" y="5556250"/>
          <p14:tracePt t="39927" x="4821238" y="5556250"/>
          <p14:tracePt t="39929" x="4824413" y="5553075"/>
          <p14:tracePt t="39931" x="4829175" y="5553075"/>
          <p14:tracePt t="39933" x="4832350" y="5553075"/>
          <p14:tracePt t="39934" x="4837113" y="5548313"/>
          <p14:tracePt t="39935" x="4840288" y="5548313"/>
          <p14:tracePt t="39937" x="4840288" y="5545138"/>
          <p14:tracePt t="39939" x="4845050" y="5545138"/>
          <p14:tracePt t="39941" x="4848225" y="5540375"/>
          <p14:tracePt t="39943" x="4852988" y="5540375"/>
          <p14:tracePt t="39944" x="4856163" y="5537200"/>
          <p14:tracePt t="39946" x="4860925" y="5537200"/>
          <p14:tracePt t="39948" x="4864100" y="5537200"/>
          <p14:tracePt t="39949" x="4864100" y="5532438"/>
          <p14:tracePt t="39950" x="4868863" y="5532438"/>
          <p14:tracePt t="39951" x="4872038" y="5532438"/>
          <p14:tracePt t="39953" x="4876800" y="5532438"/>
          <p14:tracePt t="39954" x="4881563" y="5529263"/>
          <p14:tracePt t="39957" x="4881563" y="5524500"/>
          <p14:tracePt t="39958" x="4884738" y="5524500"/>
          <p14:tracePt t="39960" x="4889500" y="5521325"/>
          <p14:tracePt t="39961" x="4892675" y="5521325"/>
          <p14:tracePt t="39963" x="4897438" y="5521325"/>
          <p14:tracePt t="39964" x="4897438" y="5516563"/>
          <p14:tracePt t="39965" x="4900613" y="5516563"/>
          <p14:tracePt t="39966" x="4905375" y="5516563"/>
          <p14:tracePt t="39968" x="4908550" y="5516563"/>
          <p14:tracePt t="39970" x="4913313" y="5516563"/>
          <p14:tracePt t="39972" x="4916488" y="5513388"/>
          <p14:tracePt t="39974" x="4921250" y="5513388"/>
          <p14:tracePt t="39976" x="4921250" y="5508625"/>
          <p14:tracePt t="39977" x="4924425" y="5508625"/>
          <p14:tracePt t="39979" x="4929188" y="5508625"/>
          <p14:tracePt t="39981" x="4929188" y="5505450"/>
          <p14:tracePt t="39982" x="4932363" y="5505450"/>
          <p14:tracePt t="39984" x="4937125" y="5505450"/>
          <p14:tracePt t="39987" x="4940300" y="5500688"/>
          <p14:tracePt t="39989" x="4945063" y="5500688"/>
          <p14:tracePt t="39993" x="4948238" y="5500688"/>
          <p14:tracePt t="39995" x="4948238" y="5497513"/>
          <p14:tracePt t="40007" x="4948238" y="5492750"/>
          <p14:tracePt t="40011" x="4953000" y="5492750"/>
          <p14:tracePt t="40030" x="4953000" y="5489575"/>
          <p14:tracePt t="40075" x="4953000" y="5484813"/>
          <p14:tracePt t="40084" x="4948238" y="5484813"/>
          <p14:tracePt t="40087" x="4945063" y="5480050"/>
          <p14:tracePt t="40090" x="4940300" y="5480050"/>
          <p14:tracePt t="40092" x="4940300" y="5476875"/>
          <p14:tracePt t="40093" x="4937125" y="5476875"/>
          <p14:tracePt t="40095" x="4932363" y="5476875"/>
          <p14:tracePt t="40096" x="4929188" y="5472113"/>
          <p14:tracePt t="40098" x="4924425" y="5472113"/>
          <p14:tracePt t="40099" x="4924425" y="5468938"/>
          <p14:tracePt t="40100" x="4921250" y="5468938"/>
          <p14:tracePt t="40102" x="4916488" y="5468938"/>
          <p14:tracePt t="40103" x="4913313" y="5464175"/>
          <p14:tracePt t="40105" x="4908550" y="5464175"/>
          <p14:tracePt t="40106" x="4905375" y="5461000"/>
          <p14:tracePt t="40107" x="4900613" y="5461000"/>
          <p14:tracePt t="40109" x="4892675" y="5456238"/>
          <p14:tracePt t="40110" x="4889500" y="5456238"/>
          <p14:tracePt t="40111" x="4884738" y="5453063"/>
          <p14:tracePt t="40113" x="4881563" y="5453063"/>
          <p14:tracePt t="40115" x="4876800" y="5448300"/>
          <p14:tracePt t="40115" x="4872038" y="5448300"/>
          <p14:tracePt t="40116" x="4868863" y="5448300"/>
          <p14:tracePt t="40117" x="4864100" y="5445125"/>
          <p14:tracePt t="40118" x="4860925" y="5445125"/>
          <p14:tracePt t="40119" x="4856163" y="5445125"/>
          <p14:tracePt t="40120" x="4852988" y="5440363"/>
          <p14:tracePt t="40121" x="4848225" y="5440363"/>
          <p14:tracePt t="40122" x="4840288" y="5437188"/>
          <p14:tracePt t="40123" x="4837113" y="5437188"/>
          <p14:tracePt t="40125" x="4832350" y="5432425"/>
          <p14:tracePt t="40126" x="4829175" y="5432425"/>
          <p14:tracePt t="40127" x="4821238" y="5432425"/>
          <p14:tracePt t="40128" x="4816475" y="5432425"/>
          <p14:tracePt t="40129" x="4813300" y="5432425"/>
          <p14:tracePt t="40130" x="4808538" y="5432425"/>
          <p14:tracePt t="40131" x="4805363" y="5432425"/>
          <p14:tracePt t="40132" x="4797425" y="5429250"/>
          <p14:tracePt t="40133" x="4792663" y="5429250"/>
          <p14:tracePt t="40134" x="4784725" y="5429250"/>
          <p14:tracePt t="40135" x="4779963" y="5429250"/>
          <p14:tracePt t="40136" x="4772025" y="5424488"/>
          <p14:tracePt t="40137" x="4768850" y="5424488"/>
          <p14:tracePt t="40138" x="4764088" y="5424488"/>
          <p14:tracePt t="40139" x="4760913" y="5424488"/>
          <p14:tracePt t="40140" x="4756150" y="5421313"/>
          <p14:tracePt t="40141" x="4748213" y="5421313"/>
          <p14:tracePt t="40142" x="4740275" y="5416550"/>
          <p14:tracePt t="40143" x="4737100" y="5416550"/>
          <p14:tracePt t="40144" x="4729163" y="5416550"/>
          <p14:tracePt t="40145" x="4724400" y="5413375"/>
          <p14:tracePt t="40146" x="4716463" y="5413375"/>
          <p14:tracePt t="40147" x="4713288" y="5413375"/>
          <p14:tracePt t="40148" x="4705350" y="5408613"/>
          <p14:tracePt t="40149" x="4697413" y="5408613"/>
          <p14:tracePt t="40150" x="4687888" y="5405438"/>
          <p14:tracePt t="40151" x="4684713" y="5405438"/>
          <p14:tracePt t="40152" x="4672013" y="5405438"/>
          <p14:tracePt t="40153" x="4668838" y="5400675"/>
          <p14:tracePt t="40154" x="4660900" y="5400675"/>
          <p14:tracePt t="40155" x="4652963" y="5400675"/>
          <p14:tracePt t="40156" x="4645025" y="5397500"/>
          <p14:tracePt t="40157" x="4637088" y="5397500"/>
          <p14:tracePt t="40158" x="4629150" y="5397500"/>
          <p14:tracePt t="40159" x="4616450" y="5387975"/>
          <p14:tracePt t="40160" x="4608513" y="5387975"/>
          <p14:tracePt t="40161" x="4603750" y="5387975"/>
          <p14:tracePt t="40162" x="4600575" y="5387975"/>
          <p14:tracePt t="40163" x="4584700" y="5384800"/>
          <p14:tracePt t="40164" x="4579938" y="5384800"/>
          <p14:tracePt t="40165" x="4572000" y="5384800"/>
          <p14:tracePt t="40166" x="4568825" y="5384800"/>
          <p14:tracePt t="40167" x="4560888" y="5380038"/>
          <p14:tracePt t="40168" x="4552950" y="5380038"/>
          <p14:tracePt t="40169" x="4548188" y="5380038"/>
          <p14:tracePt t="40170" x="4540250" y="5380038"/>
          <p14:tracePt t="40171" x="4532313" y="5376863"/>
          <p14:tracePt t="40172" x="4529138" y="5376863"/>
          <p14:tracePt t="40173" x="4521200" y="5376863"/>
          <p14:tracePt t="40174" x="4511675" y="5376863"/>
          <p14:tracePt t="40175" x="4508500" y="5372100"/>
          <p14:tracePt t="40176" x="4500563" y="5372100"/>
          <p14:tracePt t="40178" x="4492625" y="5372100"/>
          <p14:tracePt t="40179" x="4487863" y="5372100"/>
          <p14:tracePt t="40180" x="4484688" y="5368925"/>
          <p14:tracePt t="40181" x="4476750" y="5368925"/>
          <p14:tracePt t="40182" x="4471988" y="5368925"/>
          <p14:tracePt t="40183" x="4464050" y="5368925"/>
          <p14:tracePt t="40184" x="4460875" y="5368925"/>
          <p14:tracePt t="40185" x="4456113" y="5368925"/>
          <p14:tracePt t="40186" x="4452938" y="5368925"/>
          <p14:tracePt t="40187" x="4445000" y="5368925"/>
          <p14:tracePt t="40188" x="4440238" y="5368925"/>
          <p14:tracePt t="40189" x="4440238" y="5364163"/>
          <p14:tracePt t="40190" x="4432300" y="5364163"/>
          <p14:tracePt t="40191" x="4429125" y="5364163"/>
          <p14:tracePt t="40192" x="4424363" y="5364163"/>
          <p14:tracePt t="40193" x="4416425" y="5364163"/>
          <p14:tracePt t="40194" x="4411663" y="5364163"/>
          <p14:tracePt t="40195" x="4408488" y="5364163"/>
          <p14:tracePt t="40196" x="4403725" y="5364163"/>
          <p14:tracePt t="40197" x="4400550" y="5364163"/>
          <p14:tracePt t="40198" x="4392613" y="5364163"/>
          <p14:tracePt t="40199" x="4387850" y="5364163"/>
          <p14:tracePt t="40200" x="4384675" y="5364163"/>
          <p14:tracePt t="40201" x="4379913" y="5364163"/>
          <p14:tracePt t="40202" x="4376738" y="5364163"/>
          <p14:tracePt t="40203" x="4371975" y="5364163"/>
          <p14:tracePt t="40204" x="4364038" y="5364163"/>
          <p14:tracePt t="40205" x="4360863" y="5364163"/>
          <p14:tracePt t="40206" x="4356100" y="5364163"/>
          <p14:tracePt t="40207" x="4352925" y="5364163"/>
          <p14:tracePt t="40208" x="4344988" y="5364163"/>
          <p14:tracePt t="40209" x="4340225" y="5364163"/>
          <p14:tracePt t="40210" x="4337050" y="5364163"/>
          <p14:tracePt t="40211" x="4332288" y="5364163"/>
          <p14:tracePt t="40212" x="4327525" y="5364163"/>
          <p14:tracePt t="40214" x="4324350" y="5360988"/>
          <p14:tracePt t="40215" x="4319588" y="5360988"/>
          <p14:tracePt t="40216" x="4316413" y="5360988"/>
          <p14:tracePt t="40217" x="4311650" y="5360988"/>
          <p14:tracePt t="40218" x="4308475" y="5360988"/>
          <p14:tracePt t="40219" x="4303713" y="5360988"/>
          <p14:tracePt t="40220" x="4300538" y="5360988"/>
          <p14:tracePt t="40222" x="4295775" y="5360988"/>
          <p14:tracePt t="40223" x="4292600" y="5360988"/>
          <p14:tracePt t="40224" x="4287838" y="5360988"/>
          <p14:tracePt t="40228" x="4284663" y="5360988"/>
          <p14:tracePt t="40229" x="4279900" y="5360988"/>
          <p14:tracePt t="40230" x="4276725" y="5360988"/>
          <p14:tracePt t="40232" x="4271963" y="5360988"/>
          <p14:tracePt t="40234" x="4268788" y="5360988"/>
          <p14:tracePt t="40236" x="4264025" y="5360988"/>
          <p14:tracePt t="40238" x="4260850" y="5360988"/>
          <p14:tracePt t="40239" x="4256088" y="5360988"/>
          <p14:tracePt t="40241" x="4252913" y="5360988"/>
          <p14:tracePt t="40243" x="4248150" y="5360988"/>
          <p14:tracePt t="40248" x="4243388" y="5360988"/>
          <p14:tracePt t="40250" x="4240213" y="5360988"/>
          <p14:tracePt t="40251" x="4235450" y="5360988"/>
          <p14:tracePt t="40254" x="4232275" y="5360988"/>
          <p14:tracePt t="40256" x="4227513" y="5360988"/>
          <p14:tracePt t="40258" x="4224338" y="5360988"/>
          <p14:tracePt t="40260" x="4219575" y="5364163"/>
          <p14:tracePt t="40262" x="4216400" y="5364163"/>
          <p14:tracePt t="40264" x="4211638" y="5364163"/>
          <p14:tracePt t="40265" x="4211638" y="5368925"/>
          <p14:tracePt t="40266" x="4208463" y="5368925"/>
          <p14:tracePt t="40268" x="4208463" y="5372100"/>
          <p14:tracePt t="40270" x="4203700" y="5372100"/>
          <p14:tracePt t="40272" x="4200525" y="5372100"/>
          <p14:tracePt t="40273" x="4200525" y="5376863"/>
          <p14:tracePt t="40274" x="4195763" y="5376863"/>
          <p14:tracePt t="40276" x="4195763" y="5380038"/>
          <p14:tracePt t="40277" x="4192588" y="5380038"/>
          <p14:tracePt t="40279" x="4187825" y="5384800"/>
          <p14:tracePt t="40282" x="4184650" y="5384800"/>
          <p14:tracePt t="40284" x="4179888" y="5387975"/>
          <p14:tracePt t="40286" x="4176713" y="5387975"/>
          <p14:tracePt t="40287" x="4176713" y="5392738"/>
          <p14:tracePt t="40289" x="4176713" y="5397500"/>
          <p14:tracePt t="40290" x="4171950" y="5397500"/>
          <p14:tracePt t="40291" x="4171950" y="5400675"/>
          <p14:tracePt t="40293" x="4168775" y="5400675"/>
          <p14:tracePt t="40295" x="4164013" y="5400675"/>
          <p14:tracePt t="40297" x="4164013" y="5405438"/>
          <p14:tracePt t="40300" x="4160838" y="5408613"/>
          <p14:tracePt t="40302" x="4160838" y="5413375"/>
          <p14:tracePt t="40304" x="4160838" y="5416550"/>
          <p14:tracePt t="40306" x="4160838" y="5421313"/>
          <p14:tracePt t="40309" x="4156075" y="5424488"/>
          <p14:tracePt t="40311" x="4156075" y="5429250"/>
          <p14:tracePt t="40313" x="4151313" y="5432425"/>
          <p14:tracePt t="40315" x="4151313" y="5437188"/>
          <p14:tracePt t="40318" x="4151313" y="5440363"/>
          <p14:tracePt t="40323" x="4148138" y="5440363"/>
          <p14:tracePt t="40324" x="4148138" y="5445125"/>
          <p14:tracePt t="40328" x="4148138" y="5448300"/>
          <p14:tracePt t="40330" x="4148138" y="5453063"/>
          <p14:tracePt t="40333" x="4148138" y="5456238"/>
          <p14:tracePt t="40337" x="4148138" y="5461000"/>
          <p14:tracePt t="40340" x="4148138" y="5464175"/>
          <p14:tracePt t="40343" x="4148138" y="5468938"/>
          <p14:tracePt t="40347" x="4148138" y="5472113"/>
          <p14:tracePt t="40350" x="4151313" y="5472113"/>
          <p14:tracePt t="40352" x="4151313" y="5476875"/>
          <p14:tracePt t="40355" x="4156075" y="5476875"/>
          <p14:tracePt t="40356" x="4156075" y="5480050"/>
          <p14:tracePt t="40357" x="4160838" y="5480050"/>
          <p14:tracePt t="40363" x="4164013" y="5480050"/>
          <p14:tracePt t="40364" x="4164013" y="5484813"/>
          <p14:tracePt t="40365" x="4168775" y="5484813"/>
          <p14:tracePt t="40367" x="4171950" y="5489575"/>
          <p14:tracePt t="40368" x="4176713" y="5489575"/>
          <p14:tracePt t="40370" x="4179888" y="5489575"/>
          <p14:tracePt t="40371" x="4184650" y="5489575"/>
          <p14:tracePt t="40372" x="4187825" y="5492750"/>
          <p14:tracePt t="40373" x="4192588" y="5492750"/>
          <p14:tracePt t="40375" x="4195763" y="5492750"/>
          <p14:tracePt t="40376" x="4200525" y="5497513"/>
          <p14:tracePt t="40378" x="4203700" y="5497513"/>
          <p14:tracePt t="40380" x="4208463" y="5500688"/>
          <p14:tracePt t="40381" x="4211638" y="5500688"/>
          <p14:tracePt t="40382" x="4216400" y="5505450"/>
          <p14:tracePt t="40383" x="4219575" y="5505450"/>
          <p14:tracePt t="40384" x="4219575" y="5508625"/>
          <p14:tracePt t="40385" x="4224338" y="5508625"/>
          <p14:tracePt t="40386" x="4232275" y="5508625"/>
          <p14:tracePt t="40387" x="4235450" y="5508625"/>
          <p14:tracePt t="40388" x="4240213" y="5513388"/>
          <p14:tracePt t="40389" x="4243388" y="5513388"/>
          <p14:tracePt t="40390" x="4248150" y="5513388"/>
          <p14:tracePt t="40392" x="4252913" y="5513388"/>
          <p14:tracePt t="40393" x="4256088" y="5513388"/>
          <p14:tracePt t="40394" x="4260850" y="5516563"/>
          <p14:tracePt t="40395" x="4264025" y="5516563"/>
          <p14:tracePt t="40396" x="4271963" y="5516563"/>
          <p14:tracePt t="40397" x="4276725" y="5516563"/>
          <p14:tracePt t="40398" x="4279900" y="5516563"/>
          <p14:tracePt t="40399" x="4284663" y="5521325"/>
          <p14:tracePt t="40400" x="4292600" y="5521325"/>
          <p14:tracePt t="40401" x="4295775" y="5521325"/>
          <p14:tracePt t="40402" x="4303713" y="5521325"/>
          <p14:tracePt t="40404" x="4308475" y="5524500"/>
          <p14:tracePt t="40405" x="4311650" y="5524500"/>
          <p14:tracePt t="40406" x="4319588" y="5524500"/>
          <p14:tracePt t="40407" x="4324350" y="5524500"/>
          <p14:tracePt t="40408" x="4332288" y="5524500"/>
          <p14:tracePt t="40409" x="4337050" y="5524500"/>
          <p14:tracePt t="40410" x="4340225" y="5524500"/>
          <p14:tracePt t="40411" x="4348163" y="5524500"/>
          <p14:tracePt t="40412" x="4352925" y="5524500"/>
          <p14:tracePt t="40413" x="4360863" y="5524500"/>
          <p14:tracePt t="40414" x="4364038" y="5524500"/>
          <p14:tracePt t="40416" x="4371975" y="5529263"/>
          <p14:tracePt t="40417" x="4376738" y="5529263"/>
          <p14:tracePt t="40418" x="4384675" y="5529263"/>
          <p14:tracePt t="40419" x="4387850" y="5529263"/>
          <p14:tracePt t="40420" x="4395788" y="5529263"/>
          <p14:tracePt t="40421" x="4400550" y="5529263"/>
          <p14:tracePt t="40422" x="4408488" y="5529263"/>
          <p14:tracePt t="40423" x="4411663" y="5529263"/>
          <p14:tracePt t="40424" x="4416425" y="5529263"/>
          <p14:tracePt t="40425" x="4424363" y="5529263"/>
          <p14:tracePt t="40426" x="4429125" y="5529263"/>
          <p14:tracePt t="40427" x="4437063" y="5529263"/>
          <p14:tracePt t="40428" x="4440238" y="5529263"/>
          <p14:tracePt t="40430" x="4448175" y="5529263"/>
          <p14:tracePt t="40431" x="4452938" y="5529263"/>
          <p14:tracePt t="40432" x="4460875" y="5529263"/>
          <p14:tracePt t="40433" x="4464050" y="5529263"/>
          <p14:tracePt t="40434" x="4468813" y="5529263"/>
          <p14:tracePt t="40435" x="4476750" y="5529263"/>
          <p14:tracePt t="40436" x="4479925" y="5529263"/>
          <p14:tracePt t="40437" x="4487863" y="5529263"/>
          <p14:tracePt t="40438" x="4492625" y="5529263"/>
          <p14:tracePt t="40439" x="4500563" y="5529263"/>
          <p14:tracePt t="40440" x="4503738" y="5529263"/>
          <p14:tracePt t="40441" x="4508500" y="5529263"/>
          <p14:tracePt t="40442" x="4521200" y="5529263"/>
          <p14:tracePt t="40443" x="4529138" y="5529263"/>
          <p14:tracePt t="40445" x="4537075" y="5529263"/>
          <p14:tracePt t="40446" x="4540250" y="5529263"/>
          <p14:tracePt t="40447" x="4548188" y="5529263"/>
          <p14:tracePt t="40448" x="4556125" y="5529263"/>
          <p14:tracePt t="40449" x="4564063" y="5529263"/>
          <p14:tracePt t="40450" x="4568825" y="5529263"/>
          <p14:tracePt t="40451" x="4576763" y="5529263"/>
          <p14:tracePt t="40452" x="4584700" y="5529263"/>
          <p14:tracePt t="40453" x="4592638" y="5529263"/>
          <p14:tracePt t="40454" x="4595813" y="5524500"/>
          <p14:tracePt t="40455" x="4603750" y="5524500"/>
          <p14:tracePt t="40456" x="4608513" y="5524500"/>
          <p14:tracePt t="40457" x="4616450" y="5524500"/>
          <p14:tracePt t="40458" x="4624388" y="5524500"/>
          <p14:tracePt t="40459" x="4629150" y="5524500"/>
          <p14:tracePt t="40460" x="4637088" y="5521325"/>
          <p14:tracePt t="40461" x="4640263" y="5521325"/>
          <p14:tracePt t="40462" x="4648200" y="5521325"/>
          <p14:tracePt t="40463" x="4656138" y="5521325"/>
          <p14:tracePt t="40464" x="4660900" y="5521325"/>
          <p14:tracePt t="40465" x="4664075" y="5521325"/>
          <p14:tracePt t="40466" x="4672013" y="5521325"/>
          <p14:tracePt t="40467" x="4676775" y="5521325"/>
          <p14:tracePt t="40468" x="4676775" y="5516563"/>
          <p14:tracePt t="40469" x="4679950" y="5516563"/>
          <p14:tracePt t="40470" x="4684713" y="5516563"/>
          <p14:tracePt t="40471" x="4687888" y="5516563"/>
          <p14:tracePt t="40472" x="4697413" y="5516563"/>
          <p14:tracePt t="40473" x="4700588" y="5513388"/>
          <p14:tracePt t="40474" x="4705350" y="5513388"/>
          <p14:tracePt t="40475" x="4708525" y="5513388"/>
          <p14:tracePt t="40478" x="4713288" y="5508625"/>
          <p14:tracePt t="40479" x="4721225" y="5508625"/>
          <p14:tracePt t="40480" x="4724400" y="5508625"/>
          <p14:tracePt t="40481" x="4724400" y="5505450"/>
          <p14:tracePt t="40483" x="4729163" y="5505450"/>
          <p14:tracePt t="40484" x="4729163" y="5500688"/>
          <p14:tracePt t="40485" x="4732338" y="5500688"/>
          <p14:tracePt t="40486" x="4737100" y="5500688"/>
          <p14:tracePt t="40487" x="4737100" y="5497513"/>
          <p14:tracePt t="40488" x="4740275" y="5497513"/>
          <p14:tracePt t="40489" x="4745038" y="5497513"/>
          <p14:tracePt t="40490" x="4745038" y="5492750"/>
          <p14:tracePt t="40491" x="4748213" y="5492750"/>
          <p14:tracePt t="40492" x="4752975" y="5492750"/>
          <p14:tracePt t="40493" x="4752975" y="5489575"/>
          <p14:tracePt t="40494" x="4756150" y="5489575"/>
          <p14:tracePt t="40496" x="4760913" y="5489575"/>
          <p14:tracePt t="40497" x="4760913" y="5484813"/>
          <p14:tracePt t="40498" x="4764088" y="5484813"/>
          <p14:tracePt t="40500" x="4764088" y="5480050"/>
          <p14:tracePt t="40503" x="4768850" y="5480050"/>
          <p14:tracePt t="40505" x="4772025" y="5476875"/>
          <p14:tracePt t="40508" x="4772025" y="5472113"/>
          <p14:tracePt t="40514" x="4772025" y="5468938"/>
          <p14:tracePt t="40517" x="4776788" y="5464175"/>
          <p14:tracePt t="40519" x="4776788" y="5461000"/>
          <p14:tracePt t="40521" x="4776788" y="5456238"/>
          <p14:tracePt t="40523" x="4776788" y="5453063"/>
          <p14:tracePt t="40526" x="4776788" y="5448300"/>
          <p14:tracePt t="40528" x="4776788" y="5445125"/>
          <p14:tracePt t="40529" x="4776788" y="5440363"/>
          <p14:tracePt t="40532" x="4776788" y="5437188"/>
          <p14:tracePt t="40534" x="4776788" y="5432425"/>
          <p14:tracePt t="40535" x="4772025" y="5429250"/>
          <p14:tracePt t="40537" x="4768850" y="5424488"/>
          <p14:tracePt t="40538" x="4768850" y="5421313"/>
          <p14:tracePt t="40540" x="4768850" y="5416550"/>
          <p14:tracePt t="40541" x="4764088" y="5413375"/>
          <p14:tracePt t="40543" x="4764088" y="5408613"/>
          <p14:tracePt t="40544" x="4760913" y="5405438"/>
          <p14:tracePt t="40546" x="4756150" y="5400675"/>
          <p14:tracePt t="40547" x="4752975" y="5400675"/>
          <p14:tracePt t="40549" x="4748213" y="5397500"/>
          <p14:tracePt t="40550" x="4745038" y="5392738"/>
          <p14:tracePt t="40551" x="4745038" y="5387975"/>
          <p14:tracePt t="40552" x="4740275" y="5384800"/>
          <p14:tracePt t="40553" x="4737100" y="5384800"/>
          <p14:tracePt t="40554" x="4732338" y="5380038"/>
          <p14:tracePt t="40555" x="4732338" y="5376863"/>
          <p14:tracePt t="40556" x="4729163" y="5372100"/>
          <p14:tracePt t="40558" x="4724400" y="5368925"/>
          <p14:tracePt t="40559" x="4721225" y="5364163"/>
          <p14:tracePt t="40560" x="4716463" y="5364163"/>
          <p14:tracePt t="40561" x="4713288" y="5360988"/>
          <p14:tracePt t="40562" x="4708525" y="5360988"/>
          <p14:tracePt t="40563" x="4705350" y="5360988"/>
          <p14:tracePt t="40564" x="4700588" y="5356225"/>
          <p14:tracePt t="40565" x="4697413" y="5353050"/>
          <p14:tracePt t="40566" x="4692650" y="5353050"/>
          <p14:tracePt t="40567" x="4687888" y="5348288"/>
          <p14:tracePt t="40569" x="4684713" y="5345113"/>
          <p14:tracePt t="40570" x="4676775" y="5340350"/>
          <p14:tracePt t="40571" x="4672013" y="5340350"/>
          <p14:tracePt t="40572" x="4668838" y="5337175"/>
          <p14:tracePt t="40573" x="4664075" y="5337175"/>
          <p14:tracePt t="40574" x="4660900" y="5332413"/>
          <p14:tracePt t="40575" x="4652963" y="5332413"/>
          <p14:tracePt t="40576" x="4648200" y="5332413"/>
          <p14:tracePt t="40578" x="4645025" y="5332413"/>
          <p14:tracePt t="40578" x="4640263" y="5329238"/>
          <p14:tracePt t="40579" x="4637088" y="5329238"/>
          <p14:tracePt t="40581" x="4632325" y="5324475"/>
          <p14:tracePt t="40582" x="4629150" y="5321300"/>
          <p14:tracePt t="40583" x="4624388" y="5321300"/>
          <p14:tracePt t="40584" x="4621213" y="5321300"/>
          <p14:tracePt t="40585" x="4613275" y="5316538"/>
          <p14:tracePt t="40586" x="4608513" y="5316538"/>
          <p14:tracePt t="40587" x="4603750" y="5316538"/>
          <p14:tracePt t="40588" x="4600575" y="5316538"/>
          <p14:tracePt t="40589" x="4595813" y="5316538"/>
          <p14:tracePt t="40590" x="4592638" y="5313363"/>
          <p14:tracePt t="40591" x="4587875" y="5313363"/>
          <p14:tracePt t="40592" x="4584700" y="5313363"/>
          <p14:tracePt t="40595" x="4576763" y="5313363"/>
          <p14:tracePt t="40597" x="4572000" y="5313363"/>
          <p14:tracePt t="40598" x="4568825" y="5313363"/>
          <p14:tracePt t="40599" x="4564063" y="5313363"/>
          <p14:tracePt t="40600" x="4560888" y="5313363"/>
          <p14:tracePt t="40601" x="4556125" y="5313363"/>
          <p14:tracePt t="40602" x="4552950" y="5313363"/>
          <p14:tracePt t="40603" x="4548188" y="5313363"/>
          <p14:tracePt t="40604" x="4545013" y="5313363"/>
          <p14:tracePt t="40605" x="4540250" y="5313363"/>
          <p14:tracePt t="40607" x="4537075" y="5313363"/>
          <p14:tracePt t="40608" x="4532313" y="5313363"/>
          <p14:tracePt t="40609" x="4529138" y="5313363"/>
          <p14:tracePt t="40610" x="4524375" y="5313363"/>
          <p14:tracePt t="40611" x="4521200" y="5313363"/>
          <p14:tracePt t="40612" x="4516438" y="5313363"/>
          <p14:tracePt t="40613" x="4511675" y="5313363"/>
          <p14:tracePt t="40614" x="4508500" y="5313363"/>
          <p14:tracePt t="40615" x="4500563" y="5313363"/>
          <p14:tracePt t="40616" x="4495800" y="5313363"/>
          <p14:tracePt t="40617" x="4492625" y="5313363"/>
          <p14:tracePt t="40619" x="4487863" y="5313363"/>
          <p14:tracePt t="40620" x="4479925" y="5313363"/>
          <p14:tracePt t="40621" x="4476750" y="5313363"/>
          <p14:tracePt t="40622" x="4471988" y="5313363"/>
          <p14:tracePt t="40623" x="4468813" y="5316538"/>
          <p14:tracePt t="40624" x="4464050" y="5316538"/>
          <p14:tracePt t="40625" x="4456113" y="5321300"/>
          <p14:tracePt t="40626" x="4452938" y="5321300"/>
          <p14:tracePt t="40627" x="4448175" y="5321300"/>
          <p14:tracePt t="40628" x="4445000" y="5324475"/>
          <p14:tracePt t="40629" x="4440238" y="5324475"/>
          <p14:tracePt t="40630" x="4437063" y="5324475"/>
          <p14:tracePt t="40631" x="4437063" y="5329238"/>
          <p14:tracePt t="40632" x="4432300" y="5329238"/>
          <p14:tracePt t="40633" x="4429125" y="5332413"/>
          <p14:tracePt t="40634" x="4424363" y="5332413"/>
          <p14:tracePt t="40635" x="4419600" y="5337175"/>
          <p14:tracePt t="40636" x="4416425" y="5337175"/>
          <p14:tracePt t="40637" x="4411663" y="5340350"/>
          <p14:tracePt t="40638" x="4408488" y="5340350"/>
          <p14:tracePt t="40639" x="4403725" y="5345113"/>
          <p14:tracePt t="40640" x="4400550" y="5348288"/>
          <p14:tracePt t="40641" x="4395788" y="5348288"/>
          <p14:tracePt t="40642" x="4395788" y="5353050"/>
          <p14:tracePt t="40643" x="4395788" y="5356225"/>
          <p14:tracePt t="40644" x="4392613" y="5356225"/>
          <p14:tracePt t="40645" x="4387850" y="5356225"/>
          <p14:tracePt t="40646" x="4384675" y="5360988"/>
          <p14:tracePt t="40648" x="4379913" y="5364163"/>
          <p14:tracePt t="40649" x="4376738" y="5368925"/>
          <p14:tracePt t="40650" x="4371975" y="5372100"/>
          <p14:tracePt t="40652" x="4368800" y="5376863"/>
          <p14:tracePt t="40653" x="4368800" y="5380038"/>
          <p14:tracePt t="40654" x="4364038" y="5384800"/>
          <p14:tracePt t="40655" x="4364038" y="5387975"/>
          <p14:tracePt t="40656" x="4360863" y="5387975"/>
          <p14:tracePt t="40657" x="4360863" y="5392738"/>
          <p14:tracePt t="40658" x="4360863" y="5397500"/>
          <p14:tracePt t="40659" x="4356100" y="5397500"/>
          <p14:tracePt t="40662" x="4356100" y="5400675"/>
          <p14:tracePt t="40664" x="4356100" y="5405438"/>
          <p14:tracePt t="40665" x="4356100" y="5408613"/>
          <p14:tracePt t="40667" x="4356100" y="5413375"/>
          <p14:tracePt t="40668" x="4356100" y="5416550"/>
          <p14:tracePt t="40670" x="4356100" y="5421313"/>
          <p14:tracePt t="40672" x="4356100" y="5424488"/>
          <p14:tracePt t="40673" x="4356100" y="5429250"/>
          <p14:tracePt t="40675" x="4356100" y="5432425"/>
          <p14:tracePt t="40676" x="4360863" y="5437188"/>
          <p14:tracePt t="40678" x="4364038" y="5437188"/>
          <p14:tracePt t="40679" x="4364038" y="5440363"/>
          <p14:tracePt t="40680" x="4368800" y="5440363"/>
          <p14:tracePt t="40681" x="4371975" y="5445125"/>
          <p14:tracePt t="40682" x="4371975" y="5448300"/>
          <p14:tracePt t="40683" x="4376738" y="5453063"/>
          <p14:tracePt t="40684" x="4379913" y="5453063"/>
          <p14:tracePt t="40685" x="4384675" y="5456238"/>
          <p14:tracePt t="40686" x="4387850" y="5461000"/>
          <p14:tracePt t="40687" x="4392613" y="5461000"/>
          <p14:tracePt t="40688" x="4392613" y="5464175"/>
          <p14:tracePt t="40689" x="4395788" y="5464175"/>
          <p14:tracePt t="40690" x="4400550" y="5468938"/>
          <p14:tracePt t="40691" x="4403725" y="5472113"/>
          <p14:tracePt t="40692" x="4408488" y="5472113"/>
          <p14:tracePt t="40693" x="4416425" y="5476875"/>
          <p14:tracePt t="40694" x="4419600" y="5480050"/>
          <p14:tracePt t="40695" x="4424363" y="5480050"/>
          <p14:tracePt t="40696" x="4432300" y="5484813"/>
          <p14:tracePt t="40697" x="4437063" y="5484813"/>
          <p14:tracePt t="40698" x="4445000" y="5484813"/>
          <p14:tracePt t="40699" x="4448175" y="5484813"/>
          <p14:tracePt t="40700" x="4456113" y="5484813"/>
          <p14:tracePt t="40701" x="4460875" y="5489575"/>
          <p14:tracePt t="40702" x="4468813" y="5492750"/>
          <p14:tracePt t="40703" x="4476750" y="5492750"/>
          <p14:tracePt t="40704" x="4484688" y="5492750"/>
          <p14:tracePt t="40705" x="4487863" y="5497513"/>
          <p14:tracePt t="40706" x="4492625" y="5497513"/>
          <p14:tracePt t="40707" x="4503738" y="5497513"/>
          <p14:tracePt t="40708" x="4511675" y="5500688"/>
          <p14:tracePt t="40709" x="4521200" y="5500688"/>
          <p14:tracePt t="40710" x="4529138" y="5500688"/>
          <p14:tracePt t="40711" x="4537075" y="5500688"/>
          <p14:tracePt t="40713" x="4552950" y="5508625"/>
          <p14:tracePt t="40714" x="4560888" y="5508625"/>
          <p14:tracePt t="40715" x="4568825" y="5513388"/>
          <p14:tracePt t="40716" x="4576763" y="5513388"/>
          <p14:tracePt t="40717" x="4592638" y="5513388"/>
          <p14:tracePt t="40718" x="4600575" y="5513388"/>
          <p14:tracePt t="40719" x="4608513" y="5513388"/>
          <p14:tracePt t="40720" x="4616450" y="5513388"/>
          <p14:tracePt t="40721" x="4629150" y="5513388"/>
          <p14:tracePt t="40722" x="4640263" y="5516563"/>
          <p14:tracePt t="40723" x="4652963" y="5516563"/>
          <p14:tracePt t="40724" x="4660900" y="5516563"/>
          <p14:tracePt t="40725" x="4668838" y="5516563"/>
          <p14:tracePt t="40726" x="4676775" y="5516563"/>
          <p14:tracePt t="40728" x="4684713" y="5516563"/>
          <p14:tracePt t="40729" x="4708525" y="5516563"/>
          <p14:tracePt t="40730" x="4716463" y="5516563"/>
          <p14:tracePt t="40731" x="4724400" y="5516563"/>
          <p14:tracePt t="40732" x="4737100" y="5516563"/>
          <p14:tracePt t="40733" x="4745038" y="5516563"/>
          <p14:tracePt t="40734" x="4752975" y="5516563"/>
          <p14:tracePt t="40735" x="4760913" y="5516563"/>
          <p14:tracePt t="40736" x="4776788" y="5516563"/>
          <p14:tracePt t="40737" x="4779963" y="5516563"/>
          <p14:tracePt t="40738" x="4792663" y="5516563"/>
          <p14:tracePt t="40739" x="4800600" y="5516563"/>
          <p14:tracePt t="40740" x="4808538" y="5513388"/>
          <p14:tracePt t="40741" x="4813300" y="5513388"/>
          <p14:tracePt t="40742" x="4821238" y="5513388"/>
          <p14:tracePt t="40743" x="4829175" y="5505450"/>
          <p14:tracePt t="40744" x="4832350" y="5505450"/>
          <p14:tracePt t="40746" x="4840288" y="5500688"/>
          <p14:tracePt t="40746" x="4845050" y="5500688"/>
          <p14:tracePt t="40747" x="4852988" y="5497513"/>
          <p14:tracePt t="40748" x="4860925" y="5497513"/>
          <p14:tracePt t="40749" x="4864100" y="5492750"/>
          <p14:tracePt t="40750" x="4868863" y="5492750"/>
          <p14:tracePt t="40751" x="4876800" y="5489575"/>
          <p14:tracePt t="40752" x="4881563" y="5489575"/>
          <p14:tracePt t="40753" x="4884738" y="5489575"/>
          <p14:tracePt t="40755" x="4889500" y="5484813"/>
          <p14:tracePt t="40756" x="4892675" y="5480050"/>
          <p14:tracePt t="40757" x="4900613" y="5480050"/>
          <p14:tracePt t="40758" x="4900613" y="5476875"/>
          <p14:tracePt t="40759" x="4905375" y="5476875"/>
          <p14:tracePt t="40760" x="4908550" y="5472113"/>
          <p14:tracePt t="40761" x="4908550" y="5468938"/>
          <p14:tracePt t="40763" x="4913313" y="5468938"/>
          <p14:tracePt t="40763" x="4916488" y="5464175"/>
          <p14:tracePt t="40764" x="4916488" y="5461000"/>
          <p14:tracePt t="40765" x="4921250" y="5461000"/>
          <p14:tracePt t="40766" x="4921250" y="5456238"/>
          <p14:tracePt t="40767" x="4924425" y="5453063"/>
          <p14:tracePt t="40769" x="4929188" y="5448300"/>
          <p14:tracePt t="40771" x="4929188" y="5445125"/>
          <p14:tracePt t="40773" x="4929188" y="5440363"/>
          <p14:tracePt t="40774" x="4932363" y="5437188"/>
          <p14:tracePt t="40776" x="4932363" y="5432425"/>
          <p14:tracePt t="40778" x="4932363" y="5424488"/>
          <p14:tracePt t="40780" x="4932363" y="5421313"/>
          <p14:tracePt t="40781" x="4932363" y="5416550"/>
          <p14:tracePt t="40782" x="4932363" y="5413375"/>
          <p14:tracePt t="40783" x="4932363" y="5408613"/>
          <p14:tracePt t="40785" x="4932363" y="5405438"/>
          <p14:tracePt t="40787" x="4932363" y="5400675"/>
          <p14:tracePt t="40788" x="4929188" y="5397500"/>
          <p14:tracePt t="40789" x="4924425" y="5392738"/>
          <p14:tracePt t="40790" x="4924425" y="5387975"/>
          <p14:tracePt t="40791" x="4921250" y="5384800"/>
          <p14:tracePt t="40792" x="4921250" y="5380038"/>
          <p14:tracePt t="40793" x="4916488" y="5376863"/>
          <p14:tracePt t="40794" x="4913313" y="5372100"/>
          <p14:tracePt t="40796" x="4905375" y="5368925"/>
          <p14:tracePt t="40797" x="4905375" y="5364163"/>
          <p14:tracePt t="40798" x="4897438" y="5360988"/>
          <p14:tracePt t="40799" x="4892675" y="5356225"/>
          <p14:tracePt t="40800" x="4889500" y="5353050"/>
          <p14:tracePt t="40801" x="4884738" y="5348288"/>
          <p14:tracePt t="40802" x="4884738" y="5345113"/>
          <p14:tracePt t="40803" x="4881563" y="5340350"/>
          <p14:tracePt t="40804" x="4876800" y="5337175"/>
          <p14:tracePt t="40805" x="4868863" y="5332413"/>
          <p14:tracePt t="40806" x="4864100" y="5329238"/>
          <p14:tracePt t="40808" x="4852988" y="5321300"/>
          <p14:tracePt t="40809" x="4848225" y="5316538"/>
          <p14:tracePt t="40810" x="4845050" y="5316538"/>
          <p14:tracePt t="40811" x="4837113" y="5316538"/>
          <p14:tracePt t="40812" x="4832350" y="5313363"/>
          <p14:tracePt t="40813" x="4824413" y="5308600"/>
          <p14:tracePt t="40814" x="4816475" y="5305425"/>
          <p14:tracePt t="40815" x="4813300" y="5305425"/>
          <p14:tracePt t="40816" x="4805363" y="5300663"/>
          <p14:tracePt t="40817" x="4797425" y="5292725"/>
          <p14:tracePt t="40818" x="4789488" y="5287963"/>
          <p14:tracePt t="40819" x="4779963" y="5284788"/>
          <p14:tracePt t="40820" x="4776788" y="5284788"/>
          <p14:tracePt t="40821" x="4768850" y="5280025"/>
          <p14:tracePt t="40822" x="4760913" y="5280025"/>
          <p14:tracePt t="40823" x="4748213" y="5276850"/>
          <p14:tracePt t="40824" x="4740275" y="5272088"/>
          <p14:tracePt t="40825" x="4732338" y="5272088"/>
          <p14:tracePt t="40826" x="4724400" y="5268913"/>
          <p14:tracePt t="40828" x="4716463" y="5268913"/>
          <p14:tracePt t="40828" x="4713288" y="5264150"/>
          <p14:tracePt t="40829" x="4700588" y="5264150"/>
          <p14:tracePt t="40831" x="4687888" y="5260975"/>
          <p14:tracePt t="40832" x="4679950" y="5260975"/>
          <p14:tracePt t="40833" x="4672013" y="5260975"/>
          <p14:tracePt t="40834" x="4656138" y="5256213"/>
          <p14:tracePt t="40836" x="4648200" y="5256213"/>
          <p14:tracePt t="40837" x="4640263" y="5256213"/>
          <p14:tracePt t="40838" x="4629150" y="5256213"/>
          <p14:tracePt t="40839" x="4621213" y="5253038"/>
          <p14:tracePt t="40840" x="4613275" y="5253038"/>
          <p14:tracePt t="40841" x="4603750" y="5253038"/>
          <p14:tracePt t="40842" x="4600575" y="5253038"/>
          <p14:tracePt t="40843" x="4592638" y="5253038"/>
          <p14:tracePt t="40844" x="4584700" y="5253038"/>
          <p14:tracePt t="40845" x="4576763" y="5253038"/>
          <p14:tracePt t="40846" x="4572000" y="5253038"/>
          <p14:tracePt t="40847" x="4564063" y="5253038"/>
          <p14:tracePt t="40849" x="4556125" y="5253038"/>
          <p14:tracePt t="40850" x="4552950" y="5253038"/>
          <p14:tracePt t="40851" x="4545013" y="5253038"/>
          <p14:tracePt t="40852" x="4540250" y="5253038"/>
          <p14:tracePt t="40853" x="4537075" y="5253038"/>
          <p14:tracePt t="40854" x="4529138" y="5253038"/>
          <p14:tracePt t="40855" x="4524375" y="5253038"/>
          <p14:tracePt t="40856" x="4521200" y="5253038"/>
          <p14:tracePt t="40857" x="4516438" y="5253038"/>
          <p14:tracePt t="40858" x="4511675" y="5253038"/>
          <p14:tracePt t="40859" x="4503738" y="5253038"/>
          <p14:tracePt t="40860" x="4500563" y="5253038"/>
          <p14:tracePt t="40862" x="4495800" y="5256213"/>
          <p14:tracePt t="40863" x="4492625" y="5256213"/>
          <p14:tracePt t="40864" x="4487863" y="5256213"/>
          <p14:tracePt t="40865" x="4484688" y="5256213"/>
          <p14:tracePt t="40867" x="4479925" y="5256213"/>
          <p14:tracePt t="40868" x="4476750" y="5256213"/>
          <p14:tracePt t="40869" x="4471988" y="5256213"/>
          <p14:tracePt t="40870" x="4468813" y="5260975"/>
          <p14:tracePt t="40871" x="4464050" y="5260975"/>
          <p14:tracePt t="40872" x="4460875" y="5260975"/>
          <p14:tracePt t="40875" x="4456113" y="5264150"/>
          <p14:tracePt t="40878" x="4452938" y="5264150"/>
          <p14:tracePt t="40879" x="4448175" y="5268913"/>
          <p14:tracePt t="40882" x="4445000" y="5272088"/>
          <p14:tracePt t="40884" x="4440238" y="5272088"/>
          <p14:tracePt t="40887" x="4440238" y="5276850"/>
          <p14:tracePt t="40888" x="4437063" y="5276850"/>
          <p14:tracePt t="40894" x="4437063" y="5280025"/>
          <p14:tracePt t="40904" x="4437063" y="5284788"/>
          <p14:tracePt t="40908" x="4437063" y="5287963"/>
          <p14:tracePt t="40911" x="4440238" y="5292725"/>
          <p14:tracePt t="40913" x="4440238" y="5295900"/>
          <p14:tracePt t="40914" x="4445000" y="5295900"/>
          <p14:tracePt t="40916" x="4448175" y="5300663"/>
          <p14:tracePt t="40917" x="4452938" y="5300663"/>
          <p14:tracePt t="40918" x="4456113" y="5305425"/>
          <p14:tracePt t="40920" x="4460875" y="5308600"/>
          <p14:tracePt t="40921" x="4464050" y="5313363"/>
          <p14:tracePt t="40923" x="4468813" y="5316538"/>
          <p14:tracePt t="40924" x="4471988" y="5316538"/>
          <p14:tracePt t="40925" x="4476750" y="5321300"/>
          <p14:tracePt t="40926" x="4484688" y="5321300"/>
          <p14:tracePt t="40928" x="4487863" y="5324475"/>
          <p14:tracePt t="40928" x="4492625" y="5324475"/>
          <p14:tracePt t="40929" x="4495800" y="5329238"/>
          <p14:tracePt t="40930" x="4503738" y="5332413"/>
          <p14:tracePt t="40931" x="4508500" y="5332413"/>
          <p14:tracePt t="40932" x="4511675" y="5337175"/>
          <p14:tracePt t="40933" x="4511675" y="5340350"/>
          <p14:tracePt t="40934" x="4521200" y="5340350"/>
          <p14:tracePt t="40935" x="4524375" y="5340350"/>
          <p14:tracePt t="40936" x="4532313" y="5340350"/>
          <p14:tracePt t="40937" x="4537075" y="5345113"/>
          <p14:tracePt t="40938" x="4540250" y="5345113"/>
          <p14:tracePt t="40939" x="4548188" y="5348288"/>
          <p14:tracePt t="40940" x="4552950" y="5348288"/>
          <p14:tracePt t="40941" x="4560888" y="5353050"/>
          <p14:tracePt t="40942" x="4564063" y="5353050"/>
          <p14:tracePt t="40943" x="4572000" y="5356225"/>
          <p14:tracePt t="40944" x="4576763" y="5356225"/>
          <p14:tracePt t="40945" x="4584700" y="5360988"/>
          <p14:tracePt t="40946" x="4587875" y="5360988"/>
          <p14:tracePt t="40947" x="4595813" y="5364163"/>
          <p14:tracePt t="40948" x="4600575" y="5364163"/>
          <p14:tracePt t="40949" x="4608513" y="5368925"/>
          <p14:tracePt t="40950" x="4616450" y="5368925"/>
          <p14:tracePt t="40951" x="4624388" y="5372100"/>
          <p14:tracePt t="40952" x="4629150" y="5372100"/>
          <p14:tracePt t="40953" x="4632325" y="5376863"/>
          <p14:tracePt t="40954" x="4640263" y="5376863"/>
          <p14:tracePt t="40955" x="4640263" y="5380038"/>
          <p14:tracePt t="40956" x="4648200" y="5380038"/>
          <p14:tracePt t="40957" x="4660900" y="5384800"/>
          <p14:tracePt t="40958" x="4664075" y="5384800"/>
          <p14:tracePt t="40960" x="4672013" y="5387975"/>
          <p14:tracePt t="40961" x="4679950" y="5387975"/>
          <p14:tracePt t="40962" x="4684713" y="5387975"/>
          <p14:tracePt t="40963" x="4692650" y="5392738"/>
          <p14:tracePt t="40964" x="4697413" y="5392738"/>
          <p14:tracePt t="40965" x="4700588" y="5392738"/>
          <p14:tracePt t="40966" x="4708525" y="5392738"/>
          <p14:tracePt t="40967" x="4713288" y="5397500"/>
          <p14:tracePt t="40968" x="4716463" y="5397500"/>
          <p14:tracePt t="40969" x="4724400" y="5400675"/>
          <p14:tracePt t="40970" x="4729163" y="5400675"/>
          <p14:tracePt t="40978" x="4756150" y="5405438"/>
          <p14:tracePt t="40980" x="4764088" y="5408613"/>
          <p14:tracePt t="40981" x="4768850" y="5408613"/>
          <p14:tracePt t="40983" x="4772025" y="5408613"/>
          <p14:tracePt t="40985" x="4776788" y="5408613"/>
          <p14:tracePt t="40987" x="4776788" y="5413375"/>
          <p14:tracePt t="40988" x="4779963" y="5413375"/>
          <p14:tracePt t="41032" x="4776788" y="5413375"/>
          <p14:tracePt t="41035" x="4772025" y="5413375"/>
          <p14:tracePt t="41037" x="4768850" y="5413375"/>
          <p14:tracePt t="41038" x="4764088" y="5413375"/>
          <p14:tracePt t="41040" x="4760913" y="5413375"/>
          <p14:tracePt t="41041" x="4756150" y="5408613"/>
          <p14:tracePt t="41043" x="4752975" y="5408613"/>
          <p14:tracePt t="41045" x="4748213" y="5408613"/>
          <p14:tracePt t="41046" x="4745038" y="5405438"/>
          <p14:tracePt t="41047" x="4740275" y="5405438"/>
          <p14:tracePt t="41048" x="4732338" y="5405438"/>
          <p14:tracePt t="41049" x="4729163" y="5405438"/>
          <p14:tracePt t="41050" x="4724400" y="5400675"/>
          <p14:tracePt t="41051" x="4721225" y="5400675"/>
          <p14:tracePt t="41052" x="4716463" y="5400675"/>
          <p14:tracePt t="41053" x="4708525" y="5397500"/>
          <p14:tracePt t="41054" x="4705350" y="5397500"/>
          <p14:tracePt t="41055" x="4700588" y="5397500"/>
          <p14:tracePt t="41057" x="4697413" y="5392738"/>
          <p14:tracePt t="41058" x="4687888" y="5392738"/>
          <p14:tracePt t="41059" x="4684713" y="5392738"/>
          <p14:tracePt t="41060" x="4679950" y="5392738"/>
          <p14:tracePt t="41061" x="4676775" y="5392738"/>
          <p14:tracePt t="41062" x="4672013" y="5392738"/>
          <p14:tracePt t="41063" x="4664075" y="5392738"/>
          <p14:tracePt t="41064" x="4660900" y="5392738"/>
          <p14:tracePt t="41065" x="4656138" y="5392738"/>
          <p14:tracePt t="41066" x="4648200" y="5387975"/>
          <p14:tracePt t="41067" x="4645025" y="5387975"/>
          <p14:tracePt t="41068" x="4640263" y="5387975"/>
          <p14:tracePt t="41069" x="4637088" y="5387975"/>
          <p14:tracePt t="41070" x="4632325" y="5384800"/>
          <p14:tracePt t="41071" x="4629150" y="5384800"/>
          <p14:tracePt t="41072" x="4624388" y="5384800"/>
          <p14:tracePt t="41073" x="4616450" y="5380038"/>
          <p14:tracePt t="41074" x="4613275" y="5380038"/>
          <p14:tracePt t="41075" x="4608513" y="5380038"/>
          <p14:tracePt t="41077" x="4603750" y="5380038"/>
          <p14:tracePt t="41078" x="4600575" y="5376863"/>
          <p14:tracePt t="41079" x="4595813" y="5376863"/>
          <p14:tracePt t="41080" x="4592638" y="5376863"/>
          <p14:tracePt t="41081" x="4587875" y="5376863"/>
          <p14:tracePt t="41083" x="4584700" y="5376863"/>
          <p14:tracePt t="41085" x="4579938" y="5372100"/>
          <p14:tracePt t="41086" x="4576763" y="5372100"/>
          <p14:tracePt t="41088" x="4572000" y="5372100"/>
          <p14:tracePt t="41089" x="4568825" y="5372100"/>
          <p14:tracePt t="41091" x="4564063" y="5368925"/>
          <p14:tracePt t="41093" x="4560888" y="5368925"/>
          <p14:tracePt t="41094" x="4556125" y="5368925"/>
          <p14:tracePt t="41096" x="4552950" y="5368925"/>
          <p14:tracePt t="41100" x="4548188" y="5368925"/>
          <p14:tracePt t="41104" x="4545013" y="5368925"/>
          <p14:tracePt t="41108" x="4545013" y="5364163"/>
          <p14:tracePt t="41176" x="4545013" y="5368925"/>
          <p14:tracePt t="41184" x="4548188" y="5372100"/>
          <p14:tracePt t="41187" x="4552950" y="5372100"/>
          <p14:tracePt t="41189" x="4556125" y="5372100"/>
          <p14:tracePt t="41190" x="4556125" y="5376863"/>
          <p14:tracePt t="41191" x="4560888" y="5376863"/>
          <p14:tracePt t="41194" x="4564063" y="5380038"/>
          <p14:tracePt t="41198" x="4568825" y="5380038"/>
          <p14:tracePt t="41201" x="4572000" y="5380038"/>
          <p14:tracePt t="41203" x="4576763" y="5380038"/>
          <p14:tracePt t="41206" x="4579938" y="5380038"/>
          <p14:tracePt t="41210" x="4584700" y="5380038"/>
          <p14:tracePt t="41212" x="4587875" y="5384800"/>
          <p14:tracePt t="41214" x="4592638" y="5384800"/>
          <p14:tracePt t="41215" x="4595813" y="5387975"/>
          <p14:tracePt t="41216" x="4600575" y="5387975"/>
          <p14:tracePt t="41217" x="4603750" y="5387975"/>
          <p14:tracePt t="41218" x="4603750" y="5392738"/>
          <p14:tracePt t="41219" x="4608513" y="5392738"/>
          <p14:tracePt t="41220" x="4613275" y="5392738"/>
          <p14:tracePt t="41221" x="4616450" y="5397500"/>
          <p14:tracePt t="41222" x="4621213" y="5397500"/>
          <p14:tracePt t="41223" x="4624388" y="5397500"/>
          <p14:tracePt t="41224" x="4624388" y="5400675"/>
          <p14:tracePt t="41225" x="4629150" y="5400675"/>
          <p14:tracePt t="41226" x="4637088" y="5405438"/>
          <p14:tracePt t="41228" x="4645025" y="5408613"/>
          <p14:tracePt t="41229" x="4648200" y="5408613"/>
          <p14:tracePt t="41230" x="4656138" y="5413375"/>
          <p14:tracePt t="41231" x="4660900" y="5413375"/>
          <p14:tracePt t="41232" x="4664075" y="5416550"/>
          <p14:tracePt t="41233" x="4668838" y="5416550"/>
          <p14:tracePt t="41234" x="4672013" y="5421313"/>
          <p14:tracePt t="41235" x="4676775" y="5421313"/>
          <p14:tracePt t="41236" x="4679950" y="5424488"/>
          <p14:tracePt t="41238" x="4687888" y="5429250"/>
          <p14:tracePt t="41239" x="4692650" y="5429250"/>
          <p14:tracePt t="41240" x="4697413" y="5432425"/>
          <p14:tracePt t="41241" x="4700588" y="5432425"/>
          <p14:tracePt t="41242" x="4705350" y="5432425"/>
          <p14:tracePt t="41243" x="4708525" y="5432425"/>
          <p14:tracePt t="41244" x="4713288" y="5432425"/>
          <p14:tracePt t="41245" x="4716463" y="5437188"/>
          <p14:tracePt t="41246" x="4721225" y="5437188"/>
          <p14:tracePt t="41247" x="4724400" y="5440363"/>
          <p14:tracePt t="41249" x="4729163" y="5440363"/>
          <p14:tracePt t="41250" x="4729163" y="5445125"/>
          <p14:tracePt t="41251" x="4732338" y="5445125"/>
          <p14:tracePt t="41252" x="4732338" y="5448300"/>
          <p14:tracePt t="41253" x="4737100" y="5448300"/>
          <p14:tracePt t="41255" x="4740275" y="5448300"/>
          <p14:tracePt t="41256" x="4745038" y="5453063"/>
          <p14:tracePt t="41257" x="4748213" y="5453063"/>
          <p14:tracePt t="41258" x="4752975" y="5453063"/>
          <p14:tracePt t="41259" x="4752975" y="5456238"/>
          <p14:tracePt t="41260" x="4756150" y="5456238"/>
          <p14:tracePt t="41261" x="4756150" y="5461000"/>
          <p14:tracePt t="41262" x="4760913" y="5461000"/>
          <p14:tracePt t="41264" x="4764088" y="5461000"/>
          <p14:tracePt t="41265" x="4764088" y="5464175"/>
          <p14:tracePt t="41266" x="4768850" y="5464175"/>
          <p14:tracePt t="41270" x="4768850" y="5468938"/>
          <p14:tracePt t="41275" x="4772025" y="5472113"/>
          <p14:tracePt t="41278" x="4776788" y="5472113"/>
          <p14:tracePt t="41281" x="4776788" y="5476875"/>
          <p14:tracePt t="41284" x="4779963" y="5476875"/>
          <p14:tracePt t="41287" x="4784725" y="5476875"/>
          <p14:tracePt t="41289" x="4784725" y="5480050"/>
          <p14:tracePt t="41292" x="4789488" y="5484813"/>
          <p14:tracePt t="41295" x="4792663" y="5489575"/>
          <p14:tracePt t="41296" x="4797425" y="5489575"/>
          <p14:tracePt t="41297" x="4797425" y="5492750"/>
          <p14:tracePt t="41298" x="4800600" y="5492750"/>
          <p14:tracePt t="41300" x="4800600" y="5497513"/>
          <p14:tracePt t="41301" x="4805363" y="5497513"/>
          <p14:tracePt t="41302" x="4805363" y="5500688"/>
          <p14:tracePt t="41304" x="4808538" y="5500688"/>
          <p14:tracePt t="41305" x="4808538" y="5505450"/>
          <p14:tracePt t="41308" x="4808538" y="5508625"/>
          <p14:tracePt t="41309" x="4813300" y="5508625"/>
          <p14:tracePt t="41311" x="4816475" y="5513388"/>
          <p14:tracePt t="41313" x="4821238" y="5513388"/>
          <p14:tracePt t="41314" x="4821238" y="5516563"/>
          <p14:tracePt t="41316" x="4824413" y="5516563"/>
          <p14:tracePt t="41319" x="4829175" y="5516563"/>
          <p14:tracePt t="41322" x="4832350" y="5516563"/>
          <p14:tracePt t="41323" x="4832350" y="5521325"/>
          <p14:tracePt t="41325" x="4837113" y="5521325"/>
          <p14:tracePt t="41328" x="4840288" y="5524500"/>
          <p14:tracePt t="41328" x="4845050" y="5524500"/>
          <p14:tracePt t="41330" x="4848225" y="5524500"/>
          <p14:tracePt t="41332" x="4848225" y="5529263"/>
          <p14:tracePt t="41335" x="4852988" y="5529263"/>
          <p14:tracePt t="41339" x="4856163" y="5532438"/>
          <p14:tracePt t="41344" x="4860925" y="5532438"/>
          <p14:tracePt t="41586" x="4856163" y="5529263"/>
          <p14:tracePt t="41591" x="4852988" y="5529263"/>
          <p14:tracePt t="41595" x="4852988" y="5524500"/>
          <p14:tracePt t="41601" x="4852988" y="5521325"/>
          <p14:tracePt t="41606" x="4848225" y="5521325"/>
          <p14:tracePt t="41613" x="4845050" y="5521325"/>
          <p14:tracePt t="41614" x="4845050" y="5516563"/>
          <p14:tracePt t="41617" x="4840288" y="5516563"/>
          <p14:tracePt t="41621" x="4837113" y="5516563"/>
          <p14:tracePt t="41622" x="4837113" y="5513388"/>
          <p14:tracePt t="41675" x="4837113" y="5516563"/>
          <p14:tracePt t="41681" x="4837113" y="5521325"/>
          <p14:tracePt t="41682" x="4832350" y="5529263"/>
          <p14:tracePt t="41686" x="4832350" y="5540375"/>
          <p14:tracePt t="41687" x="4832350" y="5545138"/>
          <p14:tracePt t="41689" x="4832350" y="5548313"/>
          <p14:tracePt t="41690" x="4832350" y="5556250"/>
          <p14:tracePt t="41691" x="4829175" y="5556250"/>
          <p14:tracePt t="41694" x="4829175" y="5564188"/>
          <p14:tracePt t="41697" x="4829175" y="5572125"/>
          <p14:tracePt t="41698" x="4829175" y="5576888"/>
          <p14:tracePt t="41699" x="4829175" y="5584825"/>
          <p14:tracePt t="41701" x="4829175" y="5589588"/>
          <p14:tracePt t="41702" x="4829175" y="5597525"/>
          <p14:tracePt t="41704" x="4829175" y="5600700"/>
          <p14:tracePt t="41705" x="4829175" y="5605463"/>
          <p14:tracePt t="41706" x="4829175" y="5608638"/>
          <p14:tracePt t="41707" x="4829175" y="5613400"/>
          <p14:tracePt t="41708" x="4829175" y="5621338"/>
          <p14:tracePt t="41709" x="4829175" y="5624513"/>
          <p14:tracePt t="41711" x="4829175" y="5629275"/>
          <p14:tracePt t="41713" x="4829175" y="5640388"/>
          <p14:tracePt t="41716" x="4829175" y="5648325"/>
          <p14:tracePt t="41717" x="4829175" y="5653088"/>
          <p14:tracePt t="41718" x="4829175" y="5656263"/>
          <p14:tracePt t="41719" x="4829175" y="5661025"/>
          <p14:tracePt t="41721" x="4829175" y="5664200"/>
          <p14:tracePt t="41722" x="4829175" y="5668963"/>
          <p14:tracePt t="41724" x="4829175" y="5673725"/>
          <p14:tracePt t="41725" x="4829175" y="5676900"/>
          <p14:tracePt t="41728" x="4829175" y="5681663"/>
          <p14:tracePt t="41731" x="4829175" y="5684838"/>
          <p14:tracePt t="41737" x="4829175" y="5689600"/>
          <p14:tracePt t="41769" x="4829175" y="5684838"/>
          <p14:tracePt t="41778" x="4829175" y="5681663"/>
          <p14:tracePt t="41780" x="4829175" y="5676900"/>
          <p14:tracePt t="41782" x="4824413" y="5673725"/>
          <p14:tracePt t="41784" x="4824413" y="5668963"/>
          <p14:tracePt t="41785" x="4824413" y="5664200"/>
          <p14:tracePt t="41786" x="4821238" y="5664200"/>
          <p14:tracePt t="41787" x="4821238" y="5661025"/>
          <p14:tracePt t="41788" x="4816475" y="5656263"/>
          <p14:tracePt t="41789" x="4816475" y="5653088"/>
          <p14:tracePt t="41790" x="4813300" y="5648325"/>
          <p14:tracePt t="41791" x="4813300" y="5645150"/>
          <p14:tracePt t="41794" x="4808538" y="5640388"/>
          <p14:tracePt t="41795" x="4808538" y="5637213"/>
          <p14:tracePt t="41796" x="4805363" y="5632450"/>
          <p14:tracePt t="41797" x="4805363" y="5629275"/>
          <p14:tracePt t="41798" x="4800600" y="5624513"/>
          <p14:tracePt t="41800" x="4797425" y="5621338"/>
          <p14:tracePt t="41801" x="4792663" y="5616575"/>
          <p14:tracePt t="41802" x="4792663" y="5613400"/>
          <p14:tracePt t="41803" x="4789488" y="5608638"/>
          <p14:tracePt t="41804" x="4789488" y="5605463"/>
          <p14:tracePt t="41805" x="4784725" y="5605463"/>
          <p14:tracePt t="41807" x="4779963" y="5600700"/>
          <p14:tracePt t="41808" x="4776788" y="5597525"/>
          <p14:tracePt t="41809" x="4772025" y="5592763"/>
          <p14:tracePt t="41810" x="4772025" y="5589588"/>
          <p14:tracePt t="41811" x="4772025" y="5584825"/>
          <p14:tracePt t="41813" x="4764088" y="5576888"/>
          <p14:tracePt t="41814" x="4760913" y="5572125"/>
          <p14:tracePt t="41815" x="4756150" y="5568950"/>
          <p14:tracePt t="41816" x="4752975" y="5564188"/>
          <p14:tracePt t="41817" x="4748213" y="5564188"/>
          <p14:tracePt t="41818" x="4748213" y="5561013"/>
          <p14:tracePt t="41819" x="4745038" y="5556250"/>
          <p14:tracePt t="41820" x="4740275" y="5553075"/>
          <p14:tracePt t="41821" x="4737100" y="5548313"/>
          <p14:tracePt t="41822" x="4732338" y="5545138"/>
          <p14:tracePt t="41824" x="4729163" y="5540375"/>
          <p14:tracePt t="41825" x="4724400" y="5532438"/>
          <p14:tracePt t="41826" x="4721225" y="5532438"/>
          <p14:tracePt t="41828" x="4716463" y="5529263"/>
          <p14:tracePt t="41828" x="4713288" y="5524500"/>
          <p14:tracePt t="41830" x="4708525" y="5521325"/>
          <p14:tracePt t="41831" x="4700588" y="5516563"/>
          <p14:tracePt t="41832" x="4700588" y="5513388"/>
          <p14:tracePt t="41833" x="4697413" y="5513388"/>
          <p14:tracePt t="41834" x="4692650" y="5508625"/>
          <p14:tracePt t="41835" x="4687888" y="5505450"/>
          <p14:tracePt t="41836" x="4687888" y="5500688"/>
          <p14:tracePt t="41837" x="4684713" y="5500688"/>
          <p14:tracePt t="41838" x="4684713" y="5497513"/>
          <p14:tracePt t="41839" x="4679950" y="5492750"/>
          <p14:tracePt t="41840" x="4676775" y="5492750"/>
          <p14:tracePt t="41841" x="4676775" y="5489575"/>
          <p14:tracePt t="41842" x="4672013" y="5489575"/>
          <p14:tracePt t="41843" x="4668838" y="5484813"/>
          <p14:tracePt t="41845" x="4668838" y="5480050"/>
          <p14:tracePt t="41846" x="4664075" y="5480050"/>
          <p14:tracePt t="41848" x="4660900" y="5476875"/>
          <p14:tracePt t="41852" x="4656138" y="5476875"/>
          <p14:tracePt t="41894" x="4656138" y="5480050"/>
          <p14:tracePt t="41896" x="4660900" y="5484813"/>
          <p14:tracePt t="41898" x="4664075" y="5484813"/>
          <p14:tracePt t="41899" x="4668838" y="5489575"/>
          <p14:tracePt t="41900" x="4672013" y="5492750"/>
          <p14:tracePt t="41901" x="4676775" y="5492750"/>
          <p14:tracePt t="41902" x="4679950" y="5497513"/>
          <p14:tracePt t="41903" x="4684713" y="5500688"/>
          <p14:tracePt t="41904" x="4684713" y="5505450"/>
          <p14:tracePt t="41905" x="4687888" y="5505450"/>
          <p14:tracePt t="41906" x="4697413" y="5508625"/>
          <p14:tracePt t="41907" x="4700588" y="5513388"/>
          <p14:tracePt t="41908" x="4708525" y="5516563"/>
          <p14:tracePt t="41909" x="4713288" y="5521325"/>
          <p14:tracePt t="41910" x="4721225" y="5521325"/>
          <p14:tracePt t="41911" x="4724400" y="5521325"/>
          <p14:tracePt t="41912" x="4732338" y="5524500"/>
          <p14:tracePt t="41913" x="4740275" y="5532438"/>
          <p14:tracePt t="41914" x="4748213" y="5537200"/>
          <p14:tracePt t="41915" x="4756150" y="5537200"/>
          <p14:tracePt t="41916" x="4768850" y="5540375"/>
          <p14:tracePt t="41917" x="4772025" y="5545138"/>
          <p14:tracePt t="41918" x="4779963" y="5548313"/>
          <p14:tracePt t="41919" x="4789488" y="5548313"/>
          <p14:tracePt t="41920" x="4797425" y="5553075"/>
          <p14:tracePt t="41921" x="4805363" y="5556250"/>
          <p14:tracePt t="41922" x="4813300" y="5556250"/>
          <p14:tracePt t="41923" x="4816475" y="5561013"/>
          <p14:tracePt t="41924" x="4824413" y="5564188"/>
          <p14:tracePt t="41925" x="4832350" y="5564188"/>
          <p14:tracePt t="41926" x="4840288" y="5568950"/>
          <p14:tracePt t="41927" x="4845050" y="5568950"/>
          <p14:tracePt t="41928" x="4852988" y="5572125"/>
          <p14:tracePt t="41929" x="4856163" y="5572125"/>
          <p14:tracePt t="41931" x="4868863" y="5576888"/>
          <p14:tracePt t="41932" x="4876800" y="5576888"/>
          <p14:tracePt t="41933" x="4881563" y="5576888"/>
          <p14:tracePt t="41934" x="4884738" y="5576888"/>
          <p14:tracePt t="41936" x="4889500" y="5581650"/>
          <p14:tracePt t="41937" x="4892675" y="5581650"/>
          <p14:tracePt t="41938" x="4897438" y="5581650"/>
          <p14:tracePt t="41939" x="4900613" y="5581650"/>
          <p14:tracePt t="41940" x="4905375" y="5581650"/>
          <p14:tracePt t="41941" x="4908550" y="5581650"/>
          <p14:tracePt t="41943" x="4913313" y="5581650"/>
          <p14:tracePt t="41944" x="4916488" y="5581650"/>
          <p14:tracePt t="41945" x="4921250" y="5581650"/>
          <p14:tracePt t="41947" x="4924425" y="5581650"/>
          <p14:tracePt t="41952" x="4929188" y="5581650"/>
          <p14:tracePt t="41956" x="4932363" y="5581650"/>
          <p14:tracePt t="41983" x="4932363" y="5576888"/>
          <p14:tracePt t="41990" x="4929188" y="5572125"/>
          <p14:tracePt t="41995" x="4929188" y="5568950"/>
          <p14:tracePt t="41997" x="4924425" y="5564188"/>
          <p14:tracePt t="41999" x="4921250" y="5564188"/>
          <p14:tracePt t="42000" x="4921250" y="5561013"/>
          <p14:tracePt t="42001" x="4916488" y="5561013"/>
          <p14:tracePt t="42002" x="4916488" y="5556250"/>
          <p14:tracePt t="42003" x="4913313" y="5556250"/>
          <p14:tracePt t="42005" x="4908550" y="5553075"/>
          <p14:tracePt t="42006" x="4905375" y="5553075"/>
          <p14:tracePt t="42008" x="4900613" y="5548313"/>
          <p14:tracePt t="42010" x="4897438" y="5548313"/>
          <p14:tracePt t="42011" x="4892675" y="5548313"/>
          <p14:tracePt t="42013" x="4889500" y="5548313"/>
          <p14:tracePt t="42014" x="4889500" y="5545138"/>
          <p14:tracePt t="42016" x="4884738" y="5545138"/>
          <p14:tracePt t="42017" x="4881563" y="5545138"/>
          <p14:tracePt t="42018" x="4876800" y="5540375"/>
          <p14:tracePt t="42020" x="4872038" y="5540375"/>
          <p14:tracePt t="42022" x="4868863" y="5540375"/>
          <p14:tracePt t="42023" x="4864100" y="5537200"/>
          <p14:tracePt t="42024" x="4860925" y="5537200"/>
          <p14:tracePt t="42026" x="4856163" y="5537200"/>
          <p14:tracePt t="42028" x="4852988" y="5532438"/>
          <p14:tracePt t="42028" x="4848225" y="5532438"/>
          <p14:tracePt t="42030" x="4845050" y="5529263"/>
          <p14:tracePt t="42031" x="4840288" y="5529263"/>
          <p14:tracePt t="42033" x="4837113" y="5529263"/>
          <p14:tracePt t="42034" x="4832350" y="5529263"/>
          <p14:tracePt t="42035" x="4829175" y="5524500"/>
          <p14:tracePt t="42037" x="4824413" y="5524500"/>
          <p14:tracePt t="42038" x="4821238" y="5524500"/>
          <p14:tracePt t="42039" x="4816475" y="5524500"/>
          <p14:tracePt t="42041" x="4813300" y="5524500"/>
          <p14:tracePt t="42043" x="4808538" y="5524500"/>
          <p14:tracePt t="42046" x="4808538" y="5521325"/>
          <p14:tracePt t="42047" x="4805363" y="5521325"/>
          <p14:tracePt t="42050" x="4800600" y="5521325"/>
          <p14:tracePt t="42060" x="4797425" y="5521325"/>
          <p14:tracePt t="42313" x="4792663" y="5521325"/>
          <p14:tracePt t="42328" x="4789488" y="5521325"/>
          <p14:tracePt t="42338" x="4784725" y="5521325"/>
          <p14:tracePt t="42344" x="4784725" y="5524500"/>
          <p14:tracePt t="42348" x="4779963" y="5524500"/>
          <p14:tracePt t="42355" x="4776788" y="5524500"/>
          <p14:tracePt t="42356" x="4772025" y="5529263"/>
          <p14:tracePt t="42358" x="4768850" y="5529263"/>
          <p14:tracePt t="42364" x="4764088" y="5532438"/>
          <p14:tracePt t="42367" x="4760913" y="5532438"/>
          <p14:tracePt t="42370" x="4752975" y="5532438"/>
          <p14:tracePt t="42371" x="4748213" y="5532438"/>
          <p14:tracePt t="42373" x="4745038" y="5532438"/>
          <p14:tracePt t="42374" x="4745038" y="5537200"/>
          <p14:tracePt t="42375" x="4740275" y="5537200"/>
          <p14:tracePt t="42376" x="4737100" y="5537200"/>
          <p14:tracePt t="42378" x="4732338" y="5537200"/>
          <p14:tracePt t="42379" x="4729163" y="5537200"/>
          <p14:tracePt t="42382" x="4724400" y="5537200"/>
          <p14:tracePt t="42384" x="4721225" y="5537200"/>
          <p14:tracePt t="42392" x="4721225" y="5540375"/>
          <p14:tracePt t="42423" x="4721225" y="5545138"/>
          <p14:tracePt t="42428" x="4724400" y="5545138"/>
          <p14:tracePt t="43877" x="4729163" y="5545138"/>
          <p14:tracePt t="43878" x="4732338" y="5545138"/>
          <p14:tracePt t="43879" x="4737100" y="5545138"/>
          <p14:tracePt t="43880" x="4740275" y="5545138"/>
          <p14:tracePt t="43881" x="4745038" y="5545138"/>
          <p14:tracePt t="43882" x="4752975" y="5545138"/>
          <p14:tracePt t="43883" x="4756150" y="5545138"/>
          <p14:tracePt t="43886" x="4779963" y="5540375"/>
          <p14:tracePt t="43887" x="4789488" y="5532438"/>
          <p14:tracePt t="43888" x="4805363" y="5532438"/>
          <p14:tracePt t="43889" x="4813300" y="5529263"/>
          <p14:tracePt t="43890" x="4832350" y="5524500"/>
          <p14:tracePt t="43891" x="4845050" y="5521325"/>
          <p14:tracePt t="43892" x="4860925" y="5521325"/>
          <p14:tracePt t="43893" x="4872038" y="5516563"/>
          <p14:tracePt t="43894" x="4900613" y="5505450"/>
          <p14:tracePt t="43895" x="4921250" y="5500688"/>
          <p14:tracePt t="43896" x="4932363" y="5497513"/>
          <p14:tracePt t="43897" x="4960938" y="5484813"/>
          <p14:tracePt t="43898" x="4981575" y="5480050"/>
          <p14:tracePt t="43899" x="5000625" y="5476875"/>
          <p14:tracePt t="43902" x="5065713" y="5456238"/>
          <p14:tracePt t="43902" x="5092700" y="5445125"/>
          <p14:tracePt t="43903" x="5121275" y="5440363"/>
          <p14:tracePt t="43904" x="5160963" y="5429250"/>
          <p14:tracePt t="43905" x="5197475" y="5416550"/>
          <p14:tracePt t="43906" x="5224463" y="5405438"/>
          <p14:tracePt t="43907" x="5253038" y="5392738"/>
          <p14:tracePt t="43908" x="5289550" y="5380038"/>
          <p14:tracePt t="43909" x="5321300" y="5368925"/>
          <p14:tracePt t="43910" x="5365750" y="5356225"/>
          <p14:tracePt t="43911" x="5400675" y="5345113"/>
          <p14:tracePt t="43912" x="5429250" y="5332413"/>
          <p14:tracePt t="43914" x="5497513" y="5308600"/>
          <p14:tracePt t="43916" x="5573713" y="5276850"/>
          <p14:tracePt t="43917" x="5602288" y="5264150"/>
          <p14:tracePt t="43918" x="5629275" y="5248275"/>
          <p14:tracePt t="43919" x="5657850" y="5237163"/>
          <p14:tracePt t="43920" x="5705475" y="5221288"/>
          <p14:tracePt t="43921" x="5726113" y="5203825"/>
          <p14:tracePt t="43922" x="5753100" y="5192713"/>
          <p14:tracePt t="43923" x="5776913" y="5184775"/>
          <p14:tracePt t="43924" x="5805488" y="5172075"/>
          <p14:tracePt t="43925" x="5834063" y="5160963"/>
          <p14:tracePt t="43926" x="5857875" y="5145088"/>
          <p14:tracePt t="43927" x="5878513" y="5132388"/>
          <p14:tracePt t="43928" x="5897563" y="5124450"/>
          <p14:tracePt t="43929" x="5921375" y="5111750"/>
          <p14:tracePt t="43930" x="5949950" y="5092700"/>
          <p14:tracePt t="43933" x="6002338" y="5060950"/>
          <p14:tracePt t="43935" x="6042025" y="5027613"/>
          <p14:tracePt t="43936" x="6057900" y="5016500"/>
          <p14:tracePt t="43937" x="6070600" y="5003800"/>
          <p14:tracePt t="43938" x="6086475" y="4992688"/>
          <p14:tracePt t="43939" x="6102350" y="4984750"/>
          <p14:tracePt t="43940" x="6121400" y="4960938"/>
          <p14:tracePt t="43941" x="6137275" y="4953000"/>
          <p14:tracePt t="43942" x="6149975" y="4945063"/>
          <p14:tracePt t="43943" x="6165850" y="4927600"/>
          <p14:tracePt t="43945" x="6178550" y="4919663"/>
          <p14:tracePt t="43945" x="6194425" y="4903788"/>
          <p14:tracePt t="43946" x="6226175" y="4879975"/>
          <p14:tracePt t="43947" x="6238875" y="4868863"/>
          <p14:tracePt t="43949" x="6270625" y="4840288"/>
          <p14:tracePt t="43950" x="6294438" y="4816475"/>
          <p14:tracePt t="43951" x="6305550" y="4808538"/>
          <p14:tracePt t="43952" x="6326188" y="4792663"/>
          <p14:tracePt t="43953" x="6342063" y="4776788"/>
          <p14:tracePt t="43954" x="6357938" y="4760913"/>
          <p14:tracePt t="43955" x="6378575" y="4743450"/>
          <p14:tracePt t="43956" x="6410325" y="4719638"/>
          <p14:tracePt t="43957" x="6426200" y="4711700"/>
          <p14:tracePt t="43958" x="6446838" y="4695825"/>
          <p14:tracePt t="43959" x="6462713" y="4679950"/>
          <p14:tracePt t="43960" x="6489700" y="4656138"/>
          <p14:tracePt t="43961" x="6515100" y="4640263"/>
          <p14:tracePt t="43962" x="6526213" y="4627563"/>
          <p14:tracePt t="43963" x="6550025" y="4611688"/>
          <p14:tracePt t="43967" x="6615113" y="4564063"/>
          <p14:tracePt t="43967" x="6638925" y="4548188"/>
          <p14:tracePt t="43968" x="6662738" y="4532313"/>
          <p14:tracePt t="43969" x="6673850" y="4519613"/>
          <p14:tracePt t="43970" x="6702425" y="4500563"/>
          <p14:tracePt t="43971" x="6726238" y="4479925"/>
          <p14:tracePt t="43972" x="6738938" y="4467225"/>
          <p14:tracePt t="43973" x="6762750" y="4451350"/>
          <p14:tracePt t="43974" x="6786563" y="4432300"/>
          <p14:tracePt t="43975" x="6807200" y="4416425"/>
          <p14:tracePt t="43976" x="6838950" y="4400550"/>
          <p14:tracePt t="43977" x="6858000" y="4383088"/>
          <p14:tracePt t="43978" x="6883400" y="4364038"/>
          <p14:tracePt t="43979" x="6902450" y="4348163"/>
          <p14:tracePt t="43981" x="6954838" y="4316413"/>
          <p14:tracePt t="43983" x="6991350" y="4287838"/>
          <p14:tracePt t="43984" x="7015163" y="4271963"/>
          <p14:tracePt t="43985" x="7034213" y="4259263"/>
          <p14:tracePt t="43986" x="7067550" y="4235450"/>
          <p14:tracePt t="43987" x="7078663" y="4227513"/>
          <p14:tracePt t="43988" x="7099300" y="4216400"/>
          <p14:tracePt t="43989" x="7115175" y="4203700"/>
          <p14:tracePt t="43990" x="7135813" y="4191000"/>
          <p14:tracePt t="43991" x="7159625" y="4175125"/>
          <p14:tracePt t="43992" x="7175500" y="4159250"/>
          <p14:tracePt t="43993" x="7194550" y="4148138"/>
          <p14:tracePt t="43995" x="7223125" y="4132263"/>
          <p14:tracePt t="43996" x="7246938" y="4106863"/>
          <p14:tracePt t="43998" x="7275513" y="4087813"/>
          <p14:tracePt t="44000" x="7302500" y="4064000"/>
          <p14:tracePt t="44001" x="7323138" y="4048125"/>
          <p14:tracePt t="44002" x="7335838" y="4040188"/>
          <p14:tracePt t="44003" x="7346950" y="4024313"/>
          <p14:tracePt t="44004" x="7362825" y="4014788"/>
          <p14:tracePt t="44005" x="7370763" y="3998913"/>
          <p14:tracePt t="44006" x="7391400" y="3987800"/>
          <p14:tracePt t="44007" x="7402513" y="3975100"/>
          <p14:tracePt t="44008" x="7415213" y="3963988"/>
          <p14:tracePt t="44009" x="7427913" y="3951288"/>
          <p14:tracePt t="44011" x="7435850" y="3940175"/>
          <p14:tracePt t="44012" x="7459663" y="3906838"/>
          <p14:tracePt t="44013" x="7467600" y="3898900"/>
          <p14:tracePt t="44015" x="7494588" y="3871913"/>
          <p14:tracePt t="44017" x="7507288" y="3856038"/>
          <p14:tracePt t="44017" x="7519988" y="3843338"/>
          <p14:tracePt t="44018" x="7527925" y="3827463"/>
          <p14:tracePt t="44019" x="7535863" y="3819525"/>
          <p14:tracePt t="44020" x="7546975" y="3803650"/>
          <p14:tracePt t="44021" x="7554913" y="3790950"/>
          <p14:tracePt t="44022" x="7570788" y="3775075"/>
          <p14:tracePt t="44023" x="7575550" y="3759200"/>
          <p14:tracePt t="44024" x="7583488" y="3746500"/>
          <p14:tracePt t="44025" x="7596188" y="3738563"/>
          <p14:tracePt t="44026" x="7604125" y="3714750"/>
          <p14:tracePt t="44027" x="7612063" y="3703638"/>
          <p14:tracePt t="44029" x="7623175" y="3695700"/>
          <p14:tracePt t="44029" x="7631113" y="3679825"/>
          <p14:tracePt t="44030" x="7643813" y="3663950"/>
          <p14:tracePt t="44031" x="7651750" y="3654425"/>
          <p14:tracePt t="44032" x="7659688" y="3635375"/>
          <p14:tracePt t="44033" x="7670800" y="3627438"/>
          <p14:tracePt t="44034" x="7680325" y="3611563"/>
          <p14:tracePt t="44035" x="7688263" y="3603625"/>
          <p14:tracePt t="44036" x="7699375" y="3587750"/>
          <p14:tracePt t="44037" x="7707313" y="3575050"/>
          <p14:tracePt t="44038" x="7712075" y="3562350"/>
          <p14:tracePt t="44039" x="7723188" y="3551238"/>
          <p14:tracePt t="44040" x="7731125" y="3543300"/>
          <p14:tracePt t="44041" x="7735888" y="3527425"/>
          <p14:tracePt t="44042" x="7751763" y="3511550"/>
          <p14:tracePt t="44043" x="7754938" y="3503613"/>
          <p14:tracePt t="44045" x="7762875" y="3490913"/>
          <p14:tracePt t="44045" x="7775575" y="3479800"/>
          <p14:tracePt t="44046" x="7780338" y="3470275"/>
          <p14:tracePt t="44047" x="7791450" y="3454400"/>
          <p14:tracePt t="44049" x="7796213" y="3443288"/>
          <p14:tracePt t="44049" x="7807325" y="3435350"/>
          <p14:tracePt t="44050" x="7815263" y="3419475"/>
          <p14:tracePt t="44051" x="7820025" y="3411538"/>
          <p14:tracePt t="44052" x="7831138" y="3395663"/>
          <p14:tracePt t="44053" x="7839075" y="3387725"/>
          <p14:tracePt t="44054" x="7847013" y="3378200"/>
          <p14:tracePt t="44055" x="7851775" y="3370263"/>
          <p14:tracePt t="44056" x="7864475" y="3354388"/>
          <p14:tracePt t="44057" x="7872413" y="3346450"/>
          <p14:tracePt t="44058" x="7875588" y="3330575"/>
          <p14:tracePt t="44059" x="7883525" y="3322638"/>
          <p14:tracePt t="44060" x="7896225" y="3314700"/>
          <p14:tracePt t="44061" x="7899400" y="3303588"/>
          <p14:tracePt t="44062" x="7907338" y="3290888"/>
          <p14:tracePt t="44063" x="7912100" y="3282950"/>
          <p14:tracePt t="44064" x="7915275" y="3275013"/>
          <p14:tracePt t="44065" x="7927975" y="3259138"/>
          <p14:tracePt t="44066" x="7931150" y="3251200"/>
          <p14:tracePt t="44067" x="7939088" y="3235325"/>
          <p14:tracePt t="44068" x="7943850" y="3227388"/>
          <p14:tracePt t="44069" x="7956550" y="3211513"/>
          <p14:tracePt t="44070" x="7959725" y="3203575"/>
          <p14:tracePt t="44071" x="7964488" y="3194050"/>
          <p14:tracePt t="44072" x="7972425" y="3178175"/>
          <p14:tracePt t="44073" x="7983538" y="3170238"/>
          <p14:tracePt t="44074" x="7988300" y="3159125"/>
          <p14:tracePt t="44075" x="7991475" y="3146425"/>
          <p14:tracePt t="44076" x="7999413" y="3138488"/>
          <p14:tracePt t="44077" x="8004175" y="3127375"/>
          <p14:tracePt t="44078" x="8015288" y="3111500"/>
          <p14:tracePt t="44079" x="8020050" y="3101975"/>
          <p14:tracePt t="44080" x="8027988" y="3086100"/>
          <p14:tracePt t="44081" x="8031163" y="3078163"/>
          <p14:tracePt t="44082" x="8035925" y="3059113"/>
          <p14:tracePt t="44083" x="8048625" y="3046413"/>
          <p14:tracePt t="44084" x="8051800" y="3035300"/>
          <p14:tracePt t="44085" x="8056563" y="3022600"/>
          <p14:tracePt t="44086" x="8064500" y="3014663"/>
          <p14:tracePt t="44087" x="8072438" y="2998788"/>
          <p14:tracePt t="44088" x="8080375" y="2978150"/>
          <p14:tracePt t="44089" x="8083550" y="2962275"/>
          <p14:tracePt t="44090" x="8088313" y="2954338"/>
          <p14:tracePt t="44091" x="8096250" y="2943225"/>
          <p14:tracePt t="44092" x="8099425" y="2922588"/>
          <p14:tracePt t="44093" x="8104188" y="2914650"/>
          <p14:tracePt t="44095" x="8107363" y="2898775"/>
          <p14:tracePt t="44095" x="8115300" y="2886075"/>
          <p14:tracePt t="44096" x="8123238" y="2874963"/>
          <p14:tracePt t="44097" x="8128000" y="2862263"/>
          <p14:tracePt t="44098" x="8135938" y="2846388"/>
          <p14:tracePt t="44099" x="8140700" y="2833688"/>
          <p14:tracePt t="44100" x="8143875" y="2825750"/>
          <p14:tracePt t="44101" x="8151813" y="2809875"/>
          <p14:tracePt t="44102" x="8156575" y="2798763"/>
          <p14:tracePt t="44103" x="8159750" y="2786063"/>
          <p14:tracePt t="44104" x="8167688" y="2774950"/>
          <p14:tracePt t="44105" x="8172450" y="2767013"/>
          <p14:tracePt t="44106" x="8175625" y="2751138"/>
          <p14:tracePt t="44107" x="8183563" y="2741613"/>
          <p14:tracePt t="44108" x="8191500" y="2725738"/>
          <p14:tracePt t="44109" x="8196263" y="2714625"/>
          <p14:tracePt t="44110" x="8199438" y="2706688"/>
          <p14:tracePt t="44111" x="8204200" y="2693988"/>
          <p14:tracePt t="44112" x="8215313" y="2682875"/>
          <p14:tracePt t="44113" x="8220075" y="2667000"/>
          <p14:tracePt t="44114" x="8224838" y="2659063"/>
          <p14:tracePt t="44115" x="8228013" y="2649538"/>
          <p14:tracePt t="44116" x="8232775" y="2641600"/>
          <p14:tracePt t="44117" x="8243888" y="2625725"/>
          <p14:tracePt t="44118" x="8248650" y="2617788"/>
          <p14:tracePt t="44119" x="8251825" y="2609850"/>
          <p14:tracePt t="44120" x="8256588" y="2601913"/>
          <p14:tracePt t="44121" x="8264525" y="2590800"/>
          <p14:tracePt t="44122" x="8267700" y="2578100"/>
          <p14:tracePt t="44123" x="8272463" y="2570163"/>
          <p14:tracePt t="44124" x="8275638" y="2557463"/>
          <p14:tracePt t="44125" x="8283575" y="2549525"/>
          <p14:tracePt t="44126" x="8288338" y="2541588"/>
          <p14:tracePt t="44128" x="8299450" y="2525713"/>
          <p14:tracePt t="44129" x="8304213" y="2514600"/>
          <p14:tracePt t="44130" x="8307388" y="2506663"/>
          <p14:tracePt t="44132" x="8312150" y="2501900"/>
          <p14:tracePt t="44132" x="8316913" y="2493963"/>
          <p14:tracePt t="44133" x="8320088" y="2486025"/>
          <p14:tracePt t="44134" x="8328025" y="2478088"/>
          <p14:tracePt t="44135" x="8332788" y="2474913"/>
          <p14:tracePt t="44136" x="8335963" y="2465388"/>
          <p14:tracePt t="44137" x="8340725" y="2457450"/>
          <p14:tracePt t="44138" x="8348663" y="2449513"/>
          <p14:tracePt t="44139" x="8348663" y="2446338"/>
          <p14:tracePt t="44140" x="8351838" y="2441575"/>
          <p14:tracePt t="44141" x="8356600" y="2433638"/>
          <p14:tracePt t="44142" x="8359775" y="2430463"/>
          <p14:tracePt t="44143" x="8364538" y="2422525"/>
          <p14:tracePt t="44145" x="8367713" y="2417763"/>
          <p14:tracePt t="44145" x="8372475" y="2414588"/>
          <p14:tracePt t="44146" x="8375650" y="2409825"/>
          <p14:tracePt t="44148" x="8380413" y="2401888"/>
          <p14:tracePt t="44148" x="8383588" y="2398713"/>
          <p14:tracePt t="44149" x="8388350" y="2393950"/>
          <p14:tracePt t="44150" x="8391525" y="2390775"/>
          <p14:tracePt t="44151" x="8396288" y="2386013"/>
          <p14:tracePt t="44152" x="8401050" y="2378075"/>
          <p14:tracePt t="44153" x="8404225" y="2378075"/>
          <p14:tracePt t="44154" x="8408988" y="2373313"/>
          <p14:tracePt t="44155" x="8408988" y="2370138"/>
          <p14:tracePt t="44156" x="8412163" y="2365375"/>
          <p14:tracePt t="44157" x="8416925" y="2362200"/>
          <p14:tracePt t="44158" x="8420100" y="2357438"/>
          <p14:tracePt t="44159" x="8424863" y="2354263"/>
          <p14:tracePt t="44160" x="8428038" y="2349500"/>
          <p14:tracePt t="44161" x="8432800" y="2346325"/>
          <p14:tracePt t="44162" x="8435975" y="2341563"/>
          <p14:tracePt t="44163" x="8440738" y="2338388"/>
          <p14:tracePt t="44164" x="8443913" y="2338388"/>
          <p14:tracePt t="44165" x="8448675" y="2333625"/>
          <p14:tracePt t="44166" x="8448675" y="2330450"/>
          <p14:tracePt t="44167" x="8451850" y="2330450"/>
          <p14:tracePt t="44168" x="8456613" y="2325688"/>
          <p14:tracePt t="44169" x="8459788" y="2322513"/>
          <p14:tracePt t="44170" x="8464550" y="2317750"/>
          <p14:tracePt t="44171" x="8467725" y="2314575"/>
          <p14:tracePt t="44172" x="8472488" y="2309813"/>
          <p14:tracePt t="44173" x="8475663" y="2309813"/>
          <p14:tracePt t="44174" x="8480425" y="2301875"/>
          <p14:tracePt t="44175" x="8483600" y="2301875"/>
          <p14:tracePt t="44176" x="8483600" y="2298700"/>
          <p14:tracePt t="44177" x="8488363" y="2293938"/>
          <p14:tracePt t="44178" x="8493125" y="2290763"/>
          <p14:tracePt t="44180" x="8496300" y="2286000"/>
          <p14:tracePt t="44182" x="8504238" y="2281238"/>
          <p14:tracePt t="44183" x="8509000" y="2278063"/>
          <p14:tracePt t="44184" x="8516938" y="2273300"/>
          <p14:tracePt t="44185" x="8516938" y="2270125"/>
          <p14:tracePt t="44186" x="8520113" y="2265363"/>
          <p14:tracePt t="44187" x="8524875" y="2262188"/>
          <p14:tracePt t="44188" x="8528050" y="2257425"/>
          <p14:tracePt t="44189" x="8532813" y="2254250"/>
          <p14:tracePt t="44190" x="8535988" y="2249488"/>
          <p14:tracePt t="44191" x="8540750" y="2246313"/>
          <p14:tracePt t="44193" x="8543925" y="2241550"/>
          <p14:tracePt t="44194" x="8548688" y="2241550"/>
          <p14:tracePt t="44195" x="8556625" y="2238375"/>
          <p14:tracePt t="44196" x="8559800" y="2233613"/>
          <p14:tracePt t="44197" x="8564563" y="2230438"/>
          <p14:tracePt t="44198" x="8567738" y="2225675"/>
          <p14:tracePt t="44199" x="8572500" y="2222500"/>
          <p14:tracePt t="44200" x="8575675" y="2222500"/>
          <p14:tracePt t="44201" x="8580438" y="2217738"/>
          <p14:tracePt t="44202" x="8585200" y="2214563"/>
          <p14:tracePt t="44203" x="8588375" y="2209800"/>
          <p14:tracePt t="44204" x="8588375" y="2206625"/>
          <p14:tracePt t="44205" x="8593138" y="2201863"/>
          <p14:tracePt t="44206" x="8596313" y="2201863"/>
          <p14:tracePt t="44207" x="8601075" y="2198688"/>
          <p14:tracePt t="44208" x="8609013" y="2193925"/>
          <p14:tracePt t="44209" x="8612188" y="2193925"/>
          <p14:tracePt t="44210" x="8620125" y="2189163"/>
          <p14:tracePt t="44211" x="8624888" y="2185988"/>
          <p14:tracePt t="44212" x="8628063" y="2181225"/>
          <p14:tracePt t="44213" x="8636000" y="2178050"/>
          <p14:tracePt t="44214" x="8643938" y="2165350"/>
          <p14:tracePt t="44215" x="8648700" y="2165350"/>
          <p14:tracePt t="44216" x="8656638" y="2162175"/>
          <p14:tracePt t="44217" x="8659813" y="2157413"/>
          <p14:tracePt t="44218" x="8667750" y="2154238"/>
          <p14:tracePt t="44219" x="8677275" y="2149475"/>
          <p14:tracePt t="44220" x="8685213" y="2141538"/>
          <p14:tracePt t="44221" x="8696325" y="2138363"/>
          <p14:tracePt t="44222" x="8704263" y="2130425"/>
          <p14:tracePt t="44223" x="8709025" y="2125663"/>
          <p14:tracePt t="44224" x="8720138" y="2117725"/>
          <p14:tracePt t="44225" x="8728075" y="2114550"/>
          <p14:tracePt t="44226" x="8736013" y="2109788"/>
          <p14:tracePt t="44227" x="8748713" y="2106613"/>
          <p14:tracePt t="44228" x="8756650" y="2101850"/>
          <p14:tracePt t="44229" x="8769350" y="2097088"/>
          <p14:tracePt t="44230" x="8777288" y="2085975"/>
          <p14:tracePt t="44231" x="8793163" y="2081213"/>
          <p14:tracePt t="44232" x="8801100" y="2078038"/>
          <p14:tracePt t="44233" x="8809038" y="2073275"/>
          <p14:tracePt t="44234" x="8824913" y="2062163"/>
          <p14:tracePt t="44235" x="8832850" y="2057400"/>
          <p14:tracePt t="44236" x="8840788" y="2054225"/>
          <p14:tracePt t="44237" x="8853488" y="2049463"/>
          <p14:tracePt t="44238" x="8864600" y="2046288"/>
          <p14:tracePt t="44239" x="8872538" y="2041525"/>
          <p14:tracePt t="44240" x="8888413" y="2038350"/>
          <p14:tracePt t="44241" x="8896350" y="2033588"/>
          <p14:tracePt t="44242" x="8904288" y="2030413"/>
          <p14:tracePt t="44243" x="8912225" y="2025650"/>
          <p14:tracePt t="44245" x="8936038" y="2014538"/>
          <p14:tracePt t="44246" x="8945563" y="2009775"/>
          <p14:tracePt t="44248" x="8953500" y="2005013"/>
          <p14:tracePt t="44248" x="8964613" y="2001838"/>
          <p14:tracePt t="44249" x="8972550" y="1997075"/>
          <p14:tracePt t="44250" x="8985250" y="1993900"/>
          <p14:tracePt t="44251" x="8993188" y="1989138"/>
          <p14:tracePt t="44252" x="9001125" y="1989138"/>
          <p14:tracePt t="44253" x="9012238" y="1985963"/>
          <p14:tracePt t="44254" x="9020175" y="1978025"/>
          <p14:tracePt t="44255" x="9028113" y="1978025"/>
          <p14:tracePt t="44256" x="9037638" y="1973263"/>
          <p14:tracePt t="44257" x="9045575" y="1970088"/>
          <p14:tracePt t="44258" x="9053513" y="1970088"/>
          <p14:tracePt t="44259" x="9056688" y="1965325"/>
          <p14:tracePt t="44260" x="9064625" y="1962150"/>
          <p14:tracePt t="44261" x="9072563" y="1962150"/>
          <p14:tracePt t="44262" x="9077325" y="1957388"/>
          <p14:tracePt t="44263" x="9080500" y="1957388"/>
          <p14:tracePt t="44264" x="9088438" y="1957388"/>
          <p14:tracePt t="44265" x="9093200" y="1954213"/>
          <p14:tracePt t="44266" x="9096375" y="1954213"/>
          <p14:tracePt t="44267" x="9104313" y="1949450"/>
          <p14:tracePt t="44268" x="9109075" y="1949450"/>
          <p14:tracePt t="44269" x="9112250" y="1946275"/>
          <p14:tracePt t="44270" x="9117013" y="1946275"/>
          <p14:tracePt t="44271" x="9120188" y="1941513"/>
          <p14:tracePt t="44274" x="9124950" y="1938338"/>
          <p14:tracePt t="44275" x="9129713" y="1938338"/>
          <p14:tracePt t="44276" x="9132888" y="1933575"/>
          <p14:tracePt t="44277" x="9137650" y="1933575"/>
          <p14:tracePt t="44279" x="9140825" y="1930400"/>
          <p14:tracePt t="44280" x="9145588" y="1930400"/>
          <p14:tracePt t="44281" x="9148763" y="1930400"/>
          <p14:tracePt t="44282" x="9153525" y="1925638"/>
          <p14:tracePt t="44284" x="9156700" y="1925638"/>
          <p14:tracePt t="44285" x="9161463" y="1922463"/>
          <p14:tracePt t="44287" x="9161463" y="1917700"/>
          <p14:tracePt t="44289" x="9164638" y="1917700"/>
          <p14:tracePt t="44290" x="9169400" y="1912938"/>
          <p14:tracePt t="44292" x="9172575" y="1912938"/>
          <p14:tracePt t="44293" x="9177338" y="1912938"/>
          <p14:tracePt t="44295" x="9177338" y="1909763"/>
          <p14:tracePt t="44296" x="9180513" y="1909763"/>
          <p14:tracePt t="44298" x="9185275" y="1909763"/>
          <p14:tracePt t="44300" x="9188450" y="1909763"/>
          <p14:tracePt t="44301" x="9188450" y="1905000"/>
          <p14:tracePt t="44303" x="9193213" y="1905000"/>
          <p14:tracePt t="44306" x="9196388" y="1901825"/>
          <p14:tracePt t="44309" x="9196388" y="1897063"/>
          <p14:tracePt t="44312" x="9201150" y="1897063"/>
          <p14:tracePt t="44314" x="9201150" y="1893888"/>
          <p14:tracePt t="44319" x="9201150" y="1889125"/>
          <p14:tracePt t="44320" x="9204325" y="1889125"/>
          <p14:tracePt t="44323" x="9204325" y="1885950"/>
          <p14:tracePt t="44325" x="9209088" y="1885950"/>
          <p14:tracePt t="44328" x="9209088" y="1881188"/>
          <p14:tracePt t="44329" x="9213850" y="1881188"/>
          <p14:tracePt t="44333" x="9213850" y="1878013"/>
          <p14:tracePt t="44334" x="9217025" y="1878013"/>
          <p14:tracePt t="44338" x="9217025" y="1873250"/>
          <p14:tracePt t="44342" x="9221788" y="1873250"/>
          <p14:tracePt t="44346" x="9221788" y="1870075"/>
          <p14:tracePt t="44348" x="9224963" y="1870075"/>
          <p14:tracePt t="44451" x="9221788" y="1873250"/>
          <p14:tracePt t="44456" x="9217025" y="1878013"/>
          <p14:tracePt t="44459" x="9213850" y="1878013"/>
          <p14:tracePt t="44459" x="9213850" y="1881188"/>
          <p14:tracePt t="44461" x="9209088" y="1881188"/>
          <p14:tracePt t="44462" x="9209088" y="1885950"/>
          <p14:tracePt t="44464" x="9204325" y="1885950"/>
          <p14:tracePt t="44465" x="9204325" y="1889125"/>
          <p14:tracePt t="44467" x="9204325" y="1893888"/>
          <p14:tracePt t="44469" x="9201150" y="1897063"/>
          <p14:tracePt t="44471" x="9196388" y="1901825"/>
          <p14:tracePt t="44473" x="9193213" y="1901825"/>
          <p14:tracePt t="44474" x="9193213" y="1905000"/>
          <p14:tracePt t="44475" x="9188450" y="1905000"/>
          <p14:tracePt t="44478" x="9185275" y="1909763"/>
          <p14:tracePt t="44480" x="9185275" y="1912938"/>
          <p14:tracePt t="44481" x="9180513" y="1912938"/>
          <p14:tracePt t="44482" x="9180513" y="1917700"/>
          <p14:tracePt t="44484" x="9180513" y="1922463"/>
          <p14:tracePt t="44485" x="9177338" y="1922463"/>
          <p14:tracePt t="44486" x="9177338" y="1925638"/>
          <p14:tracePt t="44488" x="9172575" y="1925638"/>
          <p14:tracePt t="44489" x="9172575" y="1930400"/>
          <p14:tracePt t="44492" x="9169400" y="1933575"/>
          <p14:tracePt t="44495" x="9169400" y="1938338"/>
          <p14:tracePt t="44497" x="9169400" y="1941513"/>
          <p14:tracePt t="44498" x="9164638" y="1941513"/>
          <p14:tracePt t="44500" x="9164638" y="1946275"/>
          <p14:tracePt t="44556" x="9164638" y="1949450"/>
          <p14:tracePt t="44564" x="9164638" y="1954213"/>
          <p14:tracePt t="44570" x="9164638" y="1957388"/>
          <p14:tracePt t="44603" x="9164638" y="1962150"/>
          <p14:tracePt t="44630" x="9164638" y="1965325"/>
          <p14:tracePt t="44632" x="9169400" y="1965325"/>
          <p14:tracePt t="44635" x="9172575" y="1965325"/>
          <p14:tracePt t="44636" x="9172575" y="1970088"/>
          <p14:tracePt t="44639" x="9177338" y="1970088"/>
          <p14:tracePt t="44640" x="9177338" y="1973263"/>
          <p14:tracePt t="44641" x="9180513" y="1973263"/>
          <p14:tracePt t="44642" x="9185275" y="1973263"/>
          <p14:tracePt t="44643" x="9185275" y="1978025"/>
          <p14:tracePt t="44645" x="9188450" y="1978025"/>
          <p14:tracePt t="44645" x="9193213" y="1981200"/>
          <p14:tracePt t="44647" x="9196388" y="1981200"/>
          <p14:tracePt t="44648" x="9201150" y="1985963"/>
          <p14:tracePt t="44650" x="9204325" y="1989138"/>
          <p14:tracePt t="44651" x="9209088" y="1989138"/>
          <p14:tracePt t="44653" x="9213850" y="1993900"/>
          <p14:tracePt t="44654" x="9217025" y="1993900"/>
          <p14:tracePt t="44655" x="9221788" y="1997075"/>
          <p14:tracePt t="44656" x="9224963" y="1997075"/>
          <p14:tracePt t="44657" x="9229725" y="2001838"/>
          <p14:tracePt t="44658" x="9232900" y="2001838"/>
          <p14:tracePt t="44659" x="9237663" y="2005013"/>
          <p14:tracePt t="44660" x="9240838" y="2005013"/>
          <p14:tracePt t="44661" x="9240838" y="2009775"/>
          <p14:tracePt t="44662" x="9245600" y="2009775"/>
          <p14:tracePt t="44663" x="9248775" y="2014538"/>
          <p14:tracePt t="44664" x="9253538" y="2014538"/>
          <p14:tracePt t="44665" x="9256713" y="2017713"/>
          <p14:tracePt t="44666" x="9261475" y="2017713"/>
          <p14:tracePt t="44667" x="9264650" y="2022475"/>
          <p14:tracePt t="44668" x="9269413" y="2022475"/>
          <p14:tracePt t="44669" x="9272588" y="2022475"/>
          <p14:tracePt t="44670" x="9277350" y="2025650"/>
          <p14:tracePt t="44671" x="9280525" y="2025650"/>
          <p14:tracePt t="44673" x="9285288" y="2030413"/>
          <p14:tracePt t="44674" x="9288463" y="2030413"/>
          <p14:tracePt t="44675" x="9296400" y="2030413"/>
          <p14:tracePt t="44676" x="9301163" y="2030413"/>
          <p14:tracePt t="44677" x="9305925" y="2030413"/>
          <p14:tracePt t="44679" x="9309100" y="2030413"/>
          <p14:tracePt t="44679" x="9313863" y="2033588"/>
          <p14:tracePt t="44681" x="9324975" y="2033588"/>
          <p14:tracePt t="44682" x="9329738" y="2033588"/>
          <p14:tracePt t="44683" x="9332913" y="2038350"/>
          <p14:tracePt t="44685" x="9340850" y="2038350"/>
          <p14:tracePt t="44686" x="9345613" y="2041525"/>
          <p14:tracePt t="44687" x="9353550" y="2041525"/>
          <p14:tracePt t="44688" x="9356725" y="2046288"/>
          <p14:tracePt t="44689" x="9364663" y="2046288"/>
          <p14:tracePt t="44690" x="9369425" y="2046288"/>
          <p14:tracePt t="44691" x="9377363" y="2049463"/>
          <p14:tracePt t="44692" x="9385300" y="2049463"/>
          <p14:tracePt t="44693" x="9393238" y="2049463"/>
          <p14:tracePt t="44695" x="9401175" y="2054225"/>
          <p14:tracePt t="44695" x="9405938" y="2054225"/>
          <p14:tracePt t="44696" x="9417050" y="2054225"/>
          <p14:tracePt t="44697" x="9424988" y="2054225"/>
          <p14:tracePt t="44698" x="9432925" y="2057400"/>
          <p14:tracePt t="44699" x="9445625" y="2057400"/>
          <p14:tracePt t="44701" x="9461500" y="2057400"/>
          <p14:tracePt t="44702" x="9469438" y="2057400"/>
          <p14:tracePt t="44703" x="9477375" y="2062163"/>
          <p14:tracePt t="44704" x="9485313" y="2062163"/>
          <p14:tracePt t="44705" x="9493250" y="2062163"/>
          <p14:tracePt t="44706" x="9505950" y="2062163"/>
          <p14:tracePt t="44707" x="9513888" y="2062163"/>
          <p14:tracePt t="44708" x="9521825" y="2065338"/>
          <p14:tracePt t="44709" x="9532938" y="2065338"/>
          <p14:tracePt t="44710" x="9540875" y="2065338"/>
          <p14:tracePt t="44711" x="9548813" y="2065338"/>
          <p14:tracePt t="44712" x="9556750" y="2065338"/>
          <p14:tracePt t="44713" x="9569450" y="2073275"/>
          <p14:tracePt t="44714" x="9577388" y="2073275"/>
          <p14:tracePt t="44715" x="9585325" y="2073275"/>
          <p14:tracePt t="44716" x="9601200" y="2073275"/>
          <p14:tracePt t="44717" x="9609138" y="2073275"/>
          <p14:tracePt t="44718" x="9617075" y="2073275"/>
          <p14:tracePt t="44719" x="9625013" y="2073275"/>
          <p14:tracePt t="44720" x="9632950" y="2078038"/>
          <p14:tracePt t="44721" x="9640888" y="2078038"/>
          <p14:tracePt t="44722" x="9656763" y="2078038"/>
          <p14:tracePt t="44723" x="9666288" y="2078038"/>
          <p14:tracePt t="44724" x="9674225" y="2078038"/>
          <p14:tracePt t="44725" x="9682163" y="2078038"/>
          <p14:tracePt t="44726" x="9690100" y="2078038"/>
          <p14:tracePt t="44727" x="9701213" y="2081213"/>
          <p14:tracePt t="44728" x="9709150" y="2081213"/>
          <p14:tracePt t="44729" x="9717088" y="2081213"/>
          <p14:tracePt t="44730" x="9732963" y="2081213"/>
          <p14:tracePt t="44731" x="9740900" y="2081213"/>
          <p14:tracePt t="44732" x="9753600" y="2081213"/>
          <p14:tracePt t="44733" x="9761538" y="2081213"/>
          <p14:tracePt t="44734" x="9769475" y="2085975"/>
          <p14:tracePt t="44735" x="9777413" y="2085975"/>
          <p14:tracePt t="44736" x="9793288" y="2085975"/>
          <p14:tracePt t="44737" x="9801225" y="2085975"/>
          <p14:tracePt t="44738" x="9809163" y="2085975"/>
          <p14:tracePt t="44739" x="9821863" y="2085975"/>
          <p14:tracePt t="44740" x="9829800" y="2085975"/>
          <p14:tracePt t="44741" x="9837738" y="2085975"/>
          <p14:tracePt t="44742" x="9853613" y="2085975"/>
          <p14:tracePt t="44743" x="9861550" y="2085975"/>
          <p14:tracePt t="44745" x="9874250" y="2085975"/>
          <p14:tracePt t="44746" x="9890125" y="2085975"/>
          <p14:tracePt t="44747" x="9906000" y="2085975"/>
          <p14:tracePt t="44748" x="9913938" y="2085975"/>
          <p14:tracePt t="44749" x="9925050" y="2085975"/>
          <p14:tracePt t="44750" x="9937750" y="2089150"/>
          <p14:tracePt t="44751" x="9945688" y="2089150"/>
          <p14:tracePt t="44752" x="9961563" y="2089150"/>
          <p14:tracePt t="44753" x="9969500" y="2089150"/>
          <p14:tracePt t="44754" x="9985375" y="2089150"/>
          <p14:tracePt t="44755" x="9993313" y="2089150"/>
          <p14:tracePt t="44756" x="10006013" y="2089150"/>
          <p14:tracePt t="44757" x="10021888" y="2089150"/>
          <p14:tracePt t="44758" x="10034588" y="2089150"/>
          <p14:tracePt t="44759" x="10042525" y="2089150"/>
          <p14:tracePt t="44760" x="10058400" y="2089150"/>
          <p14:tracePt t="44761" x="10069513" y="2089150"/>
          <p14:tracePt t="44762" x="10082213" y="2089150"/>
          <p14:tracePt t="44763" x="10098088" y="2089150"/>
          <p14:tracePt t="44764" x="10109200" y="2089150"/>
          <p14:tracePt t="44765" x="10126663" y="2089150"/>
          <p14:tracePt t="44766" x="10137775" y="2089150"/>
          <p14:tracePt t="44767" x="10158413" y="2089150"/>
          <p14:tracePt t="44768" x="10169525" y="2089150"/>
          <p14:tracePt t="44769" x="10185400" y="2089150"/>
          <p14:tracePt t="44770" x="10206038" y="2089150"/>
          <p14:tracePt t="44771" x="10218738" y="2089150"/>
          <p14:tracePt t="44772" x="10242550" y="2089150"/>
          <p14:tracePt t="44773" x="10258425" y="2089150"/>
          <p14:tracePt t="44774" x="10277475" y="2089150"/>
          <p14:tracePt t="44775" x="10290175" y="2089150"/>
          <p14:tracePt t="44776" x="10310813" y="2089150"/>
          <p14:tracePt t="44777" x="10326688" y="2089150"/>
          <p14:tracePt t="44778" x="10345738" y="2089150"/>
          <p14:tracePt t="44779" x="10361613" y="2089150"/>
          <p14:tracePt t="44780" x="10377488" y="2089150"/>
          <p14:tracePt t="44781" x="10394950" y="2089150"/>
          <p14:tracePt t="44782" x="10418763" y="2093913"/>
          <p14:tracePt t="44783" x="10437813" y="2093913"/>
          <p14:tracePt t="44784" x="10453688" y="2093913"/>
          <p14:tracePt t="44785" x="10469563" y="2093913"/>
          <p14:tracePt t="44786" x="10487025" y="2093913"/>
          <p14:tracePt t="44787" x="10506075" y="2093913"/>
          <p14:tracePt t="44788" x="10529888" y="2093913"/>
          <p14:tracePt t="44789" x="10542588" y="2093913"/>
          <p14:tracePt t="44790" x="10561638" y="2093913"/>
          <p14:tracePt t="44791" x="10579100" y="2093913"/>
          <p14:tracePt t="44792" x="10602913" y="2093913"/>
          <p14:tracePt t="44793" x="10614025" y="2093913"/>
          <p14:tracePt t="44795" x="10650538" y="2093913"/>
          <p14:tracePt t="44796" x="10666413" y="2093913"/>
          <p14:tracePt t="44797" x="10682288" y="2093913"/>
          <p14:tracePt t="44798" x="10706100" y="2093913"/>
          <p14:tracePt t="44799" x="10721975" y="2093913"/>
          <p14:tracePt t="44800" x="10742613" y="2093913"/>
          <p14:tracePt t="44801" x="10758488" y="2093913"/>
          <p14:tracePt t="44802" x="10779125" y="2093913"/>
          <p14:tracePt t="44803" x="10798175" y="2093913"/>
          <p14:tracePt t="44804" x="10818813" y="2093913"/>
          <p14:tracePt t="44805" x="10829925" y="2093913"/>
          <p14:tracePt t="44806" x="10850563" y="2093913"/>
          <p14:tracePt t="44807" x="10863263" y="2093913"/>
          <p14:tracePt t="44808" x="10890250" y="2093913"/>
          <p14:tracePt t="44809" x="10902950" y="2093913"/>
          <p14:tracePt t="44810" x="10922000" y="2089150"/>
          <p14:tracePt t="44811" x="10934700" y="2089150"/>
          <p14:tracePt t="44812" x="10955338" y="2089150"/>
          <p14:tracePt t="44813" x="10974388" y="2089150"/>
          <p14:tracePt t="44814" x="10995025" y="2089150"/>
          <p14:tracePt t="44815" x="11006138" y="2089150"/>
          <p14:tracePt t="44816" x="11026775" y="2089150"/>
          <p14:tracePt t="44817" x="11039475" y="2089150"/>
          <p14:tracePt t="44818" x="11066463" y="2085975"/>
          <p14:tracePt t="44819" x="11079163" y="2085975"/>
          <p14:tracePt t="44820" x="11098213" y="2085975"/>
          <p14:tracePt t="44821" x="11115675" y="2085975"/>
          <p14:tracePt t="44822" x="11131550" y="2085975"/>
          <p14:tracePt t="44823" x="11158538" y="2078038"/>
          <p14:tracePt t="44824" x="11171238" y="2078038"/>
          <p14:tracePt t="44825" x="11190288" y="2078038"/>
          <p14:tracePt t="44826" x="11207750" y="2078038"/>
          <p14:tracePt t="44827" x="11223625" y="2078038"/>
          <p14:tracePt t="44828" x="11242675" y="2078038"/>
          <p14:tracePt t="44829" x="11263313" y="2078038"/>
          <p14:tracePt t="44830" x="11282363" y="2078038"/>
          <p14:tracePt t="44831" x="11295063" y="2078038"/>
          <p14:tracePt t="44832" x="11315700" y="2078038"/>
          <p14:tracePt t="44833" x="11334750" y="2078038"/>
          <p14:tracePt t="44834" x="11355388" y="2078038"/>
          <p14:tracePt t="44835" x="11366500" y="2078038"/>
          <p14:tracePt t="44836" x="11387138" y="2073275"/>
          <p14:tracePt t="44837" x="11399838" y="2073275"/>
          <p14:tracePt t="44838" x="11426825" y="2073275"/>
          <p14:tracePt t="44839" x="11439525" y="2073275"/>
          <p14:tracePt t="44840" x="11458575" y="2073275"/>
          <p14:tracePt t="44841" x="11471275" y="2073275"/>
          <p14:tracePt t="44842" x="11487150" y="2073275"/>
          <p14:tracePt t="44843" x="11507788" y="2070100"/>
          <p14:tracePt t="44844" x="11523663" y="2070100"/>
          <p14:tracePt t="44845" x="11539538" y="2070100"/>
          <p14:tracePt t="44846" x="11550650" y="2070100"/>
          <p14:tracePt t="44847" x="11568113" y="2070100"/>
          <p14:tracePt t="44848" x="11583988" y="2070100"/>
          <p14:tracePt t="44849" x="11599863" y="2070100"/>
          <p14:tracePt t="44850" x="11610975" y="2065338"/>
          <p14:tracePt t="44851" x="11618913" y="2065338"/>
          <p14:tracePt t="44852" x="11634788" y="2065338"/>
          <p14:tracePt t="44853" x="11655425" y="2065338"/>
          <p14:tracePt t="44854" x="11663363" y="2065338"/>
          <p14:tracePt t="44855" x="11676063" y="2062163"/>
          <p14:tracePt t="44856" x="11691938" y="2062163"/>
          <p14:tracePt t="44857" x="11699875" y="2062163"/>
          <p14:tracePt t="44858" x="11715750" y="2062163"/>
          <p14:tracePt t="44859" x="11723688" y="2062163"/>
          <p14:tracePt t="44860" x="11739563" y="2062163"/>
          <p14:tracePt t="44861" x="11747500" y="2054225"/>
          <p14:tracePt t="44862" x="11760200" y="2054225"/>
          <p14:tracePt t="44863" x="11771313" y="2054225"/>
          <p14:tracePt t="44864" x="11787188" y="2054225"/>
          <p14:tracePt t="44865" x="11795125" y="2054225"/>
          <p14:tracePt t="44866" x="11803063" y="2054225"/>
          <p14:tracePt t="44867" x="11818938" y="2049463"/>
          <p14:tracePt t="44868" x="11831638" y="2049463"/>
          <p14:tracePt t="44869" x="11839575" y="2049463"/>
          <p14:tracePt t="44870" x="11847513" y="2049463"/>
          <p14:tracePt t="44871" x="11863388" y="2049463"/>
          <p14:tracePt t="44872" x="11871325" y="2049463"/>
          <p14:tracePt t="44873" x="11879263" y="2046288"/>
          <p14:tracePt t="44874" x="11887200" y="2046288"/>
          <p14:tracePt t="44875" x="11895138" y="2046288"/>
          <p14:tracePt t="44876" x="11903075" y="2046288"/>
          <p14:tracePt t="44877" x="11911013" y="2046288"/>
          <p14:tracePt t="44878" x="11918950" y="2041525"/>
          <p14:tracePt t="44879" x="11931650" y="2041525"/>
          <p14:tracePt t="44896" x="12023725" y="2025650"/>
          <p14:tracePt t="44897" x="12028488" y="2025650"/>
          <p14:tracePt t="44898" x="12031663" y="2025650"/>
          <p14:tracePt t="44900" x="12036425" y="2022475"/>
          <p14:tracePt t="44902" x="12039600" y="2022475"/>
          <p14:tracePt t="44904" x="12044363" y="2022475"/>
          <p14:tracePt t="44905" x="12044363" y="2017713"/>
          <p14:tracePt t="44906" x="12047538" y="2017713"/>
          <p14:tracePt t="44908" x="12052300" y="2017713"/>
          <p14:tracePt t="44910" x="12052300" y="2014538"/>
          <p14:tracePt t="44913" x="12055475" y="2014538"/>
          <p14:tracePt t="44931" x="12055475" y="2009775"/>
          <p14:tracePt t="44938" x="12055475" y="2005013"/>
          <p14:tracePt t="44941" x="12055475" y="2001838"/>
          <p14:tracePt t="44942" x="12060238" y="2001838"/>
          <p14:tracePt t="44943" x="12060238" y="1997075"/>
          <p14:tracePt t="44945" x="12060238" y="1993900"/>
          <p14:tracePt t="44947" x="12060238" y="1989138"/>
          <p14:tracePt t="44950" x="12063413" y="1985963"/>
          <p14:tracePt t="44952" x="12063413" y="1981200"/>
          <p14:tracePt t="44954" x="12063413" y="1978025"/>
          <p14:tracePt t="44955" x="12063413" y="1973263"/>
          <p14:tracePt t="44958" x="12063413" y="1970088"/>
          <p14:tracePt t="44961" x="12063413" y="1965325"/>
          <p14:tracePt t="44963" x="12063413" y="1962150"/>
          <p14:tracePt t="44964" x="12063413" y="1957388"/>
          <p14:tracePt t="44965" x="12063413" y="1954213"/>
          <p14:tracePt t="44966" x="12063413" y="1949450"/>
          <p14:tracePt t="44968" x="12063413" y="1946275"/>
          <p14:tracePt t="44969" x="12063413" y="1941513"/>
          <p14:tracePt t="44970" x="12063413" y="1938338"/>
          <p14:tracePt t="44971" x="12063413" y="1933575"/>
          <p14:tracePt t="44973" x="12060238" y="1930400"/>
          <p14:tracePt t="44975" x="12055475" y="1925638"/>
          <p14:tracePt t="44976" x="12055475" y="1922463"/>
          <p14:tracePt t="44977" x="12052300" y="1917700"/>
          <p14:tracePt t="44978" x="12052300" y="1912938"/>
          <p14:tracePt t="44979" x="12047538" y="1909763"/>
          <p14:tracePt t="44980" x="12044363" y="1905000"/>
          <p14:tracePt t="44981" x="12044363" y="1901825"/>
          <p14:tracePt t="44982" x="12039600" y="1893888"/>
          <p14:tracePt t="44983" x="12036425" y="1889125"/>
          <p14:tracePt t="44984" x="12031663" y="1885950"/>
          <p14:tracePt t="44985" x="12031663" y="1881188"/>
          <p14:tracePt t="44986" x="12028488" y="1881188"/>
          <p14:tracePt t="44987" x="12023725" y="1878013"/>
          <p14:tracePt t="44988" x="12020550" y="1870075"/>
          <p14:tracePt t="44989" x="12015788" y="1865313"/>
          <p14:tracePt t="44990" x="12007850" y="1857375"/>
          <p14:tracePt t="44991" x="12003088" y="1854200"/>
          <p14:tracePt t="44992" x="11999913" y="1849438"/>
          <p14:tracePt t="44993" x="11995150" y="1846263"/>
          <p14:tracePt t="44995" x="11987213" y="1838325"/>
          <p14:tracePt t="44995" x="11984038" y="1833563"/>
          <p14:tracePt t="44996" x="11976100" y="1825625"/>
          <p14:tracePt t="44997" x="11971338" y="1820863"/>
          <p14:tracePt t="44998" x="11963400" y="1812925"/>
          <p14:tracePt t="44999" x="11955463" y="1809750"/>
          <p14:tracePt t="45000" x="11947525" y="1801813"/>
          <p14:tracePt t="45001" x="11936413" y="1789113"/>
          <p14:tracePt t="45002" x="11928475" y="1785938"/>
          <p14:tracePt t="45003" x="11923713" y="1778000"/>
          <p14:tracePt t="45004" x="11907838" y="1770063"/>
          <p14:tracePt t="45005" x="11899900" y="1765300"/>
          <p14:tracePt t="45006" x="11887200" y="1754188"/>
          <p14:tracePt t="45007" x="11876088" y="1746250"/>
          <p14:tracePt t="45008" x="11868150" y="1738313"/>
          <p14:tracePt t="45009" x="11855450" y="1728788"/>
          <p14:tracePt t="45010" x="11839575" y="1720850"/>
          <p14:tracePt t="45012" x="11811000" y="1701800"/>
          <p14:tracePt t="45013" x="11795125" y="1697038"/>
          <p14:tracePt t="45015" x="11768138" y="1685925"/>
          <p14:tracePt t="45016" x="11755438" y="1673225"/>
          <p14:tracePt t="45017" x="11739563" y="1665288"/>
          <p14:tracePt t="45018" x="11718925" y="1662113"/>
          <p14:tracePt t="45019" x="11707813" y="1649413"/>
          <p14:tracePt t="45020" x="11691938" y="1644650"/>
          <p14:tracePt t="45021" x="11663363" y="1628775"/>
          <p14:tracePt t="45022" x="11652250" y="1625600"/>
          <p14:tracePt t="45023" x="11631613" y="1612900"/>
          <p14:tracePt t="45024" x="11615738" y="1604963"/>
          <p14:tracePt t="45025" x="11595100" y="1597025"/>
          <p14:tracePt t="45026" x="11568113" y="1589088"/>
          <p14:tracePt t="45027" x="11550650" y="1577975"/>
          <p14:tracePt t="45028" x="11531600" y="1573213"/>
          <p14:tracePt t="45029" x="11510963" y="1562100"/>
          <p14:tracePt t="45031" x="11471275" y="1544638"/>
          <p14:tracePt t="45033" x="11423650" y="1528763"/>
          <p14:tracePt t="45034" x="11399838" y="1520825"/>
          <p14:tracePt t="45035" x="11379200" y="1512888"/>
          <p14:tracePt t="45036" x="11342688" y="1501775"/>
          <p14:tracePt t="45037" x="11331575" y="1493838"/>
          <p14:tracePt t="45038" x="11303000" y="1489075"/>
          <p14:tracePt t="45039" x="11282363" y="1477963"/>
          <p14:tracePt t="45040" x="11263313" y="1473200"/>
          <p14:tracePt t="45041" x="11234738" y="1460500"/>
          <p14:tracePt t="45042" x="11215688" y="1457325"/>
          <p14:tracePt t="45043" x="11199813" y="1449388"/>
          <p14:tracePt t="45045" x="11179175" y="1444625"/>
          <p14:tracePt t="45045" x="11158538" y="1436688"/>
          <p14:tracePt t="45046" x="11139488" y="1428750"/>
          <p14:tracePt t="45049" x="11082338" y="1409700"/>
          <p14:tracePt t="45050" x="11071225" y="1404938"/>
          <p14:tracePt t="45051" x="11055350" y="1401763"/>
          <p14:tracePt t="45052" x="11026775" y="1389063"/>
          <p14:tracePt t="45053" x="11014075" y="1385888"/>
          <p14:tracePt t="45054" x="10998200" y="1381125"/>
          <p14:tracePt t="45055" x="10987088" y="1377950"/>
          <p14:tracePt t="45056" x="10958513" y="1368425"/>
          <p14:tracePt t="45058" x="10939463" y="1360488"/>
          <p14:tracePt t="45059" x="10922000" y="1357313"/>
          <p14:tracePt t="45060" x="10910888" y="1352550"/>
          <p14:tracePt t="45061" x="10898188" y="1349375"/>
          <p14:tracePt t="45062" x="10879138" y="1336675"/>
          <p14:tracePt t="45063" x="10871200" y="1333500"/>
          <p14:tracePt t="45065" x="10847388" y="1325563"/>
          <p14:tracePt t="45066" x="10834688" y="1325563"/>
          <p14:tracePt t="45067" x="10818813" y="1312863"/>
          <p14:tracePt t="45068" x="10806113" y="1312863"/>
          <p14:tracePt t="45069" x="10798175" y="1309688"/>
          <p14:tracePt t="45070" x="10790238" y="1304925"/>
          <p14:tracePt t="45071" x="10779125" y="1301750"/>
          <p14:tracePt t="45072" x="10766425" y="1296988"/>
          <p14:tracePt t="45073" x="10763250" y="1293813"/>
          <p14:tracePt t="45074" x="10755313" y="1293813"/>
          <p14:tracePt t="45075" x="10745788" y="1289050"/>
          <p14:tracePt t="45076" x="10737850" y="1285875"/>
          <p14:tracePt t="45077" x="10729913" y="1281113"/>
          <p14:tracePt t="45078" x="10718800" y="1281113"/>
          <p14:tracePt t="45079" x="10718800" y="1276350"/>
          <p14:tracePt t="45080" x="10710863" y="1273175"/>
          <p14:tracePt t="45081" x="10706100" y="1273175"/>
          <p14:tracePt t="45082" x="10694988" y="1268413"/>
          <p14:tracePt t="45083" x="10690225" y="1265238"/>
          <p14:tracePt t="45084" x="10687050" y="1265238"/>
          <p14:tracePt t="45085" x="10679113" y="1260475"/>
          <p14:tracePt t="45086" x="10674350" y="1260475"/>
          <p14:tracePt t="45087" x="10666413" y="1257300"/>
          <p14:tracePt t="45088" x="10663238" y="1257300"/>
          <p14:tracePt t="45089" x="10653713" y="1252538"/>
          <p14:tracePt t="45090" x="10650538" y="1252538"/>
          <p14:tracePt t="45091" x="10645775" y="1252538"/>
          <p14:tracePt t="45092" x="10637838" y="1249363"/>
          <p14:tracePt t="45093" x="10634663" y="1249363"/>
          <p14:tracePt t="45095" x="10629900" y="1244600"/>
          <p14:tracePt t="45095" x="10621963" y="1244600"/>
          <p14:tracePt t="45097" x="10618788" y="1244600"/>
          <p14:tracePt t="45098" x="10614025" y="1241425"/>
          <p14:tracePt t="45099" x="10606088" y="1236663"/>
          <p14:tracePt t="45101" x="10602913" y="1236663"/>
          <p14:tracePt t="45102" x="10594975" y="1233488"/>
          <p14:tracePt t="45103" x="10590213" y="1233488"/>
          <p14:tracePt t="45104" x="10587038" y="1228725"/>
          <p14:tracePt t="45105" x="10582275" y="1228725"/>
          <p14:tracePt t="45106" x="10579100" y="1228725"/>
          <p14:tracePt t="45107" x="10574338" y="1228725"/>
          <p14:tracePt t="45108" x="10566400" y="1225550"/>
          <p14:tracePt t="45109" x="10561638" y="1225550"/>
          <p14:tracePt t="45111" x="10558463" y="1225550"/>
          <p14:tracePt t="45112" x="10550525" y="1225550"/>
          <p14:tracePt t="45113" x="10545763" y="1225550"/>
          <p14:tracePt t="45114" x="10545763" y="1220788"/>
          <p14:tracePt t="45116" x="10542588" y="1220788"/>
          <p14:tracePt t="45117" x="10537825" y="1220788"/>
          <p14:tracePt t="45118" x="10529888" y="1220788"/>
          <p14:tracePt t="45119" x="10526713" y="1220788"/>
          <p14:tracePt t="45120" x="10521950" y="1220788"/>
          <p14:tracePt t="45121" x="10514013" y="1220788"/>
          <p14:tracePt t="45122" x="10510838" y="1220788"/>
          <p14:tracePt t="45123" x="10502900" y="1217613"/>
          <p14:tracePt t="45124" x="10498138" y="1217613"/>
          <p14:tracePt t="45125" x="10494963" y="1217613"/>
          <p14:tracePt t="45126" x="10487025" y="1217613"/>
          <p14:tracePt t="45127" x="10482263" y="1217613"/>
          <p14:tracePt t="45128" x="10479088" y="1217613"/>
          <p14:tracePt t="45129" x="10474325" y="1217613"/>
          <p14:tracePt t="45130" x="10466388" y="1217613"/>
          <p14:tracePt t="45131" x="10461625" y="1217613"/>
          <p14:tracePt t="45132" x="10453688" y="1217613"/>
          <p14:tracePt t="45133" x="10445750" y="1217613"/>
          <p14:tracePt t="45134" x="10437813" y="1217613"/>
          <p14:tracePt t="45135" x="10429875" y="1217613"/>
          <p14:tracePt t="45136" x="10426700" y="1217613"/>
          <p14:tracePt t="45137" x="10418763" y="1217613"/>
          <p14:tracePt t="45138" x="10402888" y="1217613"/>
          <p14:tracePt t="45140" x="10394950" y="1217613"/>
          <p14:tracePt t="45141" x="10387013" y="1217613"/>
          <p14:tracePt t="45142" x="10369550" y="1217613"/>
          <p14:tracePt t="45143" x="10361613" y="1217613"/>
          <p14:tracePt t="45145" x="10350500" y="1217613"/>
          <p14:tracePt t="45145" x="10342563" y="1217613"/>
          <p14:tracePt t="45146" x="10334625" y="1217613"/>
          <p14:tracePt t="45147" x="10326688" y="1217613"/>
          <p14:tracePt t="45148" x="10310813" y="1217613"/>
          <p14:tracePt t="45149" x="10298113" y="1217613"/>
          <p14:tracePt t="45150" x="10290175" y="1217613"/>
          <p14:tracePt t="45151" x="10282238" y="1217613"/>
          <p14:tracePt t="45152" x="10269538" y="1217613"/>
          <p14:tracePt t="45153" x="10258425" y="1217613"/>
          <p14:tracePt t="45154" x="10242550" y="1225550"/>
          <p14:tracePt t="45155" x="10234613" y="1225550"/>
          <p14:tracePt t="45156" x="10221913" y="1225550"/>
          <p14:tracePt t="45157" x="10213975" y="1228725"/>
          <p14:tracePt t="45158" x="10193338" y="1228725"/>
          <p14:tracePt t="45159" x="10185400" y="1233488"/>
          <p14:tracePt t="45160" x="10169525" y="1233488"/>
          <p14:tracePt t="45161" x="10161588" y="1233488"/>
          <p14:tracePt t="45162" x="10150475" y="1236663"/>
          <p14:tracePt t="45163" x="10134600" y="1236663"/>
          <p14:tracePt t="45164" x="10121900" y="1236663"/>
          <p14:tracePt t="45165" x="10109200" y="1241425"/>
          <p14:tracePt t="45166" x="10098088" y="1241425"/>
          <p14:tracePt t="45167" x="10085388" y="1244600"/>
          <p14:tracePt t="45168" x="10066338" y="1244600"/>
          <p14:tracePt t="45169" x="10058400" y="1249363"/>
          <p14:tracePt t="45170" x="10045700" y="1249363"/>
          <p14:tracePt t="45171" x="10029825" y="1249363"/>
          <p14:tracePt t="45172" x="10017125" y="1249363"/>
          <p14:tracePt t="45173" x="10009188" y="1252538"/>
          <p14:tracePt t="45174" x="9990138" y="1252538"/>
          <p14:tracePt t="45175" x="9974263" y="1260475"/>
          <p14:tracePt t="45176" x="9961563" y="1260475"/>
          <p14:tracePt t="45177" x="9953625" y="1265238"/>
          <p14:tracePt t="45178" x="9932988" y="1265238"/>
          <p14:tracePt t="45179" x="9925050" y="1265238"/>
          <p14:tracePt t="45180" x="9909175" y="1268413"/>
          <p14:tracePt t="45181" x="9901238" y="1268413"/>
          <p14:tracePt t="45182" x="9890125" y="1273175"/>
          <p14:tracePt t="45183" x="9874250" y="1273175"/>
          <p14:tracePt t="45184" x="9861550" y="1276350"/>
          <p14:tracePt t="45185" x="9845675" y="1276350"/>
          <p14:tracePt t="45186" x="9837738" y="1281113"/>
          <p14:tracePt t="45187" x="9825038" y="1281113"/>
          <p14:tracePt t="45188" x="9817100" y="1281113"/>
          <p14:tracePt t="45189" x="9798050" y="1289050"/>
          <p14:tracePt t="45190" x="9790113" y="1289050"/>
          <p14:tracePt t="45191" x="9774238" y="1293813"/>
          <p14:tracePt t="45192" x="9766300" y="1293813"/>
          <p14:tracePt t="45193" x="9753600" y="1293813"/>
          <p14:tracePt t="45195" x="9737725" y="1296988"/>
          <p14:tracePt t="45195" x="9725025" y="1296988"/>
          <p14:tracePt t="45196" x="9717088" y="1301750"/>
          <p14:tracePt t="45197" x="9709150" y="1301750"/>
          <p14:tracePt t="45198" x="9693275" y="1301750"/>
          <p14:tracePt t="45199" x="9682163" y="1304925"/>
          <p14:tracePt t="45200" x="9674225" y="1304925"/>
          <p14:tracePt t="45201" x="9661525" y="1309688"/>
          <p14:tracePt t="45202" x="9648825" y="1309688"/>
          <p14:tracePt t="45203" x="9640888" y="1312863"/>
          <p14:tracePt t="45204" x="9625013" y="1312863"/>
          <p14:tracePt t="45205" x="9613900" y="1320800"/>
          <p14:tracePt t="45206" x="9605963" y="1320800"/>
          <p14:tracePt t="45207" x="9598025" y="1320800"/>
          <p14:tracePt t="45208" x="9582150" y="1325563"/>
          <p14:tracePt t="45209" x="9569450" y="1325563"/>
          <p14:tracePt t="45210" x="9561513" y="1325563"/>
          <p14:tracePt t="45211" x="9553575" y="1328738"/>
          <p14:tracePt t="45213" x="9537700" y="1328738"/>
          <p14:tracePt t="45214" x="9521825" y="1333500"/>
          <p14:tracePt t="45215" x="9513888" y="1336675"/>
          <p14:tracePt t="45216" x="9505950" y="1336675"/>
          <p14:tracePt t="45217" x="9498013" y="1336675"/>
          <p14:tracePt t="45218" x="9490075" y="1341438"/>
          <p14:tracePt t="45219" x="9480550" y="1341438"/>
          <p14:tracePt t="45220" x="9469438" y="1344613"/>
          <p14:tracePt t="45221" x="9461500" y="1344613"/>
          <p14:tracePt t="45222" x="9453563" y="1344613"/>
          <p14:tracePt t="45223" x="9445625" y="1349375"/>
          <p14:tracePt t="45224" x="9437688" y="1349375"/>
          <p14:tracePt t="45225" x="9429750" y="1352550"/>
          <p14:tracePt t="45226" x="9424988" y="1352550"/>
          <p14:tracePt t="45227" x="9417050" y="1357313"/>
          <p14:tracePt t="45228" x="9409113" y="1357313"/>
          <p14:tracePt t="45229" x="9405938" y="1360488"/>
          <p14:tracePt t="45230" x="9398000" y="1360488"/>
          <p14:tracePt t="45231" x="9388475" y="1365250"/>
          <p14:tracePt t="45232" x="9385300" y="1365250"/>
          <p14:tracePt t="45233" x="9377363" y="1365250"/>
          <p14:tracePt t="45234" x="9369425" y="1373188"/>
          <p14:tracePt t="45235" x="9364663" y="1373188"/>
          <p14:tracePt t="45236" x="9356725" y="1373188"/>
          <p14:tracePt t="45237" x="9353550" y="1373188"/>
          <p14:tracePt t="45238" x="9345613" y="1373188"/>
          <p14:tracePt t="45239" x="9340850" y="1377950"/>
          <p14:tracePt t="45240" x="9332913" y="1377950"/>
          <p14:tracePt t="45241" x="9329738" y="1381125"/>
          <p14:tracePt t="45242" x="9324975" y="1381125"/>
          <p14:tracePt t="45243" x="9324975" y="1385888"/>
          <p14:tracePt t="45245" x="9313863" y="1389063"/>
          <p14:tracePt t="45246" x="9309100" y="1389063"/>
          <p14:tracePt t="45247" x="9305925" y="1389063"/>
          <p14:tracePt t="45248" x="9301163" y="1393825"/>
          <p14:tracePt t="45249" x="9293225" y="1397000"/>
          <p14:tracePt t="45250" x="9288463" y="1397000"/>
          <p14:tracePt t="45251" x="9280525" y="1401763"/>
          <p14:tracePt t="45252" x="9277350" y="1404938"/>
          <p14:tracePt t="45253" x="9272588" y="1404938"/>
          <p14:tracePt t="45254" x="9264650" y="1404938"/>
          <p14:tracePt t="45255" x="9261475" y="1409700"/>
          <p14:tracePt t="45256" x="9253538" y="1409700"/>
          <p14:tracePt t="45257" x="9248775" y="1412875"/>
          <p14:tracePt t="45258" x="9248775" y="1417638"/>
          <p14:tracePt t="45259" x="9245600" y="1417638"/>
          <p14:tracePt t="45261" x="9237663" y="1420813"/>
          <p14:tracePt t="45262" x="9229725" y="1425575"/>
          <p14:tracePt t="45263" x="9224963" y="1428750"/>
          <p14:tracePt t="45264" x="9221788" y="1428750"/>
          <p14:tracePt t="45265" x="9213850" y="1433513"/>
          <p14:tracePt t="45266" x="9204325" y="1436688"/>
          <p14:tracePt t="45267" x="9201150" y="1441450"/>
          <p14:tracePt t="45268" x="9193213" y="1441450"/>
          <p14:tracePt t="45269" x="9188450" y="1441450"/>
          <p14:tracePt t="45270" x="9180513" y="1444625"/>
          <p14:tracePt t="45271" x="9172575" y="1452563"/>
          <p14:tracePt t="45272" x="9169400" y="1452563"/>
          <p14:tracePt t="45273" x="9161463" y="1457325"/>
          <p14:tracePt t="45274" x="9156700" y="1457325"/>
          <p14:tracePt t="45275" x="9145588" y="1465263"/>
          <p14:tracePt t="45276" x="9140825" y="1465263"/>
          <p14:tracePt t="45277" x="9132888" y="1465263"/>
          <p14:tracePt t="45278" x="9124950" y="1473200"/>
          <p14:tracePt t="45279" x="9117013" y="1477963"/>
          <p14:tracePt t="45280" x="9109075" y="1481138"/>
          <p14:tracePt t="45281" x="9096375" y="1485900"/>
          <p14:tracePt t="45282" x="9093200" y="1489075"/>
          <p14:tracePt t="45283" x="9085263" y="1489075"/>
          <p14:tracePt t="45284" x="9077325" y="1493838"/>
          <p14:tracePt t="45285" x="9069388" y="1497013"/>
          <p14:tracePt t="45286" x="9061450" y="1501775"/>
          <p14:tracePt t="45287" x="9053513" y="1504950"/>
          <p14:tracePt t="45288" x="9045575" y="1509713"/>
          <p14:tracePt t="45289" x="9032875" y="1512888"/>
          <p14:tracePt t="45290" x="9024938" y="1517650"/>
          <p14:tracePt t="45291" x="9017000" y="1520825"/>
          <p14:tracePt t="45292" x="9009063" y="1528763"/>
          <p14:tracePt t="45293" x="9004300" y="1528763"/>
          <p14:tracePt t="45295" x="8996363" y="1533525"/>
          <p14:tracePt t="45295" x="8988425" y="1541463"/>
          <p14:tracePt t="45296" x="8980488" y="1544638"/>
          <p14:tracePt t="45297" x="8969375" y="1549400"/>
          <p14:tracePt t="45298" x="8961438" y="1552575"/>
          <p14:tracePt t="45299" x="8956675" y="1552575"/>
          <p14:tracePt t="45300" x="8948738" y="1562100"/>
          <p14:tracePt t="45301" x="8940800" y="1565275"/>
          <p14:tracePt t="45302" x="8936038" y="1570038"/>
          <p14:tracePt t="45303" x="8928100" y="1570038"/>
          <p14:tracePt t="45304" x="8920163" y="1573213"/>
          <p14:tracePt t="45305" x="8916988" y="1577975"/>
          <p14:tracePt t="45306" x="8909050" y="1585913"/>
          <p14:tracePt t="45307" x="8904288" y="1585913"/>
          <p14:tracePt t="45308" x="8896350" y="1589088"/>
          <p14:tracePt t="45309" x="8893175" y="1593850"/>
          <p14:tracePt t="45310" x="8885238" y="1597025"/>
          <p14:tracePt t="45311" x="8880475" y="1601788"/>
          <p14:tracePt t="45312" x="8872538" y="1604963"/>
          <p14:tracePt t="45313" x="8869363" y="1609725"/>
          <p14:tracePt t="45314" x="8864600" y="1609725"/>
          <p14:tracePt t="45315" x="8856663" y="1612900"/>
          <p14:tracePt t="45316" x="8856663" y="1617663"/>
          <p14:tracePt t="45317" x="8853488" y="1617663"/>
          <p14:tracePt t="45318" x="8843963" y="1620838"/>
          <p14:tracePt t="45319" x="8840788" y="1625600"/>
          <p14:tracePt t="45320" x="8836025" y="1628775"/>
          <p14:tracePt t="45321" x="8832850" y="1633538"/>
          <p14:tracePt t="45322" x="8824913" y="1633538"/>
          <p14:tracePt t="45323" x="8820150" y="1636713"/>
          <p14:tracePt t="45324" x="8816975" y="1641475"/>
          <p14:tracePt t="45325" x="8812213" y="1644650"/>
          <p14:tracePt t="45326" x="8809038" y="1649413"/>
          <p14:tracePt t="45327" x="8801100" y="1654175"/>
          <p14:tracePt t="45328" x="8796338" y="1654175"/>
          <p14:tracePt t="45329" x="8796338" y="1657350"/>
          <p14:tracePt t="45330" x="8793163" y="1662113"/>
          <p14:tracePt t="45331" x="8788400" y="1665288"/>
          <p14:tracePt t="45333" x="8785225" y="1665288"/>
          <p14:tracePt t="45334" x="8780463" y="1670050"/>
          <p14:tracePt t="45335" x="8777288" y="1670050"/>
          <p14:tracePt t="45336" x="8772525" y="1673225"/>
          <p14:tracePt t="45337" x="8769350" y="1677988"/>
          <p14:tracePt t="45338" x="8764588" y="1681163"/>
          <p14:tracePt t="45339" x="8761413" y="1681163"/>
          <p14:tracePt t="45340" x="8761413" y="1685925"/>
          <p14:tracePt t="45341" x="8756650" y="1689100"/>
          <p14:tracePt t="45342" x="8756650" y="1693863"/>
          <p14:tracePt t="45343" x="8751888" y="1693863"/>
          <p14:tracePt t="45344" x="8751888" y="1697038"/>
          <p14:tracePt t="45345" x="8748713" y="1701800"/>
          <p14:tracePt t="45346" x="8743950" y="1704975"/>
          <p14:tracePt t="45348" x="8740775" y="1709738"/>
          <p14:tracePt t="45350" x="8736013" y="1709738"/>
          <p14:tracePt t="45351" x="8732838" y="1712913"/>
          <p14:tracePt t="45352" x="8732838" y="1717675"/>
          <p14:tracePt t="45354" x="8728075" y="1720850"/>
          <p14:tracePt t="45355" x="8728075" y="1725613"/>
          <p14:tracePt t="45356" x="8724900" y="1725613"/>
          <p14:tracePt t="45357" x="8724900" y="1728788"/>
          <p14:tracePt t="45358" x="8724900" y="1733550"/>
          <p14:tracePt t="45360" x="8724900" y="1738313"/>
          <p14:tracePt t="45361" x="8720138" y="1741488"/>
          <p14:tracePt t="45362" x="8720138" y="1746250"/>
          <p14:tracePt t="45364" x="8720138" y="1749425"/>
          <p14:tracePt t="45366" x="8720138" y="1754188"/>
          <p14:tracePt t="45367" x="8716963" y="1754188"/>
          <p14:tracePt t="45369" x="8716963" y="1757363"/>
          <p14:tracePt t="45369" x="8716963" y="1762125"/>
          <p14:tracePt t="45371" x="8716963" y="1765300"/>
          <p14:tracePt t="45372" x="8716963" y="1770063"/>
          <p14:tracePt t="45373" x="8716963" y="1773238"/>
          <p14:tracePt t="45374" x="8716963" y="1778000"/>
          <p14:tracePt t="45376" x="8716963" y="1781175"/>
          <p14:tracePt t="45377" x="8716963" y="1785938"/>
          <p14:tracePt t="45378" x="8716963" y="1789113"/>
          <p14:tracePt t="45381" x="8716963" y="1797050"/>
          <p14:tracePt t="45382" x="8716963" y="1801813"/>
          <p14:tracePt t="45384" x="8716963" y="1804988"/>
          <p14:tracePt t="45385" x="8716963" y="1809750"/>
          <p14:tracePt t="45386" x="8716963" y="1812925"/>
          <p14:tracePt t="45387" x="8720138" y="1817688"/>
          <p14:tracePt t="45388" x="8720138" y="1820863"/>
          <p14:tracePt t="45389" x="8720138" y="1825625"/>
          <p14:tracePt t="45390" x="8724900" y="1830388"/>
          <p14:tracePt t="45391" x="8724900" y="1833563"/>
          <p14:tracePt t="45392" x="8728075" y="1838325"/>
          <p14:tracePt t="45395" x="8732838" y="1846263"/>
          <p14:tracePt t="45396" x="8736013" y="1849438"/>
          <p14:tracePt t="45397" x="8736013" y="1854200"/>
          <p14:tracePt t="45398" x="8740775" y="1857375"/>
          <p14:tracePt t="45399" x="8740775" y="1862138"/>
          <p14:tracePt t="45400" x="8743950" y="1865313"/>
          <p14:tracePt t="45401" x="8748713" y="1870075"/>
          <p14:tracePt t="45402" x="8751888" y="1878013"/>
          <p14:tracePt t="45403" x="8751888" y="1881188"/>
          <p14:tracePt t="45404" x="8756650" y="1885950"/>
          <p14:tracePt t="45405" x="8761413" y="1885950"/>
          <p14:tracePt t="45406" x="8761413" y="1889125"/>
          <p14:tracePt t="45407" x="8769350" y="1893888"/>
          <p14:tracePt t="45408" x="8769350" y="1901825"/>
          <p14:tracePt t="45409" x="8769350" y="1905000"/>
          <p14:tracePt t="45410" x="8772525" y="1909763"/>
          <p14:tracePt t="45411" x="8777288" y="1912938"/>
          <p14:tracePt t="45412" x="8785225" y="1917700"/>
          <p14:tracePt t="45414" x="8793163" y="1925638"/>
          <p14:tracePt t="45415" x="8796338" y="1930400"/>
          <p14:tracePt t="45416" x="8801100" y="1933575"/>
          <p14:tracePt t="45417" x="8804275" y="1941513"/>
          <p14:tracePt t="45418" x="8809038" y="1946275"/>
          <p14:tracePt t="45419" x="8816975" y="1949450"/>
          <p14:tracePt t="45420" x="8820150" y="1954213"/>
          <p14:tracePt t="45421" x="8824913" y="1957388"/>
          <p14:tracePt t="45422" x="8832850" y="1965325"/>
          <p14:tracePt t="45423" x="8840788" y="1970088"/>
          <p14:tracePt t="45424" x="8843963" y="1973263"/>
          <p14:tracePt t="45425" x="8853488" y="1978025"/>
          <p14:tracePt t="45426" x="8856663" y="1981200"/>
          <p14:tracePt t="45427" x="8864600" y="1989138"/>
          <p14:tracePt t="45428" x="8872538" y="1993900"/>
          <p14:tracePt t="45429" x="8880475" y="1997075"/>
          <p14:tracePt t="45431" x="8885238" y="2001838"/>
          <p14:tracePt t="45432" x="8909050" y="2014538"/>
          <p14:tracePt t="45433" x="8916988" y="2022475"/>
          <p14:tracePt t="45434" x="8924925" y="2025650"/>
          <p14:tracePt t="45435" x="8932863" y="2030413"/>
          <p14:tracePt t="45436" x="8948738" y="2038350"/>
          <p14:tracePt t="45437" x="8956675" y="2046288"/>
          <p14:tracePt t="45438" x="8972550" y="2049463"/>
          <p14:tracePt t="45439" x="8980488" y="2054225"/>
          <p14:tracePt t="45440" x="8988425" y="2062163"/>
          <p14:tracePt t="45441" x="8996363" y="2065338"/>
          <p14:tracePt t="45442" x="9012238" y="2078038"/>
          <p14:tracePt t="45443" x="9024938" y="2081213"/>
          <p14:tracePt t="45444" x="9032875" y="2085975"/>
          <p14:tracePt t="45445" x="9048750" y="2089150"/>
          <p14:tracePt t="45446" x="9064625" y="2101850"/>
          <p14:tracePt t="45447" x="9072563" y="2106613"/>
          <p14:tracePt t="45448" x="9093200" y="2114550"/>
          <p14:tracePt t="45450" x="9120188" y="2130425"/>
          <p14:tracePt t="45451" x="9132888" y="2133600"/>
          <p14:tracePt t="45452" x="9148763" y="2141538"/>
          <p14:tracePt t="45453" x="9164638" y="2149475"/>
          <p14:tracePt t="45454" x="9177338" y="2154238"/>
          <p14:tracePt t="45455" x="9193213" y="2157413"/>
          <p14:tracePt t="45456" x="9204325" y="2162175"/>
          <p14:tracePt t="45457" x="9224963" y="2173288"/>
          <p14:tracePt t="45458" x="9245600" y="2178050"/>
          <p14:tracePt t="45459" x="9261475" y="2181225"/>
          <p14:tracePt t="45460" x="9272588" y="2185988"/>
          <p14:tracePt t="45461" x="9288463" y="2198688"/>
          <p14:tracePt t="45462" x="9309100" y="2201863"/>
          <p14:tracePt t="45463" x="9329738" y="2206625"/>
          <p14:tracePt t="45464" x="9340850" y="2209800"/>
          <p14:tracePt t="45466" x="9377363" y="2225675"/>
          <p14:tracePt t="45467" x="9398000" y="2230438"/>
          <p14:tracePt t="45468" x="9424988" y="2238375"/>
          <p14:tracePt t="45469" x="9437688" y="2246313"/>
          <p14:tracePt t="45470" x="9456738" y="2249488"/>
          <p14:tracePt t="45471" x="9477375" y="2254250"/>
          <p14:tracePt t="45472" x="9493250" y="2262188"/>
          <p14:tracePt t="45473" x="9517063" y="2265363"/>
          <p14:tracePt t="45474" x="9537700" y="2270125"/>
          <p14:tracePt t="45475" x="9553575" y="2273300"/>
          <p14:tracePt t="45476" x="9574213" y="2281238"/>
          <p14:tracePt t="45477" x="9590088" y="2286000"/>
          <p14:tracePt t="45478" x="9617075" y="2290763"/>
          <p14:tracePt t="45479" x="9637713" y="2293938"/>
          <p14:tracePt t="45480" x="9656763" y="2301875"/>
          <p14:tracePt t="45481" x="9677400" y="2306638"/>
          <p14:tracePt t="45483" x="9701213" y="2317750"/>
          <p14:tracePt t="45483" x="9725025" y="2322513"/>
          <p14:tracePt t="45484" x="9745663" y="2325688"/>
          <p14:tracePt t="45485" x="9766300" y="2330450"/>
          <p14:tracePt t="45486" x="9782175" y="2330450"/>
          <p14:tracePt t="45487" x="9801225" y="2338388"/>
          <p14:tracePt t="45488" x="9829800" y="2349500"/>
          <p14:tracePt t="45489" x="9850438" y="2349500"/>
          <p14:tracePt t="45490" x="9861550" y="2354263"/>
          <p14:tracePt t="45491" x="9882188" y="2357438"/>
          <p14:tracePt t="45492" x="9901238" y="2362200"/>
          <p14:tracePt t="45493" x="9921875" y="2365375"/>
          <p14:tracePt t="45495" x="9961563" y="2373313"/>
          <p14:tracePt t="45496" x="9974263" y="2378075"/>
          <p14:tracePt t="45498" x="9993313" y="2378075"/>
          <p14:tracePt t="45499" x="10034588" y="2386013"/>
          <p14:tracePt t="45500" x="10053638" y="2386013"/>
          <p14:tracePt t="45501" x="10066338" y="2390775"/>
          <p14:tracePt t="45502" x="10085388" y="2390775"/>
          <p14:tracePt t="45503" x="10113963" y="2398713"/>
          <p14:tracePt t="45504" x="10126663" y="2401888"/>
          <p14:tracePt t="45505" x="10145713" y="2401888"/>
          <p14:tracePt t="45506" x="10161588" y="2406650"/>
          <p14:tracePt t="45507" x="10174288" y="2406650"/>
          <p14:tracePt t="45508" x="10201275" y="2409825"/>
          <p14:tracePt t="45509" x="10213975" y="2417763"/>
          <p14:tracePt t="45510" x="10226675" y="2417763"/>
          <p14:tracePt t="45511" x="10245725" y="2422525"/>
          <p14:tracePt t="45512" x="10261600" y="2422525"/>
          <p14:tracePt t="45513" x="10282238" y="2425700"/>
          <p14:tracePt t="45515" x="10313988" y="2430463"/>
          <p14:tracePt t="45516" x="10334625" y="2438400"/>
          <p14:tracePt t="45517" x="10345738" y="2438400"/>
          <p14:tracePt t="45518" x="10366375" y="2438400"/>
          <p14:tracePt t="45519" x="10387013" y="2441575"/>
          <p14:tracePt t="45520" x="10402888" y="2441575"/>
          <p14:tracePt t="45521" x="10414000" y="2446338"/>
          <p14:tracePt t="45522" x="10426700" y="2446338"/>
          <p14:tracePt t="45523" x="10445750" y="2449513"/>
          <p14:tracePt t="45524" x="10466388" y="2449513"/>
          <p14:tracePt t="45525" x="10482263" y="2454275"/>
          <p14:tracePt t="45526" x="10498138" y="2454275"/>
          <p14:tracePt t="45527" x="10514013" y="2454275"/>
          <p14:tracePt t="45528" x="10534650" y="2462213"/>
          <p14:tracePt t="45529" x="10545763" y="2462213"/>
          <p14:tracePt t="45531" x="10574338" y="2465388"/>
          <p14:tracePt t="45532" x="10590213" y="2465388"/>
          <p14:tracePt t="45533" x="10602913" y="2465388"/>
          <p14:tracePt t="45534" x="10621963" y="2470150"/>
          <p14:tracePt t="45535" x="10634663" y="2470150"/>
          <p14:tracePt t="45536" x="10650538" y="2474913"/>
          <p14:tracePt t="45537" x="10663238" y="2474913"/>
          <p14:tracePt t="45538" x="10679113" y="2474913"/>
          <p14:tracePt t="45539" x="10698163" y="2478088"/>
          <p14:tracePt t="45540" x="10710863" y="2478088"/>
          <p14:tracePt t="45541" x="10721975" y="2482850"/>
          <p14:tracePt t="45542" x="10742613" y="2482850"/>
          <p14:tracePt t="45543" x="10758488" y="2490788"/>
          <p14:tracePt t="45544" x="10779125" y="2490788"/>
          <p14:tracePt t="45545" x="10790238" y="2490788"/>
          <p14:tracePt t="45547" x="10814050" y="2493963"/>
          <p14:tracePt t="45548" x="10826750" y="2493963"/>
          <p14:tracePt t="45549" x="10847388" y="2493963"/>
          <p14:tracePt t="45550" x="10855325" y="2493963"/>
          <p14:tracePt t="45551" x="10866438" y="2498725"/>
          <p14:tracePt t="45552" x="10882313" y="2498725"/>
          <p14:tracePt t="45553" x="10890250" y="2498725"/>
          <p14:tracePt t="45554" x="10910888" y="2498725"/>
          <p14:tracePt t="45555" x="10918825" y="2498725"/>
          <p14:tracePt t="45556" x="10931525" y="2498725"/>
          <p14:tracePt t="45557" x="10942638" y="2498725"/>
          <p14:tracePt t="45558" x="10955338" y="2501900"/>
          <p14:tracePt t="45559" x="10971213" y="2501900"/>
          <p14:tracePt t="45560" x="10987088" y="2501900"/>
          <p14:tracePt t="45561" x="10995025" y="2501900"/>
          <p14:tracePt t="45562" x="11006138" y="2501900"/>
          <p14:tracePt t="45563" x="11023600" y="2506663"/>
          <p14:tracePt t="45564" x="11034713" y="2506663"/>
          <p14:tracePt t="45565" x="11050588" y="2506663"/>
          <p14:tracePt t="45566" x="11063288" y="2506663"/>
          <p14:tracePt t="45567" x="11071225" y="2506663"/>
          <p14:tracePt t="45568" x="11087100" y="2506663"/>
          <p14:tracePt t="45569" x="11098213" y="2509838"/>
          <p14:tracePt t="45570" x="11110913" y="2509838"/>
          <p14:tracePt t="45571" x="11126788" y="2509838"/>
          <p14:tracePt t="45572" x="11134725" y="2509838"/>
          <p14:tracePt t="45573" x="11147425" y="2509838"/>
          <p14:tracePt t="45574" x="11166475" y="2509838"/>
          <p14:tracePt t="45575" x="11174413" y="2509838"/>
          <p14:tracePt t="45576" x="11190288" y="2509838"/>
          <p14:tracePt t="45577" x="11199813" y="2509838"/>
          <p14:tracePt t="45578" x="11210925" y="2517775"/>
          <p14:tracePt t="45579" x="11231563" y="2517775"/>
          <p14:tracePt t="45580" x="11239500" y="2517775"/>
          <p14:tracePt t="45581" x="11250613" y="2517775"/>
          <p14:tracePt t="45582" x="11266488" y="2517775"/>
          <p14:tracePt t="45583" x="11274425" y="2517775"/>
          <p14:tracePt t="45584" x="11295063" y="2517775"/>
          <p14:tracePt t="45585" x="11307763" y="2517775"/>
          <p14:tracePt t="45586" x="11315700" y="2517775"/>
          <p14:tracePt t="45587" x="11331575" y="2517775"/>
          <p14:tracePt t="45588" x="11342688" y="2517775"/>
          <p14:tracePt t="45589" x="11355388" y="2517775"/>
          <p14:tracePt t="45590" x="11371263" y="2517775"/>
          <p14:tracePt t="45591" x="11383963" y="2517775"/>
          <p14:tracePt t="45592" x="11399838" y="2517775"/>
          <p14:tracePt t="45593" x="11410950" y="2517775"/>
          <p14:tracePt t="45594" x="11426825" y="2522538"/>
          <p14:tracePt t="45595" x="11442700" y="2522538"/>
          <p14:tracePt t="45596" x="11458575" y="2522538"/>
          <p14:tracePt t="45597" x="11471275" y="2522538"/>
          <p14:tracePt t="45598" x="11479213" y="2522538"/>
          <p14:tracePt t="45599" x="11495088" y="2522538"/>
          <p14:tracePt t="45600" x="11510963" y="2522538"/>
          <p14:tracePt t="45601" x="11526838" y="2522538"/>
          <p14:tracePt t="45602" x="11539538" y="2522538"/>
          <p14:tracePt t="45603" x="11555413" y="2522538"/>
          <p14:tracePt t="45604" x="11563350" y="2522538"/>
          <p14:tracePt t="45605" x="11583988" y="2522538"/>
          <p14:tracePt t="45606" x="11595100" y="2522538"/>
          <p14:tracePt t="45607" x="11603038" y="2522538"/>
          <p14:tracePt t="45608" x="11615738" y="2522538"/>
          <p14:tracePt t="45609" x="11626850" y="2522538"/>
          <p14:tracePt t="45610" x="11642725" y="2522538"/>
          <p14:tracePt t="45611" x="11652250" y="2522538"/>
          <p14:tracePt t="45612" x="11668125" y="2522538"/>
          <p14:tracePt t="45613" x="11676063" y="2514600"/>
          <p14:tracePt t="45614" x="11687175" y="2514600"/>
          <p14:tracePt t="45615" x="11703050" y="2514600"/>
          <p14:tracePt t="45616" x="11710988" y="2509838"/>
          <p14:tracePt t="45617" x="11718925" y="2509838"/>
          <p14:tracePt t="45618" x="11731625" y="2509838"/>
          <p14:tracePt t="45619" x="11744325" y="2506663"/>
          <p14:tracePt t="45620" x="11755438" y="2506663"/>
          <p14:tracePt t="45621" x="11763375" y="2501900"/>
          <p14:tracePt t="45622" x="11771313" y="2501900"/>
          <p14:tracePt t="45623" x="11779250" y="2501900"/>
          <p14:tracePt t="45624" x="11791950" y="2498725"/>
          <p14:tracePt t="45625" x="11799888" y="2498725"/>
          <p14:tracePt t="45626" x="11807825" y="2493963"/>
          <p14:tracePt t="45627" x="11815763" y="2493963"/>
          <p14:tracePt t="45628" x="11823700" y="2490788"/>
          <p14:tracePt t="45630" x="11839575" y="2486025"/>
          <p14:tracePt t="45631" x="11847513" y="2482850"/>
          <p14:tracePt t="45632" x="11852275" y="2478088"/>
          <p14:tracePt t="45633" x="11860213" y="2478088"/>
          <p14:tracePt t="45634" x="11868150" y="2474913"/>
          <p14:tracePt t="45635" x="11879263" y="2470150"/>
          <p14:tracePt t="45636" x="11884025" y="2470150"/>
          <p14:tracePt t="45637" x="11891963" y="2465388"/>
          <p14:tracePt t="45639" x="11899900" y="2462213"/>
          <p14:tracePt t="45640" x="11911013" y="2457450"/>
          <p14:tracePt t="45641" x="11915775" y="2454275"/>
          <p14:tracePt t="45642" x="11923713" y="2449513"/>
          <p14:tracePt t="45643" x="11923713" y="2446338"/>
          <p14:tracePt t="45645" x="11936413" y="2441575"/>
          <p14:tracePt t="45647" x="11947525" y="2433638"/>
          <p14:tracePt t="45648" x="11952288" y="2430463"/>
          <p14:tracePt t="45649" x="11955463" y="2425700"/>
          <p14:tracePt t="45650" x="11963400" y="2422525"/>
          <p14:tracePt t="45651" x="11968163" y="2417763"/>
          <p14:tracePt t="45652" x="11971338" y="2414588"/>
          <p14:tracePt t="45653" x="11976100" y="2409825"/>
          <p14:tracePt t="45655" x="11979275" y="2406650"/>
          <p14:tracePt t="45656" x="11984038" y="2398713"/>
          <p14:tracePt t="45657" x="11987213" y="2393950"/>
          <p14:tracePt t="45658" x="11991975" y="2393950"/>
          <p14:tracePt t="45659" x="11991975" y="2390775"/>
          <p14:tracePt t="45660" x="11995150" y="2382838"/>
          <p14:tracePt t="45662" x="11999913" y="2378075"/>
          <p14:tracePt t="45663" x="11999913" y="2373313"/>
          <p14:tracePt t="45665" x="11999913" y="2365375"/>
          <p14:tracePt t="45666" x="12003088" y="2362200"/>
          <p14:tracePt t="45667" x="12003088" y="2357438"/>
          <p14:tracePt t="45668" x="12007850" y="2349500"/>
          <p14:tracePt t="45669" x="12007850" y="2346325"/>
          <p14:tracePt t="45670" x="12007850" y="2341563"/>
          <p14:tracePt t="45671" x="12012613" y="2338388"/>
          <p14:tracePt t="45672" x="12012613" y="2330450"/>
          <p14:tracePt t="45674" x="12012613" y="2325688"/>
          <p14:tracePt t="45675" x="12012613" y="2322513"/>
          <p14:tracePt t="45676" x="12012613" y="2314575"/>
          <p14:tracePt t="45677" x="12015788" y="2309813"/>
          <p14:tracePt t="45678" x="12015788" y="2301875"/>
          <p14:tracePt t="45679" x="12015788" y="2298700"/>
          <p14:tracePt t="45681" x="12015788" y="2290763"/>
          <p14:tracePt t="45682" x="12015788" y="2286000"/>
          <p14:tracePt t="45682" x="12015788" y="2278063"/>
          <p14:tracePt t="45683" x="12015788" y="2273300"/>
          <p14:tracePt t="45684" x="12015788" y="2265363"/>
          <p14:tracePt t="45685" x="12015788" y="2262188"/>
          <p14:tracePt t="45686" x="12015788" y="2257425"/>
          <p14:tracePt t="45687" x="12015788" y="2249488"/>
          <p14:tracePt t="45688" x="12015788" y="2246313"/>
          <p14:tracePt t="45689" x="12015788" y="2238375"/>
          <p14:tracePt t="45690" x="12015788" y="2233613"/>
          <p14:tracePt t="45691" x="12015788" y="2225675"/>
          <p14:tracePt t="45692" x="12015788" y="2217738"/>
          <p14:tracePt t="45693" x="12015788" y="2214563"/>
          <p14:tracePt t="45695" x="12015788" y="2201863"/>
          <p14:tracePt t="45696" x="12015788" y="2193925"/>
          <p14:tracePt t="45697" x="12012613" y="2189163"/>
          <p14:tracePt t="45698" x="12012613" y="2181225"/>
          <p14:tracePt t="45699" x="12012613" y="2178050"/>
          <p14:tracePt t="45700" x="12012613" y="2170113"/>
          <p14:tracePt t="45701" x="12007850" y="2165350"/>
          <p14:tracePt t="45702" x="12007850" y="2157413"/>
          <p14:tracePt t="45704" x="12007850" y="2154238"/>
          <p14:tracePt t="45705" x="12007850" y="2146300"/>
          <p14:tracePt t="45706" x="12007850" y="2141538"/>
          <p14:tracePt t="45707" x="12007850" y="2133600"/>
          <p14:tracePt t="45708" x="12003088" y="2130425"/>
          <p14:tracePt t="45709" x="12003088" y="2125663"/>
          <p14:tracePt t="45710" x="12003088" y="2122488"/>
          <p14:tracePt t="45711" x="12003088" y="2114550"/>
          <p14:tracePt t="45713" x="11999913" y="2109788"/>
          <p14:tracePt t="45713" x="11999913" y="2101850"/>
          <p14:tracePt t="45714" x="11999913" y="2097088"/>
          <p14:tracePt t="45716" x="11995150" y="2089150"/>
          <p14:tracePt t="45717" x="11995150" y="2085975"/>
          <p14:tracePt t="45718" x="11991975" y="2081213"/>
          <p14:tracePt t="45719" x="11991975" y="2078038"/>
          <p14:tracePt t="45720" x="11987213" y="2073275"/>
          <p14:tracePt t="45721" x="11987213" y="2070100"/>
          <p14:tracePt t="45722" x="11987213" y="2062163"/>
          <p14:tracePt t="45723" x="11984038" y="2057400"/>
          <p14:tracePt t="45724" x="11984038" y="2054225"/>
          <p14:tracePt t="45725" x="11984038" y="2046288"/>
          <p14:tracePt t="45726" x="11979275" y="2041525"/>
          <p14:tracePt t="45727" x="11979275" y="2038350"/>
          <p14:tracePt t="45728" x="11976100" y="2030413"/>
          <p14:tracePt t="45730" x="11976100" y="2025650"/>
          <p14:tracePt t="45731" x="11971338" y="2022475"/>
          <p14:tracePt t="45732" x="11968163" y="2014538"/>
          <p14:tracePt t="45733" x="11968163" y="2009775"/>
          <p14:tracePt t="45734" x="11963400" y="2005013"/>
          <p14:tracePt t="45735" x="11963400" y="2001838"/>
          <p14:tracePt t="45736" x="11960225" y="1993900"/>
          <p14:tracePt t="45737" x="11960225" y="1989138"/>
          <p14:tracePt t="45738" x="11955463" y="1985963"/>
          <p14:tracePt t="45739" x="11952288" y="1981200"/>
          <p14:tracePt t="45740" x="11952288" y="1973263"/>
          <p14:tracePt t="45741" x="11947525" y="1970088"/>
          <p14:tracePt t="45742" x="11944350" y="1962150"/>
          <p14:tracePt t="45743" x="11944350" y="1957388"/>
          <p14:tracePt t="45745" x="11939588" y="1949450"/>
          <p14:tracePt t="45746" x="11936413" y="1946275"/>
          <p14:tracePt t="45747" x="11931650" y="1938338"/>
          <p14:tracePt t="45748" x="11928475" y="1933575"/>
          <p14:tracePt t="45749" x="11923713" y="1930400"/>
          <p14:tracePt t="45750" x="11918950" y="1925638"/>
          <p14:tracePt t="45751" x="11915775" y="1917700"/>
          <p14:tracePt t="45752" x="11911013" y="1909763"/>
          <p14:tracePt t="45753" x="11907838" y="1905000"/>
          <p14:tracePt t="45754" x="11903075" y="1901825"/>
          <p14:tracePt t="45755" x="11899900" y="1893888"/>
          <p14:tracePt t="45756" x="11899900" y="1889125"/>
          <p14:tracePt t="45757" x="11891963" y="1881188"/>
          <p14:tracePt t="45758" x="11887200" y="1873250"/>
          <p14:tracePt t="45759" x="11884025" y="1870075"/>
          <p14:tracePt t="45760" x="11879263" y="1862138"/>
          <p14:tracePt t="45761" x="11876088" y="1857375"/>
          <p14:tracePt t="45762" x="11868150" y="1849438"/>
          <p14:tracePt t="45764" x="11855450" y="1838325"/>
          <p14:tracePt t="45765" x="11852275" y="1833563"/>
          <p14:tracePt t="45766" x="11847513" y="1830388"/>
          <p14:tracePt t="45767" x="11839575" y="1820863"/>
          <p14:tracePt t="45768" x="11836400" y="1817688"/>
          <p14:tracePt t="45769" x="11826875" y="1809750"/>
          <p14:tracePt t="45770" x="11823700" y="1804988"/>
          <p14:tracePt t="45771" x="11815763" y="1801813"/>
          <p14:tracePt t="45772" x="11807825" y="1793875"/>
          <p14:tracePt t="45773" x="11803063" y="1789113"/>
          <p14:tracePt t="45774" x="11795125" y="1781175"/>
          <p14:tracePt t="45776" x="11791950" y="1778000"/>
          <p14:tracePt t="45776" x="11784013" y="1770063"/>
          <p14:tracePt t="45777" x="11776075" y="1765300"/>
          <p14:tracePt t="45778" x="11768138" y="1757363"/>
          <p14:tracePt t="45779" x="11755438" y="1754188"/>
          <p14:tracePt t="45781" x="11744325" y="1738313"/>
          <p14:tracePt t="45782" x="11731625" y="1728788"/>
          <p14:tracePt t="45783" x="11718925" y="1720850"/>
          <p14:tracePt t="45784" x="11715750" y="1717675"/>
          <p14:tracePt t="45785" x="11707813" y="1709738"/>
          <p14:tracePt t="45786" x="11699875" y="1704975"/>
          <p14:tracePt t="45787" x="11691938" y="1693863"/>
          <p14:tracePt t="45788" x="11676063" y="1685925"/>
          <p14:tracePt t="45789" x="11668125" y="1681163"/>
          <p14:tracePt t="45790" x="11660188" y="1673225"/>
          <p14:tracePt t="45791" x="11652250" y="1662113"/>
          <p14:tracePt t="45792" x="11634788" y="1654175"/>
          <p14:tracePt t="45793" x="11626850" y="1649413"/>
          <p14:tracePt t="45794" x="11615738" y="1636713"/>
          <p14:tracePt t="45795" x="11603038" y="1628775"/>
          <p14:tracePt t="45796" x="11595100" y="1625600"/>
          <p14:tracePt t="45798" x="11571288" y="1604963"/>
          <p14:tracePt t="45799" x="11555413" y="1597025"/>
          <p14:tracePt t="45800" x="11547475" y="1593850"/>
          <p14:tracePt t="45801" x="11531600" y="1581150"/>
          <p14:tracePt t="45802" x="11518900" y="1573213"/>
          <p14:tracePt t="45803" x="11503025" y="1565275"/>
          <p14:tracePt t="45804" x="11491913" y="1557338"/>
          <p14:tracePt t="45805" x="11483975" y="1549400"/>
          <p14:tracePt t="45806" x="11466513" y="1541463"/>
          <p14:tracePt t="45807" x="11450638" y="1536700"/>
          <p14:tracePt t="45808" x="11439525" y="1525588"/>
          <p14:tracePt t="45809" x="11423650" y="1517650"/>
          <p14:tracePt t="45810" x="11410950" y="1504950"/>
          <p14:tracePt t="45811" x="11399838" y="1501775"/>
          <p14:tracePt t="45812" x="11387138" y="1493838"/>
          <p14:tracePt t="45813" x="11366500" y="1481138"/>
          <p14:tracePt t="45814" x="11350625" y="1473200"/>
          <p14:tracePt t="45815" x="11342688" y="1470025"/>
          <p14:tracePt t="45816" x="11326813" y="1465263"/>
          <p14:tracePt t="45817" x="11315700" y="1452563"/>
          <p14:tracePt t="45818" x="11295063" y="1444625"/>
          <p14:tracePt t="45819" x="11287125" y="1441450"/>
          <p14:tracePt t="45820" x="11271250" y="1436688"/>
          <p14:tracePt t="45821" x="11255375" y="1425575"/>
          <p14:tracePt t="45822" x="11247438" y="1420813"/>
          <p14:tracePt t="45823" x="11226800" y="1412875"/>
          <p14:tracePt t="45824" x="11218863" y="1404938"/>
          <p14:tracePt t="45825" x="11202988" y="1397000"/>
          <p14:tracePt t="45826" x="11195050" y="1393825"/>
          <p14:tracePt t="45827" x="11182350" y="1389063"/>
          <p14:tracePt t="45828" x="11166475" y="1377950"/>
          <p14:tracePt t="45829" x="11155363" y="1373188"/>
          <p14:tracePt t="45830" x="11142663" y="1368425"/>
          <p14:tracePt t="45832" x="11123613" y="1360488"/>
          <p14:tracePt t="45833" x="11115675" y="1357313"/>
          <p14:tracePt t="45834" x="11098213" y="1344613"/>
          <p14:tracePt t="45835" x="11082338" y="1341438"/>
          <p14:tracePt t="45836" x="11074400" y="1336675"/>
          <p14:tracePt t="45837" x="11066463" y="1333500"/>
          <p14:tracePt t="45838" x="11055350" y="1328738"/>
          <p14:tracePt t="45839" x="11039475" y="1325563"/>
          <p14:tracePt t="45840" x="11031538" y="1320800"/>
          <p14:tracePt t="45841" x="11023600" y="1312863"/>
          <p14:tracePt t="45842" x="11010900" y="1309688"/>
          <p14:tracePt t="45843" x="11002963" y="1304925"/>
          <p14:tracePt t="45844" x="10990263" y="1301750"/>
          <p14:tracePt t="45845" x="10982325" y="1301750"/>
          <p14:tracePt t="45846" x="10974388" y="1296988"/>
          <p14:tracePt t="45847" x="10963275" y="1293813"/>
          <p14:tracePt t="45848" x="10950575" y="1289050"/>
          <p14:tracePt t="45849" x="10942638" y="1285875"/>
          <p14:tracePt t="45850" x="10931525" y="1281113"/>
          <p14:tracePt t="45851" x="10922000" y="1281113"/>
          <p14:tracePt t="45852" x="10914063" y="1273175"/>
          <p14:tracePt t="45853" x="10906125" y="1268413"/>
          <p14:tracePt t="45854" x="10898188" y="1268413"/>
          <p14:tracePt t="45855" x="10890250" y="1265238"/>
          <p14:tracePt t="45856" x="10887075" y="1260475"/>
          <p14:tracePt t="45857" x="10879138" y="1260475"/>
          <p14:tracePt t="45858" x="10871200" y="1257300"/>
          <p14:tracePt t="45859" x="10863263" y="1252538"/>
          <p14:tracePt t="45860" x="10850563" y="1249363"/>
          <p14:tracePt t="45862" x="10839450" y="1244600"/>
          <p14:tracePt t="45863" x="10829925" y="1244600"/>
          <p14:tracePt t="45865" x="10814050" y="1241425"/>
          <p14:tracePt t="45866" x="10810875" y="1236663"/>
          <p14:tracePt t="45867" x="10802938" y="1236663"/>
          <p14:tracePt t="45868" x="10795000" y="1233488"/>
          <p14:tracePt t="45869" x="10790238" y="1228725"/>
          <p14:tracePt t="45870" x="10782300" y="1228725"/>
          <p14:tracePt t="45871" x="10774363" y="1225550"/>
          <p14:tracePt t="45872" x="10771188" y="1225550"/>
          <p14:tracePt t="45873" x="10763250" y="1225550"/>
          <p14:tracePt t="45874" x="10755313" y="1220788"/>
          <p14:tracePt t="45875" x="10745788" y="1220788"/>
          <p14:tracePt t="45876" x="10737850" y="1220788"/>
          <p14:tracePt t="45877" x="10734675" y="1217613"/>
          <p14:tracePt t="45878" x="10726738" y="1217613"/>
          <p14:tracePt t="45879" x="10718800" y="1217613"/>
          <p14:tracePt t="45880" x="10710863" y="1212850"/>
          <p14:tracePt t="45881" x="10706100" y="1212850"/>
          <p14:tracePt t="45882" x="10698163" y="1209675"/>
          <p14:tracePt t="45883" x="10690225" y="1209675"/>
          <p14:tracePt t="45884" x="10682288" y="1204913"/>
          <p14:tracePt t="45885" x="10674350" y="1204913"/>
          <p14:tracePt t="45896" x="10587038" y="1193800"/>
          <p14:tracePt t="45897" x="10566400" y="1189038"/>
          <p14:tracePt t="45898" x="10558463" y="1189038"/>
          <p14:tracePt t="45899" x="10545763" y="1189038"/>
          <p14:tracePt t="45900" x="10537825" y="1189038"/>
          <p14:tracePt t="45901" x="10529888" y="1189038"/>
          <p14:tracePt t="45902" x="10521950" y="1181100"/>
          <p14:tracePt t="45903" x="10514013" y="1181100"/>
          <p14:tracePt t="45904" x="10498138" y="1181100"/>
          <p14:tracePt t="45905" x="10487025" y="1181100"/>
          <p14:tracePt t="45906" x="10479088" y="1176338"/>
          <p14:tracePt t="45907" x="10466388" y="1176338"/>
          <p14:tracePt t="45908" x="10453688" y="1176338"/>
          <p14:tracePt t="45909" x="10442575" y="1176338"/>
          <p14:tracePt t="45910" x="10426700" y="1176338"/>
          <p14:tracePt t="45911" x="10418763" y="1176338"/>
          <p14:tracePt t="45912" x="10406063" y="1176338"/>
          <p14:tracePt t="45913" x="10398125" y="1176338"/>
          <p14:tracePt t="45914" x="10377488" y="1176338"/>
          <p14:tracePt t="45915" x="10361613" y="1176338"/>
          <p14:tracePt t="45917" x="10353675" y="1176338"/>
          <p14:tracePt t="45917" x="10342563" y="1176338"/>
          <p14:tracePt t="45918" x="10329863" y="1176338"/>
          <p14:tracePt t="45919" x="10310813" y="1176338"/>
          <p14:tracePt t="45920" x="10302875" y="1176338"/>
          <p14:tracePt t="45921" x="10285413" y="1176338"/>
          <p14:tracePt t="45922" x="10274300" y="1176338"/>
          <p14:tracePt t="45923" x="10261600" y="1176338"/>
          <p14:tracePt t="45924" x="10245725" y="1176338"/>
          <p14:tracePt t="45925" x="10234613" y="1176338"/>
          <p14:tracePt t="45926" x="10226675" y="1176338"/>
          <p14:tracePt t="45927" x="10210800" y="1176338"/>
          <p14:tracePt t="45928" x="10198100" y="1176338"/>
          <p14:tracePt t="45929" x="10190163" y="1176338"/>
          <p14:tracePt t="45930" x="10169525" y="1176338"/>
          <p14:tracePt t="45931" x="10161588" y="1176338"/>
          <p14:tracePt t="45932" x="10150475" y="1176338"/>
          <p14:tracePt t="45933" x="10134600" y="1181100"/>
          <p14:tracePt t="45934" x="10121900" y="1181100"/>
          <p14:tracePt t="45935" x="10106025" y="1181100"/>
          <p14:tracePt t="45936" x="10098088" y="1184275"/>
          <p14:tracePt t="45937" x="10085388" y="1184275"/>
          <p14:tracePt t="45938" x="10069513" y="1184275"/>
          <p14:tracePt t="45939" x="10061575" y="1189038"/>
          <p14:tracePt t="45940" x="10042525" y="1193800"/>
          <p14:tracePt t="45941" x="10034588" y="1193800"/>
          <p14:tracePt t="45942" x="10017125" y="1196975"/>
          <p14:tracePt t="45943" x="10006013" y="1196975"/>
          <p14:tracePt t="45944" x="9998075" y="1201738"/>
          <p14:tracePt t="45945" x="9977438" y="1201738"/>
          <p14:tracePt t="45946" x="9969500" y="1204913"/>
          <p14:tracePt t="45947" x="9953625" y="1209675"/>
          <p14:tracePt t="45948" x="9945688" y="1209675"/>
          <p14:tracePt t="45949" x="9932988" y="1217613"/>
          <p14:tracePt t="45950" x="9917113" y="1217613"/>
          <p14:tracePt t="45951" x="9906000" y="1220788"/>
          <p14:tracePt t="45952" x="9898063" y="1225550"/>
          <p14:tracePt t="45953" x="9882188" y="1225550"/>
          <p14:tracePt t="45954" x="9874250" y="1228725"/>
          <p14:tracePt t="45955" x="9861550" y="1233488"/>
          <p14:tracePt t="45956" x="9845675" y="1236663"/>
          <p14:tracePt t="45957" x="9837738" y="1241425"/>
          <p14:tracePt t="45958" x="9821863" y="1241425"/>
          <p14:tracePt t="45959" x="9813925" y="1249363"/>
          <p14:tracePt t="45960" x="9801225" y="1252538"/>
          <p14:tracePt t="45961" x="9785350" y="1257300"/>
          <p14:tracePt t="45962" x="9777413" y="1260475"/>
          <p14:tracePt t="45963" x="9766300" y="1265238"/>
          <p14:tracePt t="45964" x="9753600" y="1268413"/>
          <p14:tracePt t="45965" x="9740900" y="1273175"/>
          <p14:tracePt t="45966" x="9732963" y="1276350"/>
          <p14:tracePt t="45967" x="9717088" y="1285875"/>
          <p14:tracePt t="45968" x="9709150" y="1289050"/>
          <p14:tracePt t="45969" x="9693275" y="1293813"/>
          <p14:tracePt t="45970" x="9685338" y="1296988"/>
          <p14:tracePt t="45971" x="9674225" y="1301750"/>
          <p14:tracePt t="45972" x="9666288" y="1304925"/>
          <p14:tracePt t="45973" x="9653588" y="1309688"/>
          <p14:tracePt t="45974" x="9640888" y="1317625"/>
          <p14:tracePt t="45975" x="9632950" y="1320800"/>
          <p14:tracePt t="45976" x="9617075" y="1325563"/>
          <p14:tracePt t="45977" x="9609138" y="1328738"/>
          <p14:tracePt t="45978" x="9593263" y="1333500"/>
          <p14:tracePt t="45979" x="9585325" y="1341438"/>
          <p14:tracePt t="45980" x="9574213" y="1349375"/>
          <p14:tracePt t="45981" x="9561513" y="1352550"/>
          <p14:tracePt t="45982" x="9548813" y="1357313"/>
          <p14:tracePt t="45983" x="9540875" y="1360488"/>
          <p14:tracePt t="45984" x="9532938" y="1365250"/>
          <p14:tracePt t="45985" x="9517063" y="1373188"/>
          <p14:tracePt t="45986" x="9501188" y="1381125"/>
          <p14:tracePt t="45987" x="9493250" y="1385888"/>
          <p14:tracePt t="45988" x="9485313" y="1389063"/>
          <p14:tracePt t="45989" x="9477375" y="1393825"/>
          <p14:tracePt t="45990" x="9456738" y="1401763"/>
          <p14:tracePt t="45991" x="9448800" y="1404938"/>
          <p14:tracePt t="45992" x="9437688" y="1412875"/>
          <p14:tracePt t="45994" x="9429750" y="1417638"/>
          <p14:tracePt t="45995" x="9405938" y="1428750"/>
          <p14:tracePt t="45996" x="9393238" y="1441450"/>
          <p14:tracePt t="45997" x="9385300" y="1444625"/>
          <p14:tracePt t="45999" x="9377363" y="1449388"/>
          <p14:tracePt t="46000" x="9345613" y="1460500"/>
          <p14:tracePt t="46001" x="9337675" y="1465263"/>
          <p14:tracePt t="46002" x="9329738" y="1470025"/>
          <p14:tracePt t="46003" x="9321800" y="1477963"/>
          <p14:tracePt t="46004" x="9305925" y="1485900"/>
          <p14:tracePt t="46005" x="9296400" y="1489075"/>
          <p14:tracePt t="46006" x="9285288" y="1493838"/>
          <p14:tracePt t="46007" x="9272588" y="1501775"/>
          <p14:tracePt t="46008" x="9264650" y="1509713"/>
          <p14:tracePt t="46009" x="9256713" y="1512888"/>
          <p14:tracePt t="46010" x="9248775" y="1517650"/>
          <p14:tracePt t="46011" x="9240838" y="1520825"/>
          <p14:tracePt t="46012" x="9229725" y="1525588"/>
          <p14:tracePt t="46013" x="9221788" y="1528763"/>
          <p14:tracePt t="46015" x="9204325" y="1536700"/>
          <p14:tracePt t="46016" x="9196388" y="1549400"/>
          <p14:tracePt t="46017" x="9193213" y="1549400"/>
          <p14:tracePt t="46018" x="9185275" y="1552575"/>
          <p14:tracePt t="46019" x="9177338" y="1552575"/>
          <p14:tracePt t="46020" x="9172575" y="1557338"/>
          <p14:tracePt t="46021" x="9161463" y="1565275"/>
          <p14:tracePt t="46022" x="9156700" y="1565275"/>
          <p14:tracePt t="46023" x="9148763" y="1570038"/>
          <p14:tracePt t="46024" x="9145588" y="1573213"/>
          <p14:tracePt t="46025" x="9137650" y="1577975"/>
          <p14:tracePt t="46026" x="9124950" y="1581150"/>
          <p14:tracePt t="46027" x="9124950" y="1585913"/>
          <p14:tracePt t="46028" x="9120188" y="1589088"/>
          <p14:tracePt t="46029" x="9112250" y="1593850"/>
          <p14:tracePt t="46031" x="9101138" y="1601788"/>
          <p14:tracePt t="46032" x="9096375" y="1601788"/>
          <p14:tracePt t="46033" x="9093200" y="1604963"/>
          <p14:tracePt t="46034" x="9088438" y="1609725"/>
          <p14:tracePt t="46035" x="9085263" y="1609725"/>
          <p14:tracePt t="46036" x="9077325" y="1612900"/>
          <p14:tracePt t="46037" x="9072563" y="1617663"/>
          <p14:tracePt t="46038" x="9069388" y="1617663"/>
          <p14:tracePt t="46039" x="9064625" y="1620838"/>
          <p14:tracePt t="46040" x="9061450" y="1620838"/>
          <p14:tracePt t="46041" x="9061450" y="1625600"/>
          <p14:tracePt t="46042" x="9056688" y="1628775"/>
          <p14:tracePt t="46043" x="9053513" y="1633538"/>
          <p14:tracePt t="46045" x="9048750" y="1633538"/>
          <p14:tracePt t="46046" x="9045575" y="1636713"/>
          <p14:tracePt t="46048" x="9037638" y="1641475"/>
          <p14:tracePt t="46049" x="9032875" y="1641475"/>
          <p14:tracePt t="46050" x="9028113" y="1644650"/>
          <p14:tracePt t="46052" x="9024938" y="1649413"/>
          <p14:tracePt t="46053" x="9020175" y="1654175"/>
          <p14:tracePt t="46055" x="9020175" y="1657350"/>
          <p14:tracePt t="46057" x="9017000" y="1662113"/>
          <p14:tracePt t="46059" x="9012238" y="1665288"/>
          <p14:tracePt t="46060" x="9009063" y="1665288"/>
          <p14:tracePt t="46062" x="9004300" y="1670050"/>
          <p14:tracePt t="46063" x="9004300" y="1673225"/>
          <p14:tracePt t="46065" x="9001125" y="1673225"/>
          <p14:tracePt t="46066" x="8996363" y="1677988"/>
          <p14:tracePt t="46068" x="8993188" y="1677988"/>
          <p14:tracePt t="46069" x="8993188" y="1681163"/>
          <p14:tracePt t="46070" x="8988425" y="1685925"/>
          <p14:tracePt t="46072" x="8985250" y="1689100"/>
          <p14:tracePt t="46074" x="8980488" y="1693863"/>
          <p14:tracePt t="46076" x="8980488" y="1697038"/>
          <p14:tracePt t="46078" x="8977313" y="1701800"/>
          <p14:tracePt t="46080" x="8972550" y="1704975"/>
          <p14:tracePt t="46081" x="8972550" y="1709738"/>
          <p14:tracePt t="46082" x="8972550" y="1712913"/>
          <p14:tracePt t="46083" x="8969375" y="1712913"/>
          <p14:tracePt t="46085" x="8964613" y="1712913"/>
          <p14:tracePt t="46086" x="8964613" y="1717675"/>
          <p14:tracePt t="46087" x="8961438" y="1720850"/>
          <p14:tracePt t="46088" x="8961438" y="1725613"/>
          <p14:tracePt t="46090" x="8956675" y="1728788"/>
          <p14:tracePt t="46091" x="8956675" y="1733550"/>
          <p14:tracePt t="46092" x="8953500" y="1733550"/>
          <p14:tracePt t="46093" x="8953500" y="1738313"/>
          <p14:tracePt t="46095" x="8948738" y="1741488"/>
          <p14:tracePt t="46096" x="8945563" y="1746250"/>
          <p14:tracePt t="46097" x="8945563" y="1749425"/>
          <p14:tracePt t="46099" x="8940800" y="1754188"/>
          <p14:tracePt t="46102" x="8940800" y="1757363"/>
          <p14:tracePt t="46103" x="8940800" y="1762125"/>
          <p14:tracePt t="46105" x="8940800" y="1765300"/>
          <p14:tracePt t="46106" x="8940800" y="1770063"/>
          <p14:tracePt t="46107" x="8940800" y="1773238"/>
          <p14:tracePt t="46108" x="8940800" y="1778000"/>
          <p14:tracePt t="46110" x="8940800" y="1781175"/>
          <p14:tracePt t="46111" x="8940800" y="1785938"/>
          <p14:tracePt t="46113" x="8936038" y="1789113"/>
          <p14:tracePt t="46114" x="8936038" y="1793875"/>
          <p14:tracePt t="46115" x="8932863" y="1797050"/>
          <p14:tracePt t="46117" x="8932863" y="1801813"/>
          <p14:tracePt t="46118" x="8932863" y="1804988"/>
          <p14:tracePt t="46120" x="8932863" y="1809750"/>
          <p14:tracePt t="46121" x="8928100" y="1812925"/>
          <p14:tracePt t="46122" x="8928100" y="1817688"/>
          <p14:tracePt t="46123" x="8928100" y="1820863"/>
          <p14:tracePt t="46124" x="8928100" y="1825625"/>
          <p14:tracePt t="46125" x="8928100" y="1830388"/>
          <p14:tracePt t="46126" x="8928100" y="1833563"/>
          <p14:tracePt t="46127" x="8928100" y="1838325"/>
          <p14:tracePt t="46129" x="8928100" y="1841500"/>
          <p14:tracePt t="46130" x="8924925" y="1846263"/>
          <p14:tracePt t="46131" x="8924925" y="1849438"/>
          <p14:tracePt t="46132" x="8924925" y="1854200"/>
          <p14:tracePt t="46133" x="8924925" y="1862138"/>
          <p14:tracePt t="46134" x="8924925" y="1865313"/>
          <p14:tracePt t="46135" x="8924925" y="1870075"/>
          <p14:tracePt t="46136" x="8924925" y="1873250"/>
          <p14:tracePt t="46137" x="8924925" y="1878013"/>
          <p14:tracePt t="46138" x="8924925" y="1881188"/>
          <p14:tracePt t="46140" x="8924925" y="1885950"/>
          <p14:tracePt t="46141" x="8924925" y="1893888"/>
          <p14:tracePt t="46142" x="8924925" y="1897063"/>
          <p14:tracePt t="46143" x="8924925" y="1905000"/>
          <p14:tracePt t="46145" x="8928100" y="1912938"/>
          <p14:tracePt t="46146" x="8928100" y="1922463"/>
          <p14:tracePt t="46147" x="8932863" y="1925638"/>
          <p14:tracePt t="46148" x="8932863" y="1933575"/>
          <p14:tracePt t="46149" x="8936038" y="1938338"/>
          <p14:tracePt t="46150" x="8936038" y="1946275"/>
          <p14:tracePt t="46151" x="8936038" y="1949450"/>
          <p14:tracePt t="46152" x="8940800" y="1949450"/>
          <p14:tracePt t="46153" x="8940800" y="1957388"/>
          <p14:tracePt t="46154" x="8945563" y="1970088"/>
          <p14:tracePt t="46155" x="8948738" y="1970088"/>
          <p14:tracePt t="46156" x="8953500" y="1973263"/>
          <p14:tracePt t="46157" x="8953500" y="1981200"/>
          <p14:tracePt t="46158" x="8956675" y="1989138"/>
          <p14:tracePt t="46159" x="8961438" y="1993900"/>
          <p14:tracePt t="46160" x="8964613" y="2001838"/>
          <p14:tracePt t="46161" x="8969375" y="2005013"/>
          <p14:tracePt t="46163" x="8980488" y="2025650"/>
          <p14:tracePt t="46164" x="8985250" y="2025650"/>
          <p14:tracePt t="46165" x="8988425" y="2033588"/>
          <p14:tracePt t="46166" x="8993188" y="2038350"/>
          <p14:tracePt t="46167" x="8996363" y="2046288"/>
          <p14:tracePt t="46168" x="9009063" y="2057400"/>
          <p14:tracePt t="46169" x="9009063" y="2062163"/>
          <p14:tracePt t="46170" x="9012238" y="2070100"/>
          <p14:tracePt t="46171" x="9024938" y="2073275"/>
          <p14:tracePt t="46172" x="9028113" y="2078038"/>
          <p14:tracePt t="46173" x="9037638" y="2085975"/>
          <p14:tracePt t="46174" x="9045575" y="2089150"/>
          <p14:tracePt t="46175" x="9048750" y="2097088"/>
          <p14:tracePt t="46176" x="9056688" y="2101850"/>
          <p14:tracePt t="46177" x="9061450" y="2109788"/>
          <p14:tracePt t="46178" x="9077325" y="2122488"/>
          <p14:tracePt t="46179" x="9080500" y="2125663"/>
          <p14:tracePt t="46180" x="9088438" y="2130425"/>
          <p14:tracePt t="46182" x="9101138" y="2141538"/>
          <p14:tracePt t="46183" x="9117013" y="2149475"/>
          <p14:tracePt t="46184" x="9124950" y="2154238"/>
          <p14:tracePt t="46185" x="9132888" y="2157413"/>
          <p14:tracePt t="46186" x="9137650" y="2162175"/>
          <p14:tracePt t="46187" x="9145588" y="2165350"/>
          <p14:tracePt t="46188" x="9156700" y="2178050"/>
          <p14:tracePt t="46189" x="9169400" y="2181225"/>
          <p14:tracePt t="46190" x="9177338" y="2185988"/>
          <p14:tracePt t="46191" x="9180513" y="2189163"/>
          <p14:tracePt t="46192" x="9188450" y="2193925"/>
          <p14:tracePt t="46193" x="9196388" y="2198688"/>
          <p14:tracePt t="46195" x="9221788" y="2209800"/>
          <p14:tracePt t="46196" x="9229725" y="2214563"/>
          <p14:tracePt t="46198" x="9245600" y="2225675"/>
          <p14:tracePt t="46200" x="9264650" y="2233613"/>
          <p14:tracePt t="46201" x="9272588" y="2238375"/>
          <p14:tracePt t="46202" x="9280525" y="2241550"/>
          <p14:tracePt t="46203" x="9288463" y="2246313"/>
          <p14:tracePt t="46204" x="9305925" y="2249488"/>
          <p14:tracePt t="46205" x="9313863" y="2254250"/>
          <p14:tracePt t="46206" x="9321800" y="2257425"/>
          <p14:tracePt t="46207" x="9329738" y="2265363"/>
          <p14:tracePt t="46208" x="9345613" y="2270125"/>
          <p14:tracePt t="46209" x="9353550" y="2273300"/>
          <p14:tracePt t="46210" x="9364663" y="2278063"/>
          <p14:tracePt t="46211" x="9377363" y="2281238"/>
          <p14:tracePt t="46212" x="9385300" y="2286000"/>
          <p14:tracePt t="46213" x="9393238" y="2290763"/>
          <p14:tracePt t="46215" x="9417050" y="2293938"/>
          <p14:tracePt t="46216" x="9424988" y="2298700"/>
          <p14:tracePt t="46217" x="9437688" y="2306638"/>
          <p14:tracePt t="46218" x="9453563" y="2309813"/>
          <p14:tracePt t="46219" x="9461500" y="2314575"/>
          <p14:tracePt t="46220" x="9477375" y="2317750"/>
          <p14:tracePt t="46221" x="9485313" y="2317750"/>
          <p14:tracePt t="46222" x="9493250" y="2322513"/>
          <p14:tracePt t="46223" x="9505950" y="2325688"/>
          <p14:tracePt t="46224" x="9521825" y="2333625"/>
          <p14:tracePt t="46225" x="9529763" y="2333625"/>
          <p14:tracePt t="46226" x="9540875" y="2338388"/>
          <p14:tracePt t="46227" x="9553575" y="2341563"/>
          <p14:tracePt t="46229" x="9564688" y="2346325"/>
          <p14:tracePt t="46229" x="9582150" y="2349500"/>
          <p14:tracePt t="46230" x="9593263" y="2349500"/>
          <p14:tracePt t="46232" x="9601200" y="2354263"/>
          <p14:tracePt t="46232" x="9617075" y="2357438"/>
          <p14:tracePt t="46233" x="9629775" y="2365375"/>
          <p14:tracePt t="46234" x="9645650" y="2365375"/>
          <p14:tracePt t="46235" x="9653588" y="2370138"/>
          <p14:tracePt t="46236" x="9666288" y="2373313"/>
          <p14:tracePt t="46237" x="9674225" y="2373313"/>
          <p14:tracePt t="46238" x="9690100" y="2378075"/>
          <p14:tracePt t="46239" x="9701213" y="2382838"/>
          <p14:tracePt t="46240" x="9717088" y="2386013"/>
          <p14:tracePt t="46241" x="9729788" y="2386013"/>
          <p14:tracePt t="46242" x="9745663" y="2393950"/>
          <p14:tracePt t="46243" x="9753600" y="2393950"/>
          <p14:tracePt t="46245" x="9785350" y="2398713"/>
          <p14:tracePt t="46246" x="9793288" y="2401888"/>
          <p14:tracePt t="46247" x="9809163" y="2406650"/>
          <p14:tracePt t="46248" x="9821863" y="2406650"/>
          <p14:tracePt t="46249" x="9837738" y="2409825"/>
          <p14:tracePt t="46250" x="9850438" y="2409825"/>
          <p14:tracePt t="46251" x="9866313" y="2414588"/>
          <p14:tracePt t="46252" x="9877425" y="2414588"/>
          <p14:tracePt t="46253" x="9885363" y="2417763"/>
          <p14:tracePt t="46254" x="9906000" y="2417763"/>
          <p14:tracePt t="46255" x="9921875" y="2425700"/>
          <p14:tracePt t="46256" x="9929813" y="2425700"/>
          <p14:tracePt t="46257" x="9942513" y="2430463"/>
          <p14:tracePt t="46258" x="9958388" y="2430463"/>
          <p14:tracePt t="46259" x="9974263" y="2430463"/>
          <p14:tracePt t="46260" x="9990138" y="2433638"/>
          <p14:tracePt t="46262" x="10009188" y="2433638"/>
          <p14:tracePt t="46263" x="10026650" y="2438400"/>
          <p14:tracePt t="46264" x="10045700" y="2438400"/>
          <p14:tracePt t="46265" x="10058400" y="2438400"/>
          <p14:tracePt t="46266" x="10066338" y="2441575"/>
          <p14:tracePt t="46267" x="10082213" y="2441575"/>
          <p14:tracePt t="46268" x="10093325" y="2446338"/>
          <p14:tracePt t="46269" x="10109200" y="2446338"/>
          <p14:tracePt t="46270" x="10121900" y="2446338"/>
          <p14:tracePt t="46271" x="10137775" y="2454275"/>
          <p14:tracePt t="46272" x="10150475" y="2454275"/>
          <p14:tracePt t="46273" x="10161588" y="2454275"/>
          <p14:tracePt t="46274" x="10182225" y="2457450"/>
          <p14:tracePt t="46275" x="10190163" y="2457450"/>
          <p14:tracePt t="46276" x="10206038" y="2457450"/>
          <p14:tracePt t="46277" x="10218738" y="2457450"/>
          <p14:tracePt t="46278" x="10234613" y="2457450"/>
          <p14:tracePt t="46280" x="10261600" y="2462213"/>
          <p14:tracePt t="46281" x="10274300" y="2462213"/>
          <p14:tracePt t="46282" x="10282238" y="2462213"/>
          <p14:tracePt t="46283" x="10293350" y="2462213"/>
          <p14:tracePt t="46284" x="10310813" y="2465388"/>
          <p14:tracePt t="46285" x="10321925" y="2465388"/>
          <p14:tracePt t="46286" x="10337800" y="2465388"/>
          <p14:tracePt t="46287" x="10350500" y="2465388"/>
          <p14:tracePt t="46288" x="10358438" y="2465388"/>
          <p14:tracePt t="46289" x="10374313" y="2465388"/>
          <p14:tracePt t="46290" x="10394950" y="2465388"/>
          <p14:tracePt t="46291" x="10402888" y="2465388"/>
          <p14:tracePt t="46292" x="10414000" y="2465388"/>
          <p14:tracePt t="46293" x="10421938" y="2470150"/>
          <p14:tracePt t="46294" x="10437813" y="2470150"/>
          <p14:tracePt t="46295" x="10453688" y="2470150"/>
          <p14:tracePt t="46297" x="10479088" y="2470150"/>
          <p14:tracePt t="46298" x="10490200" y="2470150"/>
          <p14:tracePt t="46299" x="10498138" y="2470150"/>
          <p14:tracePt t="46300" x="10518775" y="2470150"/>
          <p14:tracePt t="46301" x="10526713" y="2470150"/>
          <p14:tracePt t="46302" x="10542588" y="2470150"/>
          <p14:tracePt t="46303" x="10550525" y="2470150"/>
          <p14:tracePt t="46304" x="10561638" y="2470150"/>
          <p14:tracePt t="46305" x="10574338" y="2470150"/>
          <p14:tracePt t="46306" x="10582275" y="2470150"/>
          <p14:tracePt t="46307" x="10598150" y="2474913"/>
          <p14:tracePt t="46308" x="10606088" y="2474913"/>
          <p14:tracePt t="46309" x="10614025" y="2474913"/>
          <p14:tracePt t="46310" x="10629900" y="2474913"/>
          <p14:tracePt t="46311" x="10642600" y="2474913"/>
          <p14:tracePt t="46313" x="10650538" y="2474913"/>
          <p14:tracePt t="46313" x="10658475" y="2474913"/>
          <p14:tracePt t="46314" x="10666413" y="2474913"/>
          <p14:tracePt t="46315" x="10679113" y="2474913"/>
          <p14:tracePt t="46316" x="10690225" y="2474913"/>
          <p14:tracePt t="46317" x="10698163" y="2474913"/>
          <p14:tracePt t="46318" x="10710863" y="2474913"/>
          <p14:tracePt t="46319" x="10718800" y="2474913"/>
          <p14:tracePt t="46320" x="10726738" y="2474913"/>
          <p14:tracePt t="46321" x="10734675" y="2474913"/>
          <p14:tracePt t="46322" x="10742613" y="2474913"/>
          <p14:tracePt t="46323" x="10750550" y="2474913"/>
          <p14:tracePt t="46324" x="10758488" y="2474913"/>
          <p14:tracePt t="46325" x="10766425" y="2474913"/>
          <p14:tracePt t="46326" x="10782300" y="2474913"/>
          <p14:tracePt t="46327" x="10790238" y="2474913"/>
          <p14:tracePt t="46328" x="10798175" y="2474913"/>
          <p14:tracePt t="46329" x="10806113" y="2474913"/>
          <p14:tracePt t="46330" x="10814050" y="2474913"/>
          <p14:tracePt t="46331" x="10821988" y="2474913"/>
          <p14:tracePt t="46332" x="10829925" y="2470150"/>
          <p14:tracePt t="46333" x="10839450" y="2470150"/>
          <p14:tracePt t="46334" x="10847388" y="2470150"/>
          <p14:tracePt t="46335" x="10858500" y="2465388"/>
          <p14:tracePt t="46336" x="10871200" y="2465388"/>
          <p14:tracePt t="46337" x="10874375" y="2465388"/>
          <p14:tracePt t="46338" x="10882313" y="2465388"/>
          <p14:tracePt t="46339" x="10890250" y="2462213"/>
          <p14:tracePt t="46340" x="10898188" y="2462213"/>
          <p14:tracePt t="46341" x="10910888" y="2462213"/>
          <p14:tracePt t="46342" x="10922000" y="2457450"/>
          <p14:tracePt t="46343" x="10931525" y="2457450"/>
          <p14:tracePt t="46345" x="10947400" y="2454275"/>
          <p14:tracePt t="46346" x="10958513" y="2454275"/>
          <p14:tracePt t="46347" x="10966450" y="2454275"/>
          <p14:tracePt t="46348" x="10974388" y="2454275"/>
          <p14:tracePt t="46349" x="10987088" y="2449513"/>
          <p14:tracePt t="46350" x="10995025" y="2449513"/>
          <p14:tracePt t="46351" x="11002963" y="2446338"/>
          <p14:tracePt t="46352" x="11010900" y="2446338"/>
          <p14:tracePt t="46353" x="11018838" y="2446338"/>
          <p14:tracePt t="46354" x="11026775" y="2441575"/>
          <p14:tracePt t="46355" x="11034713" y="2441575"/>
          <p14:tracePt t="46356" x="11050588" y="2433638"/>
          <p14:tracePt t="46357" x="11058525" y="2433638"/>
          <p14:tracePt t="46358" x="11066463" y="2430463"/>
          <p14:tracePt t="46359" x="11074400" y="2430463"/>
          <p14:tracePt t="46360" x="11079163" y="2425700"/>
          <p14:tracePt t="46361" x="11090275" y="2422525"/>
          <p14:tracePt t="46362" x="11095038" y="2422525"/>
          <p14:tracePt t="46363" x="11102975" y="2417763"/>
          <p14:tracePt t="46364" x="11110913" y="2417763"/>
          <p14:tracePt t="46365" x="11115675" y="2414588"/>
          <p14:tracePt t="46366" x="11123613" y="2414588"/>
          <p14:tracePt t="46367" x="11131550" y="2409825"/>
          <p14:tracePt t="46368" x="11134725" y="2406650"/>
          <p14:tracePt t="46369" x="11142663" y="2406650"/>
          <p14:tracePt t="46370" x="11147425" y="2401888"/>
          <p14:tracePt t="46371" x="11155363" y="2398713"/>
          <p14:tracePt t="46372" x="11158538" y="2398713"/>
          <p14:tracePt t="46373" x="11166475" y="2398713"/>
          <p14:tracePt t="46374" x="11171238" y="2393950"/>
          <p14:tracePt t="46375" x="11179175" y="2390775"/>
          <p14:tracePt t="46376" x="11179175" y="2386013"/>
          <p14:tracePt t="46377" x="11182350" y="2386013"/>
          <p14:tracePt t="46378" x="11187113" y="2382838"/>
          <p14:tracePt t="46380" x="11190288" y="2382838"/>
          <p14:tracePt t="46381" x="11199813" y="2373313"/>
          <p14:tracePt t="46382" x="11207750" y="2370138"/>
          <p14:tracePt t="46384" x="11210925" y="2365375"/>
          <p14:tracePt t="46385" x="11215688" y="2362200"/>
          <p14:tracePt t="46386" x="11218863" y="2362200"/>
          <p14:tracePt t="46387" x="11223625" y="2357438"/>
          <p14:tracePt t="46388" x="11226800" y="2354263"/>
          <p14:tracePt t="46389" x="11226800" y="2349500"/>
          <p14:tracePt t="46390" x="11231563" y="2349500"/>
          <p14:tracePt t="46392" x="11234738" y="2346325"/>
          <p14:tracePt t="46393" x="11239500" y="2346325"/>
          <p14:tracePt t="46394" x="11242675" y="2341563"/>
          <p14:tracePt t="46395" x="11247438" y="2338388"/>
          <p14:tracePt t="46396" x="11250613" y="2333625"/>
          <p14:tracePt t="46398" x="11255375" y="2330450"/>
          <p14:tracePt t="46399" x="11255375" y="2325688"/>
          <p14:tracePt t="46400" x="11258550" y="2325688"/>
          <p14:tracePt t="46401" x="11263313" y="2317750"/>
          <p14:tracePt t="46402" x="11266488" y="2317750"/>
          <p14:tracePt t="46403" x="11271250" y="2314575"/>
          <p14:tracePt t="46404" x="11274425" y="2309813"/>
          <p14:tracePt t="46406" x="11274425" y="2306638"/>
          <p14:tracePt t="46407" x="11274425" y="2301875"/>
          <p14:tracePt t="46408" x="11279188" y="2301875"/>
          <p14:tracePt t="46410" x="11282363" y="2298700"/>
          <p14:tracePt t="46411" x="11287125" y="2293938"/>
          <p14:tracePt t="46412" x="11287125" y="2290763"/>
          <p14:tracePt t="46414" x="11291888" y="2286000"/>
          <p14:tracePt t="46416" x="11295063" y="2281238"/>
          <p14:tracePt t="46417" x="11295063" y="2278063"/>
          <p14:tracePt t="46418" x="11299825" y="2273300"/>
          <p14:tracePt t="46419" x="11299825" y="2270125"/>
          <p14:tracePt t="46420" x="11299825" y="2265363"/>
          <p14:tracePt t="46421" x="11303000" y="2265363"/>
          <p14:tracePt t="46422" x="11303000" y="2262188"/>
          <p14:tracePt t="46424" x="11307763" y="2257425"/>
          <p14:tracePt t="46425" x="11307763" y="2254250"/>
          <p14:tracePt t="46427" x="11310938" y="2246313"/>
          <p14:tracePt t="46430" x="11310938" y="2238375"/>
          <p14:tracePt t="46431" x="11315700" y="2233613"/>
          <p14:tracePt t="46432" x="11315700" y="2230438"/>
          <p14:tracePt t="46433" x="11315700" y="2225675"/>
          <p14:tracePt t="46434" x="11315700" y="2222500"/>
          <p14:tracePt t="46435" x="11318875" y="2217738"/>
          <p14:tracePt t="46436" x="11318875" y="2214563"/>
          <p14:tracePt t="46437" x="11318875" y="2206625"/>
          <p14:tracePt t="46439" x="11318875" y="2201863"/>
          <p14:tracePt t="46440" x="11318875" y="2198688"/>
          <p14:tracePt t="46441" x="11318875" y="2193925"/>
          <p14:tracePt t="46442" x="11318875" y="2189163"/>
          <p14:tracePt t="46443" x="11318875" y="2185988"/>
          <p14:tracePt t="46444" x="11318875" y="2181225"/>
          <p14:tracePt t="46445" x="11318875" y="2178050"/>
          <p14:tracePt t="46448" x="11318875" y="2165350"/>
          <p14:tracePt t="46448" x="11318875" y="2162175"/>
          <p14:tracePt t="46450" x="11323638" y="2157413"/>
          <p14:tracePt t="46451" x="11323638" y="2154238"/>
          <p14:tracePt t="46452" x="11323638" y="2149475"/>
          <p14:tracePt t="46453" x="11323638" y="2141538"/>
          <p14:tracePt t="46454" x="11323638" y="2138363"/>
          <p14:tracePt t="46455" x="11323638" y="2133600"/>
          <p14:tracePt t="46456" x="11323638" y="2130425"/>
          <p14:tracePt t="46457" x="11323638" y="2125663"/>
          <p14:tracePt t="46458" x="11323638" y="2122488"/>
          <p14:tracePt t="46459" x="11323638" y="2117725"/>
          <p14:tracePt t="46460" x="11323638" y="2114550"/>
          <p14:tracePt t="46463" x="11323638" y="2101850"/>
          <p14:tracePt t="46464" x="11323638" y="2097088"/>
          <p14:tracePt t="46465" x="11323638" y="2093913"/>
          <p14:tracePt t="46466" x="11323638" y="2089150"/>
          <p14:tracePt t="46467" x="11323638" y="2085975"/>
          <p14:tracePt t="46468" x="11323638" y="2078038"/>
          <p14:tracePt t="46469" x="11323638" y="2073275"/>
          <p14:tracePt t="46470" x="11323638" y="2070100"/>
          <p14:tracePt t="46471" x="11323638" y="2065338"/>
          <p14:tracePt t="46473" x="11323638" y="2062163"/>
          <p14:tracePt t="46474" x="11323638" y="2057400"/>
          <p14:tracePt t="46475" x="11323638" y="2054225"/>
          <p14:tracePt t="46476" x="11323638" y="2049463"/>
          <p14:tracePt t="46477" x="11323638" y="2046288"/>
          <p14:tracePt t="46478" x="11323638" y="2041525"/>
          <p14:tracePt t="46479" x="11323638" y="2038350"/>
          <p14:tracePt t="46480" x="11323638" y="2033588"/>
          <p14:tracePt t="46481" x="11323638" y="2030413"/>
          <p14:tracePt t="46482" x="11323638" y="2025650"/>
          <p14:tracePt t="46483" x="11318875" y="2025650"/>
          <p14:tracePt t="46484" x="11318875" y="2022475"/>
          <p14:tracePt t="46485" x="11315700" y="2017713"/>
          <p14:tracePt t="46486" x="11315700" y="2014538"/>
          <p14:tracePt t="46487" x="11315700" y="2009775"/>
          <p14:tracePt t="46488" x="11310938" y="2005013"/>
          <p14:tracePt t="46489" x="11310938" y="2001838"/>
          <p14:tracePt t="46490" x="11307763" y="1997075"/>
          <p14:tracePt t="46491" x="11307763" y="1993900"/>
          <p14:tracePt t="46492" x="11303000" y="1989138"/>
          <p14:tracePt t="46493" x="11299825" y="1985963"/>
          <p14:tracePt t="46495" x="11295063" y="1981200"/>
          <p14:tracePt t="46496" x="11295063" y="1978025"/>
          <p14:tracePt t="46497" x="11291888" y="1973263"/>
          <p14:tracePt t="46498" x="11287125" y="1965325"/>
          <p14:tracePt t="46499" x="11282363" y="1962150"/>
          <p14:tracePt t="46500" x="11282363" y="1957388"/>
          <p14:tracePt t="46501" x="11279188" y="1954213"/>
          <p14:tracePt t="46502" x="11279188" y="1949450"/>
          <p14:tracePt t="46503" x="11274425" y="1946275"/>
          <p14:tracePt t="46504" x="11271250" y="1941513"/>
          <p14:tracePt t="46505" x="11271250" y="1938338"/>
          <p14:tracePt t="46506" x="11266488" y="1933575"/>
          <p14:tracePt t="46507" x="11263313" y="1933575"/>
          <p14:tracePt t="46508" x="11258550" y="1930400"/>
          <p14:tracePt t="46510" x="11255375" y="1925638"/>
          <p14:tracePt t="46512" x="11250613" y="1922463"/>
          <p14:tracePt t="46512" x="11250613" y="1917700"/>
          <p14:tracePt t="46513" x="11247438" y="1912938"/>
          <p14:tracePt t="46514" x="11242675" y="1912938"/>
          <p14:tracePt t="46515" x="11242675" y="1909763"/>
          <p14:tracePt t="46516" x="11239500" y="1905000"/>
          <p14:tracePt t="46518" x="11234738" y="1901825"/>
          <p14:tracePt t="46519" x="11234738" y="1897063"/>
          <p14:tracePt t="46522" x="11234738" y="1893888"/>
          <p14:tracePt t="46523" x="11231563" y="1893888"/>
          <p14:tracePt t="46526" x="11226800" y="1893888"/>
          <p14:tracePt t="46528" x="11226800" y="1889125"/>
          <p14:tracePt t="46531" x="11226800" y="1885950"/>
          <p14:tracePt t="46534" x="11223625" y="1881188"/>
          <p14:tracePt t="46537" x="11218863" y="1881188"/>
          <p14:tracePt t="46538" x="11218863" y="1878013"/>
          <p14:tracePt t="46542" x="11215688" y="1878013"/>
          <p14:tracePt t="46543" x="11215688" y="1873250"/>
          <p14:tracePt t="46548" x="11210925" y="1873250"/>
          <p14:tracePt t="46549" x="11210925" y="1870075"/>
          <p14:tracePt t="46553" x="11210925" y="1865313"/>
          <p14:tracePt t="46554" x="11207750" y="1865313"/>
          <p14:tracePt t="46557" x="11207750" y="1862138"/>
          <p14:tracePt t="46560" x="11202988" y="1862138"/>
          <p14:tracePt t="46561" x="11202988" y="1857375"/>
          <p14:tracePt t="46564" x="11199813" y="1857375"/>
          <p14:tracePt t="46565" x="11199813" y="1854200"/>
          <p14:tracePt t="46568" x="11195050" y="1854200"/>
          <p14:tracePt t="46577" x="11195050" y="1849438"/>
          <p14:tracePt t="46578" x="11190288" y="1849438"/>
          <p14:tracePt t="46582" x="11190288" y="1846263"/>
          <p14:tracePt t="46589" x="11187113" y="1846263"/>
          <p14:tracePt t="46639" x="11187113" y="1841500"/>
          <p14:tracePt t="46647" x="11182350" y="1841500"/>
          <p14:tracePt t="46651" x="11182350" y="1838325"/>
          <p14:tracePt t="46655" x="11179175" y="1838325"/>
          <p14:tracePt t="46657" x="11179175" y="1833563"/>
          <p14:tracePt t="46660" x="11179175" y="1830388"/>
          <p14:tracePt t="46662" x="11174413" y="1825625"/>
          <p14:tracePt t="46664" x="11171238" y="1825625"/>
          <p14:tracePt t="46665" x="11171238" y="1820863"/>
          <p14:tracePt t="46669" x="11166475" y="1820863"/>
          <p14:tracePt t="46670" x="11166475" y="1817688"/>
          <p14:tracePt t="46676" x="11163300" y="1817688"/>
          <p14:tracePt t="46700" x="11158538" y="1817688"/>
          <p14:tracePt t="46712" x="11155363" y="1817688"/>
          <p14:tracePt t="46731" x="11150600" y="1817688"/>
          <p14:tracePt t="46734" x="11150600" y="1820863"/>
          <p14:tracePt t="46735" x="11147425" y="1820863"/>
          <p14:tracePt t="46742" x="11147425" y="1825625"/>
          <p14:tracePt t="46803" x="11147425" y="1830388"/>
          <p14:tracePt t="46842" x="11147425" y="1833563"/>
          <p14:tracePt t="47495" x="11147425" y="1838325"/>
          <p14:tracePt t="47497" x="11142663" y="1838325"/>
          <p14:tracePt t="47499" x="11139488" y="1838325"/>
          <p14:tracePt t="47501" x="11131550" y="1841500"/>
          <p14:tracePt t="47503" x="11126788" y="1846263"/>
          <p14:tracePt t="47505" x="11110913" y="1849438"/>
          <p14:tracePt t="47507" x="11106150" y="1854200"/>
          <p14:tracePt t="47508" x="11095038" y="1854200"/>
          <p14:tracePt t="47511" x="11090275" y="1862138"/>
          <p14:tracePt t="47513" x="11082338" y="1870075"/>
          <p14:tracePt t="47516" x="11071225" y="1878013"/>
          <p14:tracePt t="47519" x="11066463" y="1881188"/>
          <p14:tracePt t="47520" x="11063288" y="1885950"/>
          <p14:tracePt t="47521" x="11058525" y="1889125"/>
          <p14:tracePt t="47523" x="11055350" y="1893888"/>
          <p14:tracePt t="47526" x="11047413" y="1905000"/>
          <p14:tracePt t="47527" x="11047413" y="1909763"/>
          <p14:tracePt t="47530" x="11034713" y="1922463"/>
          <p14:tracePt t="47531" x="11031538" y="1925638"/>
          <p14:tracePt t="47536" x="11006138" y="1957388"/>
          <p14:tracePt t="47537" x="10998200" y="1965325"/>
          <p14:tracePt t="47538" x="10990263" y="1978025"/>
          <p14:tracePt t="47539" x="10990263" y="1981200"/>
          <p14:tracePt t="47540" x="10987088" y="1989138"/>
          <p14:tracePt t="47541" x="10979150" y="1997075"/>
          <p14:tracePt t="47542" x="10974388" y="2009775"/>
          <p14:tracePt t="47543" x="10966450" y="2017713"/>
          <p14:tracePt t="47544" x="10963275" y="2030413"/>
          <p14:tracePt t="47546" x="10958513" y="2038350"/>
          <p14:tracePt t="47546" x="10947400" y="2049463"/>
          <p14:tracePt t="47547" x="10942638" y="2062163"/>
          <p14:tracePt t="47549" x="10931525" y="2081213"/>
          <p14:tracePt t="47550" x="10926763" y="2093913"/>
          <p14:tracePt t="47551" x="10922000" y="2101850"/>
          <p14:tracePt t="47552" x="10910888" y="2114550"/>
          <p14:tracePt t="47553" x="10902950" y="2125663"/>
          <p14:tracePt t="47554" x="10898188" y="2138363"/>
          <p14:tracePt t="47555" x="10890250" y="2146300"/>
          <p14:tracePt t="47556" x="10879138" y="2170113"/>
          <p14:tracePt t="47557" x="10874375" y="2178050"/>
          <p14:tracePt t="47558" x="10863263" y="2189163"/>
          <p14:tracePt t="47559" x="10855325" y="2201863"/>
          <p14:tracePt t="47560" x="10850563" y="2214563"/>
          <p14:tracePt t="47562" x="10842625" y="2230438"/>
          <p14:tracePt t="47562" x="10829925" y="2241550"/>
          <p14:tracePt t="47563" x="10821988" y="2257425"/>
          <p14:tracePt t="47566" x="10798175" y="2301875"/>
          <p14:tracePt t="47567" x="10790238" y="2309813"/>
          <p14:tracePt t="47568" x="10779125" y="2325688"/>
          <p14:tracePt t="47569" x="10771188" y="2333625"/>
          <p14:tracePt t="47570" x="10763250" y="2349500"/>
          <p14:tracePt t="47571" x="10755313" y="2362200"/>
          <p14:tracePt t="47572" x="10742613" y="2378075"/>
          <p14:tracePt t="47573" x="10729913" y="2390775"/>
          <p14:tracePt t="47574" x="10721975" y="2401888"/>
          <p14:tracePt t="47575" x="10714038" y="2414588"/>
          <p14:tracePt t="47576" x="10702925" y="2430463"/>
          <p14:tracePt t="47577" x="10694988" y="2441575"/>
          <p14:tracePt t="47578" x="10682288" y="2457450"/>
          <p14:tracePt t="47579" x="10674350" y="2465388"/>
          <p14:tracePt t="47581" x="10666413" y="2482850"/>
          <p14:tracePt t="47582" x="10642600" y="2509838"/>
          <p14:tracePt t="47583" x="10629900" y="2522538"/>
          <p14:tracePt t="47584" x="10621963" y="2533650"/>
          <p14:tracePt t="47585" x="10614025" y="2541588"/>
          <p14:tracePt t="47586" x="10602913" y="2557463"/>
          <p14:tracePt t="47587" x="10590213" y="2574925"/>
          <p14:tracePt t="47588" x="10579100" y="2582863"/>
          <p14:tracePt t="47589" x="10571163" y="2598738"/>
          <p14:tracePt t="47590" x="10561638" y="2606675"/>
          <p14:tracePt t="47591" x="10550525" y="2614613"/>
          <p14:tracePt t="47592" x="10537825" y="2630488"/>
          <p14:tracePt t="47593" x="10534650" y="2638425"/>
          <p14:tracePt t="47594" x="10521950" y="2654300"/>
          <p14:tracePt t="47595" x="10514013" y="2662238"/>
          <p14:tracePt t="47596" x="10506075" y="2670175"/>
          <p14:tracePt t="47597" x="10490200" y="2682875"/>
          <p14:tracePt t="47599" x="10469563" y="2698750"/>
          <p14:tracePt t="47600" x="10461625" y="2706688"/>
          <p14:tracePt t="47601" x="10453688" y="2714625"/>
          <p14:tracePt t="47602" x="10445750" y="2725738"/>
          <p14:tracePt t="47603" x="10434638" y="2730500"/>
          <p14:tracePt t="47604" x="10429875" y="2738438"/>
          <p14:tracePt t="47605" x="10421938" y="2751138"/>
          <p14:tracePt t="47606" x="10414000" y="2754313"/>
          <p14:tracePt t="47607" x="10406063" y="2762250"/>
          <p14:tracePt t="47608" x="10394950" y="2767013"/>
          <p14:tracePt t="47609" x="10390188" y="2774950"/>
          <p14:tracePt t="47610" x="10382250" y="2778125"/>
          <p14:tracePt t="47611" x="10377488" y="2782888"/>
          <p14:tracePt t="47612" x="10369550" y="2790825"/>
          <p14:tracePt t="47613" x="10361613" y="2794000"/>
          <p14:tracePt t="47615" x="10358438" y="2798763"/>
          <p14:tracePt t="47616" x="10345738" y="2806700"/>
          <p14:tracePt t="47617" x="10342563" y="2809875"/>
          <p14:tracePt t="47618" x="10337800" y="2814638"/>
          <p14:tracePt t="47619" x="10329863" y="2817813"/>
          <p14:tracePt t="47620" x="10326688" y="2822575"/>
          <p14:tracePt t="47621" x="10321925" y="2822575"/>
          <p14:tracePt t="47622" x="10313988" y="2825750"/>
          <p14:tracePt t="47623" x="10313988" y="2830513"/>
          <p14:tracePt t="47624" x="10310813" y="2830513"/>
          <p14:tracePt t="47625" x="10306050" y="2833688"/>
          <p14:tracePt t="47626" x="10302875" y="2838450"/>
          <p14:tracePt t="47628" x="10293350" y="2843213"/>
          <p14:tracePt t="47630" x="10290175" y="2843213"/>
          <p14:tracePt t="47632" x="10282238" y="2846388"/>
          <p14:tracePt t="47633" x="10277475" y="2846388"/>
          <p14:tracePt t="47634" x="10277475" y="2851150"/>
          <p14:tracePt t="47635" x="10274300" y="2851150"/>
          <p14:tracePt t="47637" x="10269538" y="2851150"/>
          <p14:tracePt t="47640" x="10266363" y="2851150"/>
          <p14:tracePt t="47645" x="10261600" y="2851150"/>
          <p14:tracePt t="47646" x="10261600" y="2854325"/>
          <p14:tracePt t="47647" x="10258425" y="2854325"/>
          <p14:tracePt t="47651" x="10253663" y="2854325"/>
          <p14:tracePt t="47653" x="10250488" y="2854325"/>
          <p14:tracePt t="47654" x="10250488" y="2859088"/>
          <p14:tracePt t="47655" x="10245725" y="2859088"/>
          <p14:tracePt t="47657" x="10242550" y="2859088"/>
          <p14:tracePt t="47658" x="10237788" y="2859088"/>
          <p14:tracePt t="47660" x="10234613" y="2859088"/>
          <p14:tracePt t="47662" x="10229850" y="2859088"/>
          <p14:tracePt t="47663" x="10229850" y="2862263"/>
          <p14:tracePt t="47664" x="10226675" y="2862263"/>
          <p14:tracePt t="47668" x="10221913" y="2862263"/>
          <p14:tracePt t="47669" x="10218738" y="2862263"/>
          <p14:tracePt t="47671" x="10213975" y="2862263"/>
          <p14:tracePt t="47673" x="10210800" y="2862263"/>
          <p14:tracePt t="47675" x="10206038" y="2862263"/>
          <p14:tracePt t="47677" x="10201275" y="2862263"/>
          <p14:tracePt t="47678" x="10198100" y="2862263"/>
          <p14:tracePt t="47679" x="10193338" y="2862263"/>
          <p14:tracePt t="47681" x="10190163" y="2862263"/>
          <p14:tracePt t="47682" x="10185400" y="2862263"/>
          <p14:tracePt t="47685" x="10182225" y="2862263"/>
          <p14:tracePt t="47686" x="10177463" y="2862263"/>
          <p14:tracePt t="47688" x="10174288" y="2862263"/>
          <p14:tracePt t="47689" x="10169525" y="2862263"/>
          <p14:tracePt t="47690" x="10166350" y="2862263"/>
          <p14:tracePt t="47691" x="10161588" y="2862263"/>
          <p14:tracePt t="47692" x="10158413" y="2862263"/>
          <p14:tracePt t="47693" x="10153650" y="2862263"/>
          <p14:tracePt t="47695" x="10150475" y="2862263"/>
          <p14:tracePt t="47696" x="10145713" y="2862263"/>
          <p14:tracePt t="47698" x="10142538" y="2862263"/>
          <p14:tracePt t="47699" x="10137775" y="2862263"/>
          <p14:tracePt t="47700" x="10134600" y="2862263"/>
          <p14:tracePt t="47701" x="10129838" y="2862263"/>
          <p14:tracePt t="47702" x="10126663" y="2862263"/>
          <p14:tracePt t="47704" x="10121900" y="2862263"/>
          <p14:tracePt t="47705" x="10118725" y="2862263"/>
          <p14:tracePt t="47706" x="10113963" y="2862263"/>
          <p14:tracePt t="47707" x="10109200" y="2862263"/>
          <p14:tracePt t="47709" x="10106025" y="2862263"/>
          <p14:tracePt t="47710" x="10101263" y="2862263"/>
          <p14:tracePt t="47714" x="10098088" y="2862263"/>
          <p14:tracePt t="47715" x="10093325" y="2862263"/>
          <p14:tracePt t="47717" x="10090150" y="2862263"/>
          <p14:tracePt t="47718" x="10085388" y="2862263"/>
          <p14:tracePt t="47719" x="10082213" y="2862263"/>
          <p14:tracePt t="47721" x="10077450" y="2862263"/>
          <p14:tracePt t="47723" x="10074275" y="2862263"/>
          <p14:tracePt t="47725" x="10069513" y="2862263"/>
          <p14:tracePt t="47727" x="10066338" y="2862263"/>
          <p14:tracePt t="47728" x="10061575" y="2862263"/>
          <p14:tracePt t="47732" x="10058400" y="2862263"/>
          <p14:tracePt t="47733" x="10053638" y="2862263"/>
          <p14:tracePt t="47735" x="10050463" y="2862263"/>
          <p14:tracePt t="47736" x="10045700" y="2862263"/>
          <p14:tracePt t="47738" x="10042525" y="2862263"/>
          <p14:tracePt t="47739" x="10042525" y="2859088"/>
          <p14:tracePt t="47740" x="10037763" y="2859088"/>
          <p14:tracePt t="47742" x="10034588" y="2859088"/>
          <p14:tracePt t="47744" x="10029825" y="2859088"/>
          <p14:tracePt t="47746" x="10026650" y="2854325"/>
          <p14:tracePt t="47747" x="10021888" y="2854325"/>
          <p14:tracePt t="47750" x="10017125" y="2854325"/>
          <p14:tracePt t="47752" x="10013950" y="2854325"/>
          <p14:tracePt t="47753" x="10009188" y="2854325"/>
          <p14:tracePt t="47755" x="10006013" y="2854325"/>
          <p14:tracePt t="47757" x="10001250" y="2854325"/>
          <p14:tracePt t="47759" x="9998075" y="2854325"/>
          <p14:tracePt t="47762" x="9993313" y="2854325"/>
          <p14:tracePt t="47763" x="9990138" y="2851150"/>
          <p14:tracePt t="47766" x="9985375" y="2851150"/>
          <p14:tracePt t="47768" x="9982200" y="2851150"/>
          <p14:tracePt t="47772" x="9977438" y="2851150"/>
          <p14:tracePt t="47775" x="9974263" y="2851150"/>
          <p14:tracePt t="47777" x="9974263" y="2846388"/>
          <p14:tracePt t="47778" x="9969500" y="2846388"/>
          <p14:tracePt t="47782" x="9966325" y="2846388"/>
          <p14:tracePt t="47870" x="9969500" y="2846388"/>
          <p14:tracePt t="49675" x="9969500" y="2851150"/>
          <p14:tracePt t="49690" x="9969500" y="2854325"/>
          <p14:tracePt t="49693" x="9974263" y="2854325"/>
          <p14:tracePt t="49694" x="9974263" y="2859088"/>
          <p14:tracePt t="49696" x="9977438" y="2862263"/>
          <p14:tracePt t="49698" x="9977438" y="2867025"/>
          <p14:tracePt t="49700" x="9977438" y="2870200"/>
          <p14:tracePt t="49702" x="9977438" y="2874963"/>
          <p14:tracePt t="49703" x="9982200" y="2874963"/>
          <p14:tracePt t="49704" x="9982200" y="2878138"/>
          <p14:tracePt t="49706" x="9982200" y="2882900"/>
          <p14:tracePt t="49707" x="9985375" y="2886075"/>
          <p14:tracePt t="49709" x="9985375" y="2890838"/>
          <p14:tracePt t="49712" x="9990138" y="2890838"/>
          <p14:tracePt t="49714" x="9990138" y="2894013"/>
          <p14:tracePt t="49715" x="9990138" y="2898775"/>
          <p14:tracePt t="49716" x="9990138" y="2901950"/>
          <p14:tracePt t="49718" x="9990138" y="2906713"/>
          <p14:tracePt t="49720" x="9993313" y="2909888"/>
          <p14:tracePt t="49722" x="9993313" y="2914650"/>
          <p14:tracePt t="49723" x="9998075" y="2914650"/>
          <p14:tracePt t="49724" x="9998075" y="2917825"/>
          <p14:tracePt t="49726" x="9998075" y="2922588"/>
          <p14:tracePt t="49729" x="9998075" y="2927350"/>
          <p14:tracePt t="49731" x="9998075" y="2930525"/>
          <p14:tracePt t="49734" x="9998075" y="2935288"/>
          <p14:tracePt t="49736" x="10001250" y="2935288"/>
          <p14:tracePt t="49736" x="10001250" y="2938463"/>
          <p14:tracePt t="49737" x="10001250" y="2943225"/>
          <p14:tracePt t="49739" x="10001250" y="2946400"/>
          <p14:tracePt t="49741" x="10001250" y="2951163"/>
          <p14:tracePt t="49743" x="10001250" y="2954338"/>
          <p14:tracePt t="49745" x="10001250" y="2959100"/>
          <p14:tracePt t="49746" x="10001250" y="2962275"/>
          <p14:tracePt t="49748" x="10006013" y="2967038"/>
          <p14:tracePt t="49750" x="10006013" y="2970213"/>
          <p14:tracePt t="49752" x="10006013" y="2974975"/>
          <p14:tracePt t="49755" x="10006013" y="2978150"/>
          <p14:tracePt t="49756" x="10006013" y="2982913"/>
          <p14:tracePt t="49758" x="10006013" y="2986088"/>
          <p14:tracePt t="49760" x="10009188" y="2990850"/>
          <p14:tracePt t="49762" x="10009188" y="2994025"/>
          <p14:tracePt t="49763" x="10009188" y="2998788"/>
          <p14:tracePt t="49765" x="10009188" y="3001963"/>
          <p14:tracePt t="49766" x="10009188" y="3006725"/>
          <p14:tracePt t="49767" x="10013950" y="3009900"/>
          <p14:tracePt t="49769" x="10013950" y="3014663"/>
          <p14:tracePt t="49772" x="10013950" y="3019425"/>
          <p14:tracePt t="49773" x="10013950" y="3022600"/>
          <p14:tracePt t="49774" x="10013950" y="3027363"/>
          <p14:tracePt t="49776" x="10013950" y="3030538"/>
          <p14:tracePt t="49777" x="10013950" y="3035300"/>
          <p14:tracePt t="49779" x="10013950" y="3038475"/>
          <p14:tracePt t="49780" x="10013950" y="3043238"/>
          <p14:tracePt t="49781" x="10013950" y="3046413"/>
          <p14:tracePt t="49783" x="10013950" y="3051175"/>
          <p14:tracePt t="49784" x="10013950" y="3054350"/>
          <p14:tracePt t="49788" x="10013950" y="3059113"/>
          <p14:tracePt t="49789" x="10013950" y="3062288"/>
          <p14:tracePt t="49791" x="10013950" y="3067050"/>
          <p14:tracePt t="49795" x="10013950" y="3070225"/>
          <p14:tracePt t="49798" x="10013950" y="3074988"/>
          <p14:tracePt t="49801" x="10013950" y="3078163"/>
          <p14:tracePt t="49908" x="10013950" y="3082925"/>
          <p14:tracePt t="49999" x="10009188" y="3082925"/>
          <p14:tracePt t="50002" x="10006013" y="3082925"/>
          <p14:tracePt t="50005" x="10001250" y="3078163"/>
          <p14:tracePt t="50007" x="9998075" y="3078163"/>
          <p14:tracePt t="50009" x="9993313" y="3078163"/>
          <p14:tracePt t="50011" x="9990138" y="3074988"/>
          <p14:tracePt t="50013" x="9985375" y="3074988"/>
          <p14:tracePt t="50014" x="9982200" y="3074988"/>
          <p14:tracePt t="50017" x="9982200" y="3070225"/>
          <p14:tracePt t="50019" x="9977438" y="3070225"/>
          <p14:tracePt t="50021" x="9974263" y="3067050"/>
          <p14:tracePt t="50023" x="9969500" y="3067050"/>
          <p14:tracePt t="50025" x="9966325" y="3067050"/>
          <p14:tracePt t="50027" x="9961563" y="3067050"/>
          <p14:tracePt t="50028" x="9958388" y="3067050"/>
          <p14:tracePt t="50029" x="9958388" y="3062288"/>
          <p14:tracePt t="50030" x="9953625" y="3062288"/>
          <p14:tracePt t="50032" x="9950450" y="3062288"/>
          <p14:tracePt t="50033" x="9945688" y="3059113"/>
          <p14:tracePt t="50035" x="9942513" y="3059113"/>
          <p14:tracePt t="50037" x="9937750" y="3059113"/>
          <p14:tracePt t="50039" x="9932988" y="3059113"/>
          <p14:tracePt t="50040" x="9929813" y="3059113"/>
          <p14:tracePt t="50041" x="9925050" y="3054350"/>
          <p14:tracePt t="50043" x="9921875" y="3054350"/>
          <p14:tracePt t="50044" x="9917113" y="3054350"/>
          <p14:tracePt t="50045" x="9913938" y="3051175"/>
          <p14:tracePt t="50047" x="9909175" y="3051175"/>
          <p14:tracePt t="50047" x="9906000" y="3051175"/>
          <p14:tracePt t="50048" x="9901238" y="3051175"/>
          <p14:tracePt t="50049" x="9901238" y="3046413"/>
          <p14:tracePt t="50050" x="9893300" y="3046413"/>
          <p14:tracePt t="50051" x="9890125" y="3043238"/>
          <p14:tracePt t="50052" x="9885363" y="3043238"/>
          <p14:tracePt t="50053" x="9882188" y="3043238"/>
          <p14:tracePt t="50054" x="9874250" y="3043238"/>
          <p14:tracePt t="50055" x="9869488" y="3043238"/>
          <p14:tracePt t="50056" x="9861550" y="3038475"/>
          <p14:tracePt t="50057" x="9858375" y="3038475"/>
          <p14:tracePt t="50058" x="9853613" y="3035300"/>
          <p14:tracePt t="50059" x="9845675" y="3035300"/>
          <p14:tracePt t="50060" x="9840913" y="3035300"/>
          <p14:tracePt t="50061" x="9832975" y="3030538"/>
          <p14:tracePt t="50062" x="9829800" y="3030538"/>
          <p14:tracePt t="50064" x="9821863" y="3027363"/>
          <p14:tracePt t="50065" x="9813925" y="3027363"/>
          <p14:tracePt t="50066" x="9809163" y="3027363"/>
          <p14:tracePt t="50067" x="9801225" y="3022600"/>
          <p14:tracePt t="50068" x="9798050" y="3022600"/>
          <p14:tracePt t="50069" x="9793288" y="3022600"/>
          <p14:tracePt t="50070" x="9785350" y="3019425"/>
          <p14:tracePt t="50071" x="9777413" y="3019425"/>
          <p14:tracePt t="50072" x="9774238" y="3019425"/>
          <p14:tracePt t="50073" x="9766300" y="3014663"/>
          <p14:tracePt t="50074" x="9758363" y="3014663"/>
          <p14:tracePt t="50075" x="9753600" y="3009900"/>
          <p14:tracePt t="50076" x="9745663" y="3009900"/>
          <p14:tracePt t="50077" x="9737725" y="3009900"/>
          <p14:tracePt t="50078" x="9732963" y="3006725"/>
          <p14:tracePt t="50080" x="9725025" y="3006725"/>
          <p14:tracePt t="50081" x="9713913" y="3001963"/>
          <p14:tracePt t="50082" x="9705975" y="3001963"/>
          <p14:tracePt t="50083" x="9701213" y="3001963"/>
          <p14:tracePt t="50084" x="9698038" y="2998788"/>
          <p14:tracePt t="50085" x="9690100" y="2998788"/>
          <p14:tracePt t="50086" x="9682163" y="2994025"/>
          <p14:tracePt t="50087" x="9677400" y="2994025"/>
          <p14:tracePt t="50088" x="9669463" y="2990850"/>
          <p14:tracePt t="50089" x="9666288" y="2990850"/>
          <p14:tracePt t="50090" x="9656763" y="2990850"/>
          <p14:tracePt t="50091" x="9648825" y="2986088"/>
          <p14:tracePt t="50092" x="9645650" y="2986088"/>
          <p14:tracePt t="50093" x="9637713" y="2986088"/>
          <p14:tracePt t="50094" x="9629775" y="2982913"/>
          <p14:tracePt t="50095" x="9625013" y="2982913"/>
          <p14:tracePt t="50096" x="9617075" y="2982913"/>
          <p14:tracePt t="50097" x="9613900" y="2978150"/>
          <p14:tracePt t="50098" x="9609138" y="2978150"/>
          <p14:tracePt t="50099" x="9605963" y="2974975"/>
          <p14:tracePt t="50100" x="9598025" y="2974975"/>
          <p14:tracePt t="50101" x="9590088" y="2970213"/>
          <p14:tracePt t="50102" x="9577388" y="2970213"/>
          <p14:tracePt t="50103" x="9569450" y="2970213"/>
          <p14:tracePt t="50104" x="9561513" y="2970213"/>
          <p14:tracePt t="50105" x="9556750" y="2967038"/>
          <p14:tracePt t="50106" x="9553575" y="2967038"/>
          <p14:tracePt t="50107" x="9540875" y="2962275"/>
          <p14:tracePt t="50108" x="9532938" y="2962275"/>
          <p14:tracePt t="50109" x="9529763" y="2959100"/>
          <p14:tracePt t="50110" x="9521825" y="2959100"/>
          <p14:tracePt t="50111" x="9513888" y="2954338"/>
          <p14:tracePt t="50112" x="9509125" y="2954338"/>
          <p14:tracePt t="50114" x="9493250" y="2951163"/>
          <p14:tracePt t="50115" x="9485313" y="2951163"/>
          <p14:tracePt t="50116" x="9477375" y="2946400"/>
          <p14:tracePt t="50117" x="9469438" y="2946400"/>
          <p14:tracePt t="50119" x="9456738" y="2943225"/>
          <p14:tracePt t="50120" x="9453563" y="2938463"/>
          <p14:tracePt t="50121" x="9445625" y="2938463"/>
          <p14:tracePt t="50122" x="9437688" y="2935288"/>
          <p14:tracePt t="50123" x="9429750" y="2935288"/>
          <p14:tracePt t="50124" x="9424988" y="2930525"/>
          <p14:tracePt t="50125" x="9417050" y="2930525"/>
          <p14:tracePt t="50126" x="9409113" y="2927350"/>
          <p14:tracePt t="50127" x="9401175" y="2927350"/>
          <p14:tracePt t="50128" x="9393238" y="2922588"/>
          <p14:tracePt t="50129" x="9385300" y="2922588"/>
          <p14:tracePt t="50130" x="9377363" y="2917825"/>
          <p14:tracePt t="50131" x="9372600" y="2917825"/>
          <p14:tracePt t="50132" x="9356725" y="2914650"/>
          <p14:tracePt t="50133" x="9348788" y="2914650"/>
          <p14:tracePt t="50134" x="9340850" y="2909888"/>
          <p14:tracePt t="50136" x="9329738" y="2906713"/>
          <p14:tracePt t="50137" x="9317038" y="2901950"/>
          <p14:tracePt t="50138" x="9309100" y="2901950"/>
          <p14:tracePt t="50139" x="9301163" y="2898775"/>
          <p14:tracePt t="50140" x="9293225" y="2898775"/>
          <p14:tracePt t="50141" x="9285288" y="2890838"/>
          <p14:tracePt t="50142" x="9277350" y="2890838"/>
          <p14:tracePt t="50143" x="9264650" y="2886075"/>
          <p14:tracePt t="50144" x="9256713" y="2886075"/>
          <p14:tracePt t="50145" x="9248775" y="2882900"/>
          <p14:tracePt t="50147" x="9240838" y="2882900"/>
          <p14:tracePt t="50147" x="9229725" y="2878138"/>
          <p14:tracePt t="50148" x="9217025" y="2874963"/>
          <p14:tracePt t="50149" x="9209088" y="2874963"/>
          <p14:tracePt t="50151" x="9188450" y="2870200"/>
          <p14:tracePt t="50152" x="9172575" y="2867025"/>
          <p14:tracePt t="50153" x="9164638" y="2867025"/>
          <p14:tracePt t="50154" x="9156700" y="2862263"/>
          <p14:tracePt t="50155" x="9148763" y="2859088"/>
          <p14:tracePt t="50156" x="9140825" y="2859088"/>
          <p14:tracePt t="50157" x="9124950" y="2851150"/>
          <p14:tracePt t="50158" x="9117013" y="2851150"/>
          <p14:tracePt t="50159" x="9104313" y="2846388"/>
          <p14:tracePt t="50160" x="9096375" y="2843213"/>
          <p14:tracePt t="50161" x="9088438" y="2843213"/>
          <p14:tracePt t="50162" x="9072563" y="2838450"/>
          <p14:tracePt t="50163" x="9064625" y="2838450"/>
          <p14:tracePt t="50164" x="9048750" y="2833688"/>
          <p14:tracePt t="50165" x="9040813" y="2833688"/>
          <p14:tracePt t="50167" x="9012238" y="2830513"/>
          <p14:tracePt t="50168" x="9004300" y="2825750"/>
          <p14:tracePt t="50169" x="8996363" y="2825750"/>
          <p14:tracePt t="50170" x="8985250" y="2817813"/>
          <p14:tracePt t="50171" x="8977313" y="2817813"/>
          <p14:tracePt t="50172" x="8961438" y="2814638"/>
          <p14:tracePt t="50173" x="8948738" y="2814638"/>
          <p14:tracePt t="50174" x="8940800" y="2809875"/>
          <p14:tracePt t="50175" x="8928100" y="2809875"/>
          <p14:tracePt t="50176" x="8920163" y="2806700"/>
          <p14:tracePt t="50177" x="8909050" y="2806700"/>
          <p14:tracePt t="50179" x="8893175" y="2801938"/>
          <p14:tracePt t="50179" x="8885238" y="2801938"/>
          <p14:tracePt t="50181" x="8872538" y="2798763"/>
          <p14:tracePt t="50182" x="8848725" y="2794000"/>
          <p14:tracePt t="50183" x="8840788" y="2794000"/>
          <p14:tracePt t="50184" x="8832850" y="2786063"/>
          <p14:tracePt t="50185" x="8820150" y="2786063"/>
          <p14:tracePt t="50186" x="8812213" y="2786063"/>
          <p14:tracePt t="50187" x="8801100" y="2782888"/>
          <p14:tracePt t="50188" x="8788400" y="2782888"/>
          <p14:tracePt t="50189" x="8772525" y="2778125"/>
          <p14:tracePt t="50190" x="8764588" y="2778125"/>
          <p14:tracePt t="50191" x="8756650" y="2778125"/>
          <p14:tracePt t="50192" x="8743950" y="2774950"/>
          <p14:tracePt t="50193" x="8736013" y="2774950"/>
          <p14:tracePt t="50194" x="8720138" y="2770188"/>
          <p14:tracePt t="50195" x="8712200" y="2770188"/>
          <p14:tracePt t="50196" x="8704263" y="2767013"/>
          <p14:tracePt t="50199" x="8667750" y="2762250"/>
          <p14:tracePt t="50200" x="8659813" y="2762250"/>
          <p14:tracePt t="50201" x="8651875" y="2762250"/>
          <p14:tracePt t="50202" x="8636000" y="2759075"/>
          <p14:tracePt t="50203" x="8628063" y="2759075"/>
          <p14:tracePt t="50204" x="8620125" y="2759075"/>
          <p14:tracePt t="50205" x="8612188" y="2759075"/>
          <p14:tracePt t="50206" x="8601075" y="2759075"/>
          <p14:tracePt t="50207" x="8593138" y="2751138"/>
          <p14:tracePt t="50208" x="8575675" y="2751138"/>
          <p14:tracePt t="50209" x="8567738" y="2751138"/>
          <p14:tracePt t="50210" x="8559800" y="2746375"/>
          <p14:tracePt t="50212" x="8543925" y="2746375"/>
          <p14:tracePt t="50213" x="8528050" y="2746375"/>
          <p14:tracePt t="50215" x="8512175" y="2741613"/>
          <p14:tracePt t="50216" x="8504238" y="2741613"/>
          <p14:tracePt t="50217" x="8496300" y="2741613"/>
          <p14:tracePt t="50218" x="8483600" y="2741613"/>
          <p14:tracePt t="50219" x="8475663" y="2741613"/>
          <p14:tracePt t="50220" x="8464550" y="2738438"/>
          <p14:tracePt t="50221" x="8456613" y="2738438"/>
          <p14:tracePt t="50222" x="8448675" y="2738438"/>
          <p14:tracePt t="50223" x="8435975" y="2738438"/>
          <p14:tracePt t="50224" x="8428038" y="2738438"/>
          <p14:tracePt t="50225" x="8420100" y="2733675"/>
          <p14:tracePt t="50226" x="8412163" y="2733675"/>
          <p14:tracePt t="50227" x="8404225" y="2733675"/>
          <p14:tracePt t="50229" x="8396288" y="2733675"/>
          <p14:tracePt t="50230" x="8380413" y="2733675"/>
          <p14:tracePt t="50231" x="8367713" y="2733675"/>
          <p14:tracePt t="50232" x="8359775" y="2733675"/>
          <p14:tracePt t="50233" x="8351838" y="2733675"/>
          <p14:tracePt t="50234" x="8340725" y="2733675"/>
          <p14:tracePt t="50235" x="8332788" y="2733675"/>
          <p14:tracePt t="50236" x="8324850" y="2733675"/>
          <p14:tracePt t="50237" x="8316913" y="2730500"/>
          <p14:tracePt t="50238" x="8299450" y="2730500"/>
          <p14:tracePt t="50239" x="8296275" y="2730500"/>
          <p14:tracePt t="50240" x="8288338" y="2730500"/>
          <p14:tracePt t="50241" x="8280400" y="2730500"/>
          <p14:tracePt t="50242" x="8272463" y="2730500"/>
          <p14:tracePt t="50243" x="8264525" y="2730500"/>
          <p14:tracePt t="50244" x="8256588" y="2730500"/>
          <p14:tracePt t="50245" x="8248650" y="2730500"/>
          <p14:tracePt t="50247" x="8240713" y="2730500"/>
          <p14:tracePt t="50247" x="8232775" y="2725738"/>
          <p14:tracePt t="50248" x="8220075" y="2725738"/>
          <p14:tracePt t="50249" x="8207375" y="2725738"/>
          <p14:tracePt t="50250" x="8199438" y="2725738"/>
          <p14:tracePt t="50251" x="8191500" y="2725738"/>
          <p14:tracePt t="50252" x="8183563" y="2725738"/>
          <p14:tracePt t="50253" x="8175625" y="2725738"/>
          <p14:tracePt t="50254" x="8164513" y="2725738"/>
          <p14:tracePt t="50255" x="8148638" y="2725738"/>
          <p14:tracePt t="50256" x="8140700" y="2725738"/>
          <p14:tracePt t="50257" x="8132763" y="2722563"/>
          <p14:tracePt t="50258" x="8112125" y="2722563"/>
          <p14:tracePt t="50259" x="8104188" y="2722563"/>
          <p14:tracePt t="50260" x="8096250" y="2722563"/>
          <p14:tracePt t="50261" x="8083550" y="2722563"/>
          <p14:tracePt t="50262" x="8075613" y="2722563"/>
          <p14:tracePt t="50263" x="8056563" y="2722563"/>
          <p14:tracePt t="50264" x="8048625" y="2722563"/>
          <p14:tracePt t="50265" x="8035925" y="2722563"/>
          <p14:tracePt t="50266" x="8027988" y="2722563"/>
          <p14:tracePt t="50267" x="8012113" y="2722563"/>
          <p14:tracePt t="50268" x="7999413" y="2722563"/>
          <p14:tracePt t="50269" x="7983538" y="2722563"/>
          <p14:tracePt t="50270" x="7975600" y="2722563"/>
          <p14:tracePt t="50271" x="7964488" y="2722563"/>
          <p14:tracePt t="50272" x="7948613" y="2722563"/>
          <p14:tracePt t="50273" x="7935913" y="2722563"/>
          <p14:tracePt t="50274" x="7923213" y="2722563"/>
          <p14:tracePt t="50275" x="7907338" y="2722563"/>
          <p14:tracePt t="50276" x="7896225" y="2722563"/>
          <p14:tracePt t="50277" x="7888288" y="2722563"/>
          <p14:tracePt t="50278" x="7872413" y="2722563"/>
          <p14:tracePt t="50279" x="7854950" y="2722563"/>
          <p14:tracePt t="50280" x="7839075" y="2722563"/>
          <p14:tracePt t="50281" x="7831138" y="2722563"/>
          <p14:tracePt t="50282" x="7820025" y="2722563"/>
          <p14:tracePt t="50283" x="7804150" y="2722563"/>
          <p14:tracePt t="50284" x="7791450" y="2722563"/>
          <p14:tracePt t="50285" x="7775575" y="2722563"/>
          <p14:tracePt t="50286" x="7762875" y="2722563"/>
          <p14:tracePt t="50287" x="7747000" y="2722563"/>
          <p14:tracePt t="50288" x="7735888" y="2722563"/>
          <p14:tracePt t="50289" x="7715250" y="2722563"/>
          <p14:tracePt t="50290" x="7707313" y="2725738"/>
          <p14:tracePt t="50291" x="7696200" y="2725738"/>
          <p14:tracePt t="50292" x="7680325" y="2725738"/>
          <p14:tracePt t="50293" x="7670800" y="2730500"/>
          <p14:tracePt t="50294" x="7651750" y="2730500"/>
          <p14:tracePt t="50295" x="7639050" y="2730500"/>
          <p14:tracePt t="50296" x="7631113" y="2733675"/>
          <p14:tracePt t="50297" x="7615238" y="2733675"/>
          <p14:tracePt t="50298" x="7607300" y="2738438"/>
          <p14:tracePt t="50299" x="7588250" y="2738438"/>
          <p14:tracePt t="50300" x="7575550" y="2738438"/>
          <p14:tracePt t="50301" x="7567613" y="2738438"/>
          <p14:tracePt t="50302" x="7551738" y="2741613"/>
          <p14:tracePt t="50303" x="7543800" y="2741613"/>
          <p14:tracePt t="50304" x="7523163" y="2751138"/>
          <p14:tracePt t="50305" x="7512050" y="2751138"/>
          <p14:tracePt t="50306" x="7504113" y="2751138"/>
          <p14:tracePt t="50307" x="7486650" y="2754313"/>
          <p14:tracePt t="50308" x="7475538" y="2754313"/>
          <p14:tracePt t="50309" x="7459663" y="2759075"/>
          <p14:tracePt t="50310" x="7446963" y="2759075"/>
          <p14:tracePt t="50311" x="7431088" y="2762250"/>
          <p14:tracePt t="50312" x="7419975" y="2762250"/>
          <p14:tracePt t="50314" x="7391400" y="2767013"/>
          <p14:tracePt t="50315" x="7378700" y="2774950"/>
          <p14:tracePt t="50316" x="7370763" y="2774950"/>
          <p14:tracePt t="50317" x="7354888" y="2778125"/>
          <p14:tracePt t="50318" x="7343775" y="2778125"/>
          <p14:tracePt t="50319" x="7331075" y="2782888"/>
          <p14:tracePt t="50320" x="7315200" y="2782888"/>
          <p14:tracePt t="50321" x="7302500" y="2786063"/>
          <p14:tracePt t="50322" x="7291388" y="2786063"/>
          <p14:tracePt t="50323" x="7278688" y="2790825"/>
          <p14:tracePt t="50324" x="7259638" y="2790825"/>
          <p14:tracePt t="50325" x="7251700" y="2794000"/>
          <p14:tracePt t="50326" x="7235825" y="2794000"/>
          <p14:tracePt t="50327" x="7223125" y="2794000"/>
          <p14:tracePt t="50328" x="7215188" y="2798763"/>
          <p14:tracePt t="50329" x="7199313" y="2798763"/>
          <p14:tracePt t="50330" x="7186613" y="2801938"/>
          <p14:tracePt t="50331" x="7170738" y="2801938"/>
          <p14:tracePt t="50332" x="7159625" y="2809875"/>
          <p14:tracePt t="50333" x="7143750" y="2809875"/>
          <p14:tracePt t="50334" x="7131050" y="2814638"/>
          <p14:tracePt t="50335" x="7115175" y="2814638"/>
          <p14:tracePt t="50336" x="7102475" y="2817813"/>
          <p14:tracePt t="50338" x="7075488" y="2822575"/>
          <p14:tracePt t="50339" x="7067550" y="2822575"/>
          <p14:tracePt t="50340" x="7046913" y="2825750"/>
          <p14:tracePt t="50341" x="7038975" y="2825750"/>
          <p14:tracePt t="50342" x="7023100" y="2825750"/>
          <p14:tracePt t="50343" x="7015163" y="2830513"/>
          <p14:tracePt t="50344" x="7002463" y="2830513"/>
          <p14:tracePt t="50345" x="6986588" y="2838450"/>
          <p14:tracePt t="50346" x="6978650" y="2838450"/>
          <p14:tracePt t="50348" x="6967538" y="2838450"/>
          <p14:tracePt t="50348" x="6959600" y="2843213"/>
          <p14:tracePt t="50349" x="6942138" y="2843213"/>
          <p14:tracePt t="50350" x="6931025" y="2846388"/>
          <p14:tracePt t="50351" x="6923088" y="2846388"/>
          <p14:tracePt t="50352" x="6915150" y="2846388"/>
          <p14:tracePt t="50354" x="6894513" y="2851150"/>
          <p14:tracePt t="50355" x="6883400" y="2851150"/>
          <p14:tracePt t="50356" x="6875463" y="2854325"/>
          <p14:tracePt t="50357" x="6867525" y="2854325"/>
          <p14:tracePt t="50358" x="6858000" y="2854325"/>
          <p14:tracePt t="50359" x="6850063" y="2854325"/>
          <p14:tracePt t="50360" x="6842125" y="2854325"/>
          <p14:tracePt t="50361" x="6831013" y="2859088"/>
          <p14:tracePt t="50362" x="6823075" y="2859088"/>
          <p14:tracePt t="50364" x="6815138" y="2862263"/>
          <p14:tracePt t="50365" x="6802438" y="2862263"/>
          <p14:tracePt t="50366" x="6794500" y="2862263"/>
          <p14:tracePt t="50367" x="6786563" y="2862263"/>
          <p14:tracePt t="50368" x="6783388" y="2867025"/>
          <p14:tracePt t="50369" x="6778625" y="2867025"/>
          <p14:tracePt t="50370" x="6765925" y="2867025"/>
          <p14:tracePt t="50371" x="6757988" y="2867025"/>
          <p14:tracePt t="50372" x="6750050" y="2867025"/>
          <p14:tracePt t="50373" x="6746875" y="2867025"/>
          <p14:tracePt t="50374" x="6742113" y="2867025"/>
          <p14:tracePt t="50375" x="6731000" y="2867025"/>
          <p14:tracePt t="50377" x="6726238" y="2867025"/>
          <p14:tracePt t="50378" x="6718300" y="2870200"/>
          <p14:tracePt t="50379" x="6715125" y="2870200"/>
          <p14:tracePt t="50380" x="6707188" y="2870200"/>
          <p14:tracePt t="50381" x="6702425" y="2870200"/>
          <p14:tracePt t="50382" x="6699250" y="2870200"/>
          <p14:tracePt t="50383" x="6694488" y="2870200"/>
          <p14:tracePt t="50384" x="6691313" y="2870200"/>
          <p14:tracePt t="50385" x="6681788" y="2874963"/>
          <p14:tracePt t="50386" x="6678613" y="2874963"/>
          <p14:tracePt t="50387" x="6673850" y="2874963"/>
          <p14:tracePt t="50388" x="6670675" y="2874963"/>
          <p14:tracePt t="50390" x="6662738" y="2878138"/>
          <p14:tracePt t="50391" x="6657975" y="2878138"/>
          <p14:tracePt t="50392" x="6654800" y="2878138"/>
          <p14:tracePt t="50393" x="6650038" y="2878138"/>
          <p14:tracePt t="50394" x="6646863" y="2878138"/>
          <p14:tracePt t="50395" x="6642100" y="2882900"/>
          <p14:tracePt t="50396" x="6638925" y="2882900"/>
          <p14:tracePt t="50397" x="6634163" y="2882900"/>
          <p14:tracePt t="50398" x="6630988" y="2882900"/>
          <p14:tracePt t="50399" x="6626225" y="2886075"/>
          <p14:tracePt t="50400" x="6623050" y="2886075"/>
          <p14:tracePt t="50402" x="6618288" y="2886075"/>
          <p14:tracePt t="50403" x="6615113" y="2890838"/>
          <p14:tracePt t="50404" x="6610350" y="2890838"/>
          <p14:tracePt t="50405" x="6607175" y="2890838"/>
          <p14:tracePt t="50406" x="6602413" y="2890838"/>
          <p14:tracePt t="50407" x="6599238" y="2890838"/>
          <p14:tracePt t="50408" x="6594475" y="2890838"/>
          <p14:tracePt t="50409" x="6589713" y="2890838"/>
          <p14:tracePt t="50410" x="6581775" y="2894013"/>
          <p14:tracePt t="50411" x="6578600" y="2894013"/>
          <p14:tracePt t="50413" x="6573838" y="2894013"/>
          <p14:tracePt t="50413" x="6570663" y="2894013"/>
          <p14:tracePt t="50414" x="6570663" y="2898775"/>
          <p14:tracePt t="50415" x="6565900" y="2898775"/>
          <p14:tracePt t="50416" x="6562725" y="2898775"/>
          <p14:tracePt t="50417" x="6557963" y="2898775"/>
          <p14:tracePt t="50418" x="6554788" y="2901950"/>
          <p14:tracePt t="50419" x="6550025" y="2901950"/>
          <p14:tracePt t="50420" x="6546850" y="2901950"/>
          <p14:tracePt t="50421" x="6542088" y="2906713"/>
          <p14:tracePt t="50422" x="6538913" y="2906713"/>
          <p14:tracePt t="50423" x="6534150" y="2906713"/>
          <p14:tracePt t="50424" x="6530975" y="2906713"/>
          <p14:tracePt t="50426" x="6526213" y="2906713"/>
          <p14:tracePt t="50427" x="6518275" y="2906713"/>
          <p14:tracePt t="50429" x="6510338" y="2909888"/>
          <p14:tracePt t="50430" x="6507163" y="2909888"/>
          <p14:tracePt t="50431" x="6502400" y="2914650"/>
          <p14:tracePt t="50432" x="6497638" y="2914650"/>
          <p14:tracePt t="50433" x="6494463" y="2917825"/>
          <p14:tracePt t="50434" x="6489700" y="2917825"/>
          <p14:tracePt t="50435" x="6486525" y="2922588"/>
          <p14:tracePt t="50436" x="6481763" y="2922588"/>
          <p14:tracePt t="50437" x="6478588" y="2927350"/>
          <p14:tracePt t="50438" x="6473825" y="2927350"/>
          <p14:tracePt t="50439" x="6465888" y="2927350"/>
          <p14:tracePt t="50440" x="6462713" y="2930525"/>
          <p14:tracePt t="50441" x="6454775" y="2935288"/>
          <p14:tracePt t="50442" x="6450013" y="2935288"/>
          <p14:tracePt t="50443" x="6442075" y="2935288"/>
          <p14:tracePt t="50444" x="6438900" y="2938463"/>
          <p14:tracePt t="50445" x="6434138" y="2938463"/>
          <p14:tracePt t="50446" x="6426200" y="2943225"/>
          <p14:tracePt t="50447" x="6418263" y="2943225"/>
          <p14:tracePt t="50448" x="6415088" y="2946400"/>
          <p14:tracePt t="50449" x="6410325" y="2946400"/>
          <p14:tracePt t="50450" x="6402388" y="2951163"/>
          <p14:tracePt t="50451" x="6394450" y="2954338"/>
          <p14:tracePt t="50452" x="6386513" y="2954338"/>
          <p14:tracePt t="50453" x="6381750" y="2954338"/>
          <p14:tracePt t="50454" x="6373813" y="2959100"/>
          <p14:tracePt t="50455" x="6370638" y="2959100"/>
          <p14:tracePt t="50456" x="6362700" y="2962275"/>
          <p14:tracePt t="50457" x="6354763" y="2962275"/>
          <p14:tracePt t="50458" x="6346825" y="2967038"/>
          <p14:tracePt t="50459" x="6342063" y="2970213"/>
          <p14:tracePt t="50460" x="6334125" y="2970213"/>
          <p14:tracePt t="50462" x="6318250" y="2974975"/>
          <p14:tracePt t="50465" x="6297613" y="2982913"/>
          <p14:tracePt t="50466" x="6289675" y="2986088"/>
          <p14:tracePt t="50467" x="6281738" y="2990850"/>
          <p14:tracePt t="50468" x="6278563" y="2990850"/>
          <p14:tracePt t="50469" x="6270625" y="2994025"/>
          <p14:tracePt t="50470" x="6262688" y="2994025"/>
          <p14:tracePt t="50471" x="6249988" y="2998788"/>
          <p14:tracePt t="50472" x="6242050" y="3001963"/>
          <p14:tracePt t="50473" x="6234113" y="3001963"/>
          <p14:tracePt t="50474" x="6229350" y="3006725"/>
          <p14:tracePt t="50475" x="6221413" y="3009900"/>
          <p14:tracePt t="50476" x="6210300" y="3014663"/>
          <p14:tracePt t="50477" x="6202363" y="3014663"/>
          <p14:tracePt t="50479" x="6189663" y="3019425"/>
          <p14:tracePt t="50481" x="6178550" y="3027363"/>
          <p14:tracePt t="50482" x="6165850" y="3027363"/>
          <p14:tracePt t="50483" x="6162675" y="3030538"/>
          <p14:tracePt t="50484" x="6154738" y="3035300"/>
          <p14:tracePt t="50485" x="6146800" y="3035300"/>
          <p14:tracePt t="50486" x="6137275" y="3038475"/>
          <p14:tracePt t="50487" x="6126163" y="3043238"/>
          <p14:tracePt t="50488" x="6118225" y="3051175"/>
          <p14:tracePt t="50489" x="6113463" y="3051175"/>
          <p14:tracePt t="50490" x="6105525" y="3051175"/>
          <p14:tracePt t="50491" x="6102350" y="3054350"/>
          <p14:tracePt t="50492" x="6094413" y="3059113"/>
          <p14:tracePt t="50493" x="6086475" y="3059113"/>
          <p14:tracePt t="50494" x="6081713" y="3062288"/>
          <p14:tracePt t="50495" x="6073775" y="3067050"/>
          <p14:tracePt t="50496" x="6065838" y="3070225"/>
          <p14:tracePt t="50498" x="6062663" y="3070225"/>
          <p14:tracePt t="50499" x="6049963" y="3078163"/>
          <p14:tracePt t="50500" x="6042025" y="3078163"/>
          <p14:tracePt t="50501" x="6042025" y="3082925"/>
          <p14:tracePt t="50502" x="6034088" y="3086100"/>
          <p14:tracePt t="50503" x="6029325" y="3086100"/>
          <p14:tracePt t="50504" x="6026150" y="3090863"/>
          <p14:tracePt t="50505" x="6021388" y="3094038"/>
          <p14:tracePt t="50506" x="6018213" y="3094038"/>
          <p14:tracePt t="50507" x="6010275" y="3098800"/>
          <p14:tracePt t="50508" x="6005513" y="3101975"/>
          <p14:tracePt t="50509" x="6002338" y="3101975"/>
          <p14:tracePt t="50510" x="5997575" y="3106738"/>
          <p14:tracePt t="50511" x="5994400" y="3111500"/>
          <p14:tracePt t="50512" x="5989638" y="3114675"/>
          <p14:tracePt t="50513" x="5986463" y="3114675"/>
          <p14:tracePt t="50515" x="5981700" y="3119438"/>
          <p14:tracePt t="50516" x="5978525" y="3122613"/>
          <p14:tracePt t="50517" x="5973763" y="3122613"/>
          <p14:tracePt t="50518" x="5970588" y="3127375"/>
          <p14:tracePt t="50519" x="5965825" y="3130550"/>
          <p14:tracePt t="50521" x="5962650" y="3135313"/>
          <p14:tracePt t="50522" x="5957888" y="3138488"/>
          <p14:tracePt t="50523" x="5953125" y="3143250"/>
          <p14:tracePt t="50524" x="5949950" y="3143250"/>
          <p14:tracePt t="50525" x="5945188" y="3146425"/>
          <p14:tracePt t="50526" x="5945188" y="3151188"/>
          <p14:tracePt t="50528" x="5942013" y="3154363"/>
          <p14:tracePt t="50529" x="5937250" y="3159125"/>
          <p14:tracePt t="50531" x="5934075" y="3159125"/>
          <p14:tracePt t="50532" x="5929313" y="3167063"/>
          <p14:tracePt t="50533" x="5926138" y="3167063"/>
          <p14:tracePt t="50534" x="5926138" y="3170238"/>
          <p14:tracePt t="50535" x="5921375" y="3175000"/>
          <p14:tracePt t="50536" x="5918200" y="3178175"/>
          <p14:tracePt t="50537" x="5918200" y="3182938"/>
          <p14:tracePt t="50538" x="5913438" y="3186113"/>
          <p14:tracePt t="50539" x="5910263" y="3186113"/>
          <p14:tracePt t="50540" x="5910263" y="3190875"/>
          <p14:tracePt t="50541" x="5905500" y="3194050"/>
          <p14:tracePt t="50542" x="5902325" y="3198813"/>
          <p14:tracePt t="50543" x="5902325" y="3203575"/>
          <p14:tracePt t="50544" x="5902325" y="3206750"/>
          <p14:tracePt t="50546" x="5897563" y="3211513"/>
          <p14:tracePt t="50547" x="5897563" y="3214688"/>
          <p14:tracePt t="50548" x="5894388" y="3219450"/>
          <p14:tracePt t="50549" x="5894388" y="3222625"/>
          <p14:tracePt t="50550" x="5889625" y="3227388"/>
          <p14:tracePt t="50551" x="5886450" y="3230563"/>
          <p14:tracePt t="50552" x="5886450" y="3235325"/>
          <p14:tracePt t="50553" x="5881688" y="3238500"/>
          <p14:tracePt t="50554" x="5881688" y="3243263"/>
          <p14:tracePt t="50555" x="5881688" y="3246438"/>
          <p14:tracePt t="50556" x="5878513" y="3246438"/>
          <p14:tracePt t="50557" x="5878513" y="3251200"/>
          <p14:tracePt t="50558" x="5873750" y="3254375"/>
          <p14:tracePt t="50559" x="5873750" y="3259138"/>
          <p14:tracePt t="50560" x="5868988" y="3262313"/>
          <p14:tracePt t="50561" x="5868988" y="3267075"/>
          <p14:tracePt t="50562" x="5868988" y="3270250"/>
          <p14:tracePt t="50563" x="5865813" y="3275013"/>
          <p14:tracePt t="50564" x="5865813" y="3278188"/>
          <p14:tracePt t="50565" x="5865813" y="3282950"/>
          <p14:tracePt t="50566" x="5865813" y="3286125"/>
          <p14:tracePt t="50567" x="5861050" y="3286125"/>
          <p14:tracePt t="50568" x="5861050" y="3290888"/>
          <p14:tracePt t="50569" x="5861050" y="3295650"/>
          <p14:tracePt t="50570" x="5861050" y="3298825"/>
          <p14:tracePt t="50571" x="5861050" y="3303588"/>
          <p14:tracePt t="50572" x="5861050" y="3306763"/>
          <p14:tracePt t="50573" x="5861050" y="3314700"/>
          <p14:tracePt t="50574" x="5861050" y="3319463"/>
          <p14:tracePt t="50575" x="5861050" y="3322638"/>
          <p14:tracePt t="50576" x="5861050" y="3327400"/>
          <p14:tracePt t="50577" x="5861050" y="3335338"/>
          <p14:tracePt t="50579" x="5861050" y="3338513"/>
          <p14:tracePt t="50580" x="5861050" y="3343275"/>
          <p14:tracePt t="50581" x="5861050" y="3346450"/>
          <p14:tracePt t="50582" x="5861050" y="3351213"/>
          <p14:tracePt t="50583" x="5861050" y="3354388"/>
          <p14:tracePt t="50584" x="5861050" y="3359150"/>
          <p14:tracePt t="50585" x="5861050" y="3362325"/>
          <p14:tracePt t="50586" x="5861050" y="3367088"/>
          <p14:tracePt t="50587" x="5861050" y="3370263"/>
          <p14:tracePt t="50588" x="5861050" y="3375025"/>
          <p14:tracePt t="50589" x="5861050" y="3378200"/>
          <p14:tracePt t="50591" x="5861050" y="3382963"/>
          <p14:tracePt t="50592" x="5861050" y="3387725"/>
          <p14:tracePt t="50593" x="5861050" y="3390900"/>
          <p14:tracePt t="50594" x="5861050" y="3395663"/>
          <p14:tracePt t="50596" x="5861050" y="3398838"/>
          <p14:tracePt t="50597" x="5861050" y="3403600"/>
          <p14:tracePt t="50598" x="5861050" y="3406775"/>
          <p14:tracePt t="50599" x="5861050" y="3411538"/>
          <p14:tracePt t="50600" x="5861050" y="3414713"/>
          <p14:tracePt t="50601" x="5865813" y="3419475"/>
          <p14:tracePt t="50603" x="5865813" y="3427413"/>
          <p14:tracePt t="50607" x="5865813" y="3430588"/>
          <p14:tracePt t="50608" x="5868988" y="3430588"/>
          <p14:tracePt t="50609" x="5868988" y="3435350"/>
          <p14:tracePt t="50610" x="5868988" y="3438525"/>
          <p14:tracePt t="50612" x="5868988" y="3443288"/>
          <p14:tracePt t="50613" x="5873750" y="3443288"/>
          <p14:tracePt t="50614" x="5873750" y="3446463"/>
          <p14:tracePt t="50616" x="5878513" y="3446463"/>
          <p14:tracePt t="50617" x="5878513" y="3451225"/>
          <p14:tracePt t="50618" x="5881688" y="3451225"/>
          <p14:tracePt t="50620" x="5881688" y="3454400"/>
          <p14:tracePt t="50621" x="5886450" y="3459163"/>
          <p14:tracePt t="50623" x="5889625" y="3459163"/>
          <p14:tracePt t="50624" x="5889625" y="3462338"/>
          <p14:tracePt t="50627" x="5894388" y="3462338"/>
          <p14:tracePt t="50629" x="5894388" y="3467100"/>
          <p14:tracePt t="50630" x="5897563" y="3467100"/>
          <p14:tracePt t="50635" x="5902325" y="3467100"/>
          <p14:tracePt t="50637" x="5902325" y="3470275"/>
          <p14:tracePt t="50639" x="5905500" y="3475038"/>
          <p14:tracePt t="50641" x="5910263" y="3475038"/>
          <p14:tracePt t="50644" x="5913438" y="3479800"/>
          <p14:tracePt t="50646" x="5918200" y="3479800"/>
          <p14:tracePt t="50648" x="5921375" y="3479800"/>
          <p14:tracePt t="50651" x="5926138" y="3479800"/>
          <p14:tracePt t="50653" x="5929313" y="3482975"/>
          <p14:tracePt t="50654" x="5934075" y="3482975"/>
          <p14:tracePt t="50656" x="5937250" y="3482975"/>
          <p14:tracePt t="50659" x="5937250" y="3487738"/>
          <p14:tracePt t="50660" x="5942013" y="3487738"/>
          <p14:tracePt t="50662" x="5945188" y="3487738"/>
          <p14:tracePt t="50664" x="5949950" y="3487738"/>
          <p14:tracePt t="50665" x="5949950" y="3490913"/>
          <p14:tracePt t="50666" x="5953125" y="3490913"/>
          <p14:tracePt t="50667" x="5957888" y="3490913"/>
          <p14:tracePt t="50669" x="5962650" y="3495675"/>
          <p14:tracePt t="50671" x="5965825" y="3495675"/>
          <p14:tracePt t="50673" x="5970588" y="3495675"/>
          <p14:tracePt t="50675" x="5973763" y="3495675"/>
          <p14:tracePt t="50676" x="5978525" y="3495675"/>
          <p14:tracePt t="50679" x="5978525" y="3498850"/>
          <p14:tracePt t="50680" x="5981700" y="3498850"/>
          <p14:tracePt t="50681" x="5986463" y="3498850"/>
          <p14:tracePt t="50683" x="5989638" y="3503613"/>
          <p14:tracePt t="50684" x="5994400" y="3503613"/>
          <p14:tracePt t="50685" x="5997575" y="3503613"/>
          <p14:tracePt t="50686" x="6002338" y="3503613"/>
          <p14:tracePt t="50688" x="6005513" y="3503613"/>
          <p14:tracePt t="50689" x="6010275" y="3503613"/>
          <p14:tracePt t="50690" x="6013450" y="3506788"/>
          <p14:tracePt t="50691" x="6018213" y="3506788"/>
          <p14:tracePt t="50693" x="6021388" y="3506788"/>
          <p14:tracePt t="50694" x="6029325" y="3511550"/>
          <p14:tracePt t="50695" x="6034088" y="3511550"/>
          <p14:tracePt t="50697" x="6037263" y="3511550"/>
          <p14:tracePt t="50697" x="6042025" y="3511550"/>
          <p14:tracePt t="50698" x="6045200" y="3511550"/>
          <p14:tracePt t="50699" x="6054725" y="3511550"/>
          <p14:tracePt t="50700" x="6062663" y="3519488"/>
          <p14:tracePt t="50701" x="6065838" y="3519488"/>
          <p14:tracePt t="50702" x="6070600" y="3519488"/>
          <p14:tracePt t="50703" x="6078538" y="3519488"/>
          <p14:tracePt t="50704" x="6086475" y="3527425"/>
          <p14:tracePt t="50705" x="6094413" y="3527425"/>
          <p14:tracePt t="50706" x="6097588" y="3527425"/>
          <p14:tracePt t="50707" x="6105525" y="3530600"/>
          <p14:tracePt t="50708" x="6113463" y="3530600"/>
          <p14:tracePt t="50709" x="6118225" y="3530600"/>
          <p14:tracePt t="50710" x="6129338" y="3535363"/>
          <p14:tracePt t="50711" x="6137275" y="3538538"/>
          <p14:tracePt t="50712" x="6146800" y="3538538"/>
          <p14:tracePt t="50714" x="6149975" y="3543300"/>
          <p14:tracePt t="50714" x="6157913" y="3543300"/>
          <p14:tracePt t="50715" x="6173788" y="3546475"/>
          <p14:tracePt t="50716" x="6178550" y="3546475"/>
          <p14:tracePt t="50717" x="6186488" y="3551238"/>
          <p14:tracePt t="50718" x="6194425" y="3551238"/>
          <p14:tracePt t="50719" x="6202363" y="3554413"/>
          <p14:tracePt t="50720" x="6213475" y="3559175"/>
          <p14:tracePt t="50721" x="6221413" y="3559175"/>
          <p14:tracePt t="50722" x="6234113" y="3562350"/>
          <p14:tracePt t="50723" x="6242050" y="3562350"/>
          <p14:tracePt t="50724" x="6249988" y="3567113"/>
          <p14:tracePt t="50725" x="6262688" y="3567113"/>
          <p14:tracePt t="50726" x="6270625" y="3571875"/>
          <p14:tracePt t="50727" x="6286500" y="3575050"/>
          <p14:tracePt t="50729" x="6302375" y="3582988"/>
          <p14:tracePt t="50730" x="6318250" y="3582988"/>
          <p14:tracePt t="50731" x="6326188" y="3587750"/>
          <p14:tracePt t="50732" x="6334125" y="3587750"/>
          <p14:tracePt t="50733" x="6342063" y="3590925"/>
          <p14:tracePt t="50734" x="6354763" y="3590925"/>
          <p14:tracePt t="50735" x="6370638" y="3595688"/>
          <p14:tracePt t="50736" x="6378575" y="3598863"/>
          <p14:tracePt t="50737" x="6386513" y="3598863"/>
          <p14:tracePt t="50738" x="6402388" y="3603625"/>
          <p14:tracePt t="50739" x="6410325" y="3603625"/>
          <p14:tracePt t="50740" x="6423025" y="3606800"/>
          <p14:tracePt t="50741" x="6438900" y="3614738"/>
          <p14:tracePt t="50742" x="6446838" y="3614738"/>
          <p14:tracePt t="50743" x="6457950" y="3619500"/>
          <p14:tracePt t="50744" x="6465888" y="3619500"/>
          <p14:tracePt t="50745" x="6478588" y="3622675"/>
          <p14:tracePt t="50746" x="6494463" y="3622675"/>
          <p14:tracePt t="50748" x="6507163" y="3627438"/>
          <p14:tracePt t="50748" x="6518275" y="3627438"/>
          <p14:tracePt t="50749" x="6526213" y="3630613"/>
          <p14:tracePt t="50750" x="6542088" y="3635375"/>
          <p14:tracePt t="50751" x="6554788" y="3635375"/>
          <p14:tracePt t="50752" x="6562725" y="3638550"/>
          <p14:tracePt t="50753" x="6578600" y="3638550"/>
          <p14:tracePt t="50754" x="6586538" y="3643313"/>
          <p14:tracePt t="50755" x="6599238" y="3643313"/>
          <p14:tracePt t="50756" x="6615113" y="3651250"/>
          <p14:tracePt t="50757" x="6623050" y="3651250"/>
          <p14:tracePt t="50758" x="6630988" y="3654425"/>
          <p14:tracePt t="50759" x="6646863" y="3659188"/>
          <p14:tracePt t="50760" x="6657975" y="3659188"/>
          <p14:tracePt t="50761" x="6673850" y="3663950"/>
          <p14:tracePt t="50762" x="6681788" y="3663950"/>
          <p14:tracePt t="50763" x="6694488" y="3667125"/>
          <p14:tracePt t="50766" x="6726238" y="3671888"/>
          <p14:tracePt t="50767" x="6738938" y="3675063"/>
          <p14:tracePt t="50768" x="6746875" y="3675063"/>
          <p14:tracePt t="50769" x="6754813" y="3679825"/>
          <p14:tracePt t="50770" x="6770688" y="3679825"/>
          <p14:tracePt t="50771" x="6778625" y="3687763"/>
          <p14:tracePt t="50772" x="6791325" y="3687763"/>
          <p14:tracePt t="50773" x="6802438" y="3690938"/>
          <p14:tracePt t="50774" x="6815138" y="3690938"/>
          <p14:tracePt t="50775" x="6823075" y="3695700"/>
          <p14:tracePt t="50776" x="6838950" y="3695700"/>
          <p14:tracePt t="50777" x="6850063" y="3698875"/>
          <p14:tracePt t="50779" x="6867525" y="3703638"/>
          <p14:tracePt t="50781" x="6894513" y="3706813"/>
          <p14:tracePt t="50782" x="6907213" y="3711575"/>
          <p14:tracePt t="50783" x="6918325" y="3711575"/>
          <p14:tracePt t="50784" x="6926263" y="3714750"/>
          <p14:tracePt t="50785" x="6934200" y="3714750"/>
          <p14:tracePt t="50786" x="6954838" y="3722688"/>
          <p14:tracePt t="50787" x="6962775" y="3722688"/>
          <p14:tracePt t="50788" x="6970713" y="3727450"/>
          <p14:tracePt t="50789" x="6986588" y="3727450"/>
          <p14:tracePt t="50790" x="6994525" y="3727450"/>
          <p14:tracePt t="50791" x="7007225" y="3730625"/>
          <p14:tracePt t="50792" x="7023100" y="3730625"/>
          <p14:tracePt t="50793" x="7031038" y="3730625"/>
          <p14:tracePt t="50794" x="7042150" y="3735388"/>
          <p14:tracePt t="50795" x="7051675" y="3735388"/>
          <p14:tracePt t="50796" x="7067550" y="3735388"/>
          <p14:tracePt t="50798" x="7083425" y="3738563"/>
          <p14:tracePt t="50799" x="7091363" y="3743325"/>
          <p14:tracePt t="50800" x="7107238" y="3743325"/>
          <p14:tracePt t="50801" x="7118350" y="3746500"/>
          <p14:tracePt t="50802" x="7126288" y="3746500"/>
          <p14:tracePt t="50803" x="7135813" y="3746500"/>
          <p14:tracePt t="50804" x="7143750" y="3756025"/>
          <p14:tracePt t="50805" x="7151688" y="3756025"/>
          <p14:tracePt t="50806" x="7167563" y="3756025"/>
          <p14:tracePt t="50807" x="7175500" y="3756025"/>
          <p14:tracePt t="50808" x="7183438" y="3759200"/>
          <p14:tracePt t="50809" x="7191375" y="3759200"/>
          <p14:tracePt t="50810" x="7199313" y="3759200"/>
          <p14:tracePt t="50811" x="7207250" y="3763963"/>
          <p14:tracePt t="50812" x="7223125" y="3763963"/>
          <p14:tracePt t="50813" x="7231063" y="3763963"/>
          <p14:tracePt t="50814" x="7243763" y="3767138"/>
          <p14:tracePt t="50815" x="7251700" y="3767138"/>
          <p14:tracePt t="50816" x="7267575" y="3767138"/>
          <p14:tracePt t="50817" x="7275513" y="3771900"/>
          <p14:tracePt t="50818" x="7283450" y="3771900"/>
          <p14:tracePt t="50819" x="7294563" y="3771900"/>
          <p14:tracePt t="50820" x="7307263" y="3771900"/>
          <p14:tracePt t="50821" x="7319963" y="3775075"/>
          <p14:tracePt t="50822" x="7331075" y="3775075"/>
          <p14:tracePt t="50823" x="7346950" y="3779838"/>
          <p14:tracePt t="50824" x="7354888" y="3779838"/>
          <p14:tracePt t="50825" x="7367588" y="3779838"/>
          <p14:tracePt t="50826" x="7383463" y="3783013"/>
          <p14:tracePt t="50827" x="7391400" y="3783013"/>
          <p14:tracePt t="50828" x="7402513" y="3783013"/>
          <p14:tracePt t="50829" x="7412038" y="3783013"/>
          <p14:tracePt t="50830" x="7427913" y="3783013"/>
          <p14:tracePt t="50831" x="7439025" y="3790950"/>
          <p14:tracePt t="50832" x="7454900" y="3790950"/>
          <p14:tracePt t="50833" x="7462838" y="3790950"/>
          <p14:tracePt t="50834" x="7475538" y="3790950"/>
          <p14:tracePt t="50835" x="7491413" y="3795713"/>
          <p14:tracePt t="50836" x="7504113" y="3795713"/>
          <p14:tracePt t="50837" x="7512050" y="3795713"/>
          <p14:tracePt t="50838" x="7527925" y="3798888"/>
          <p14:tracePt t="50839" x="7539038" y="3798888"/>
          <p14:tracePt t="50840" x="7546975" y="3798888"/>
          <p14:tracePt t="50841" x="7562850" y="3803650"/>
          <p14:tracePt t="50842" x="7575550" y="3803650"/>
          <p14:tracePt t="50843" x="7591425" y="3803650"/>
          <p14:tracePt t="50844" x="7599363" y="3803650"/>
          <p14:tracePt t="50845" x="7612063" y="3803650"/>
          <p14:tracePt t="50846" x="7620000" y="3803650"/>
          <p14:tracePt t="50847" x="7639050" y="3806825"/>
          <p14:tracePt t="50848" x="7646988" y="3806825"/>
          <p14:tracePt t="50849" x="7659688" y="3806825"/>
          <p14:tracePt t="50850" x="7675563" y="3806825"/>
          <p14:tracePt t="50851" x="7683500" y="3806825"/>
          <p14:tracePt t="50852" x="7704138" y="3814763"/>
          <p14:tracePt t="50853" x="7715250" y="3814763"/>
          <p14:tracePt t="50854" x="7723188" y="3814763"/>
          <p14:tracePt t="50855" x="7739063" y="3814763"/>
          <p14:tracePt t="50856" x="7751763" y="3819525"/>
          <p14:tracePt t="50857" x="7767638" y="3819525"/>
          <p14:tracePt t="50858" x="7780338" y="3819525"/>
          <p14:tracePt t="50859" x="7796213" y="3822700"/>
          <p14:tracePt t="50860" x="7807325" y="3822700"/>
          <p14:tracePt t="50861" x="7820025" y="3822700"/>
          <p14:tracePt t="50862" x="7835900" y="3822700"/>
          <p14:tracePt t="50863" x="7847013" y="3822700"/>
          <p14:tracePt t="50864" x="7864475" y="3822700"/>
          <p14:tracePt t="50865" x="7875588" y="3827463"/>
          <p14:tracePt t="50866" x="7883525" y="3827463"/>
          <p14:tracePt t="50867" x="7904163" y="3827463"/>
          <p14:tracePt t="50868" x="7915275" y="3827463"/>
          <p14:tracePt t="50869" x="7931150" y="3830638"/>
          <p14:tracePt t="50870" x="7939088" y="3830638"/>
          <p14:tracePt t="50871" x="7951788" y="3830638"/>
          <p14:tracePt t="50872" x="7972425" y="3838575"/>
          <p14:tracePt t="50873" x="7988300" y="3838575"/>
          <p14:tracePt t="50874" x="7999413" y="3838575"/>
          <p14:tracePt t="50875" x="8007350" y="3838575"/>
          <p14:tracePt t="50876" x="8023225" y="3838575"/>
          <p14:tracePt t="50877" x="8040688" y="3838575"/>
          <p14:tracePt t="50879" x="8048625" y="3838575"/>
          <p14:tracePt t="50880" x="8075613" y="3838575"/>
          <p14:tracePt t="50881" x="8083550" y="3843338"/>
          <p14:tracePt t="50882" x="8099425" y="3843338"/>
          <p14:tracePt t="50883" x="8112125" y="3843338"/>
          <p14:tracePt t="50896" x="8264525" y="3848100"/>
          <p14:tracePt t="50897" x="8272463" y="3848100"/>
          <p14:tracePt t="50898" x="8283575" y="3848100"/>
          <p14:tracePt t="50899" x="8299450" y="3851275"/>
          <p14:tracePt t="50900" x="8307388" y="3851275"/>
          <p14:tracePt t="50902" x="8332788" y="3851275"/>
          <p14:tracePt t="50903" x="8340725" y="3851275"/>
          <p14:tracePt t="50904" x="8348663" y="3851275"/>
          <p14:tracePt t="50905" x="8356600" y="3851275"/>
          <p14:tracePt t="50906" x="8364538" y="3851275"/>
          <p14:tracePt t="50907" x="8372475" y="3851275"/>
          <p14:tracePt t="50908" x="8380413" y="3851275"/>
          <p14:tracePt t="50909" x="8388350" y="3851275"/>
          <p14:tracePt t="50910" x="8396288" y="3851275"/>
          <p14:tracePt t="50911" x="8404225" y="3851275"/>
          <p14:tracePt t="50912" x="8412163" y="3851275"/>
          <p14:tracePt t="50914" x="8424863" y="3851275"/>
          <p14:tracePt t="50915" x="8432800" y="3851275"/>
          <p14:tracePt t="50916" x="8435975" y="3851275"/>
          <p14:tracePt t="50917" x="8443913" y="3851275"/>
          <p14:tracePt t="50919" x="8456613" y="3851275"/>
          <p14:tracePt t="50920" x="8459788" y="3851275"/>
          <p14:tracePt t="50921" x="8467725" y="3851275"/>
          <p14:tracePt t="50922" x="8472488" y="3851275"/>
          <p14:tracePt t="50924" x="8475663" y="3851275"/>
          <p14:tracePt t="50925" x="8483600" y="3851275"/>
          <p14:tracePt t="50926" x="8488363" y="3851275"/>
          <p14:tracePt t="50927" x="8493125" y="3851275"/>
          <p14:tracePt t="50928" x="8501063" y="3848100"/>
          <p14:tracePt t="50929" x="8504238" y="3848100"/>
          <p14:tracePt t="50930" x="8509000" y="3848100"/>
          <p14:tracePt t="50931" x="8512175" y="3848100"/>
          <p14:tracePt t="50932" x="8516938" y="3848100"/>
          <p14:tracePt t="50933" x="8520113" y="3843338"/>
          <p14:tracePt t="50934" x="8524875" y="3843338"/>
          <p14:tracePt t="50937" x="8528050" y="3838575"/>
          <p14:tracePt t="50939" x="8535988" y="3838575"/>
          <p14:tracePt t="50940" x="8540750" y="3838575"/>
          <p14:tracePt t="50941" x="8540750" y="3835400"/>
          <p14:tracePt t="50942" x="8543925" y="3835400"/>
          <p14:tracePt t="50943" x="8548688" y="3835400"/>
          <p14:tracePt t="50944" x="8551863" y="3830638"/>
          <p14:tracePt t="50946" x="8556625" y="3830638"/>
          <p14:tracePt t="50947" x="8559800" y="3827463"/>
          <p14:tracePt t="50948" x="8564563" y="3827463"/>
          <p14:tracePt t="50952" x="8567738" y="3827463"/>
          <p14:tracePt t="50954" x="8572500" y="3822700"/>
          <p14:tracePt t="50956" x="8575675" y="3822700"/>
          <p14:tracePt t="50957" x="8575675" y="3819525"/>
          <p14:tracePt t="50958" x="8580438" y="3819525"/>
          <p14:tracePt t="50959" x="8585200" y="3814763"/>
          <p14:tracePt t="50960" x="8588375" y="3814763"/>
          <p14:tracePt t="50962" x="8593138" y="3811588"/>
          <p14:tracePt t="50964" x="8596313" y="3806825"/>
          <p14:tracePt t="50966" x="8601075" y="3806825"/>
          <p14:tracePt t="50967" x="8601075" y="3803650"/>
          <p14:tracePt t="50968" x="8604250" y="3803650"/>
          <p14:tracePt t="50970" x="8604250" y="3798888"/>
          <p14:tracePt t="50972" x="8609013" y="3795713"/>
          <p14:tracePt t="50973" x="8612188" y="3795713"/>
          <p14:tracePt t="50974" x="8612188" y="3790950"/>
          <p14:tracePt t="50975" x="8616950" y="3790950"/>
          <p14:tracePt t="50976" x="8620125" y="3787775"/>
          <p14:tracePt t="50979" x="8628063" y="3787775"/>
          <p14:tracePt t="50980" x="8632825" y="3783013"/>
          <p14:tracePt t="50982" x="8636000" y="3779838"/>
          <p14:tracePt t="50983" x="8640763" y="3779838"/>
          <p14:tracePt t="50984" x="8643938" y="3775075"/>
          <p14:tracePt t="50985" x="8643938" y="3771900"/>
          <p14:tracePt t="50986" x="8648700" y="3771900"/>
          <p14:tracePt t="50987" x="8651875" y="3767138"/>
          <p14:tracePt t="50988" x="8656638" y="3767138"/>
          <p14:tracePt t="50989" x="8659813" y="3763963"/>
          <p14:tracePt t="50990" x="8664575" y="3759200"/>
          <p14:tracePt t="50991" x="8667750" y="3756025"/>
          <p14:tracePt t="50992" x="8672513" y="3756025"/>
          <p14:tracePt t="50993" x="8677275" y="3751263"/>
          <p14:tracePt t="50994" x="8680450" y="3746500"/>
          <p14:tracePt t="50995" x="8685213" y="3746500"/>
          <p14:tracePt t="50997" x="8688388" y="3746500"/>
          <p14:tracePt t="50998" x="8693150" y="3743325"/>
          <p14:tracePt t="50999" x="8696325" y="3738563"/>
          <p14:tracePt t="51000" x="8701088" y="3735388"/>
          <p14:tracePt t="51001" x="8704263" y="3735388"/>
          <p14:tracePt t="51002" x="8709025" y="3730625"/>
          <p14:tracePt t="51003" x="8712200" y="3727450"/>
          <p14:tracePt t="51004" x="8720138" y="3727450"/>
          <p14:tracePt t="51005" x="8724900" y="3722688"/>
          <p14:tracePt t="51006" x="8724900" y="3719513"/>
          <p14:tracePt t="51007" x="8728075" y="3719513"/>
          <p14:tracePt t="51008" x="8732838" y="3714750"/>
          <p14:tracePt t="51009" x="8732838" y="3711575"/>
          <p14:tracePt t="51010" x="8736013" y="3711575"/>
          <p14:tracePt t="51011" x="8740775" y="3706813"/>
          <p14:tracePt t="51012" x="8743950" y="3706813"/>
          <p14:tracePt t="51014" x="8748713" y="3703638"/>
          <p14:tracePt t="51015" x="8751888" y="3703638"/>
          <p14:tracePt t="51016" x="8751888" y="3698875"/>
          <p14:tracePt t="51017" x="8756650" y="3698875"/>
          <p14:tracePt t="51018" x="8761413" y="3695700"/>
          <p14:tracePt t="51019" x="8764588" y="3695700"/>
          <p14:tracePt t="51020" x="8769350" y="3690938"/>
          <p14:tracePt t="51022" x="8772525" y="3687763"/>
          <p14:tracePt t="51024" x="8772525" y="3683000"/>
          <p14:tracePt t="51026" x="8772525" y="3679825"/>
          <p14:tracePt t="51028" x="8777288" y="3675063"/>
          <p14:tracePt t="51030" x="8780463" y="3671888"/>
          <p14:tracePt t="51032" x="8785225" y="3667125"/>
          <p14:tracePt t="51034" x="8785225" y="3663950"/>
          <p14:tracePt t="51037" x="8788400" y="3663950"/>
          <p14:tracePt t="51038" x="8788400" y="3659188"/>
          <p14:tracePt t="51040" x="8793163" y="3654425"/>
          <p14:tracePt t="51042" x="8793163" y="3651250"/>
          <p14:tracePt t="51043" x="8793163" y="3646488"/>
          <p14:tracePt t="51044" x="8796338" y="3646488"/>
          <p14:tracePt t="51045" x="8796338" y="3643313"/>
          <p14:tracePt t="51046" x="8796338" y="3638550"/>
          <p14:tracePt t="51048" x="8796338" y="3635375"/>
          <p14:tracePt t="51050" x="8796338" y="3630613"/>
          <p14:tracePt t="51051" x="8801100" y="3630613"/>
          <p14:tracePt t="51052" x="8801100" y="3627438"/>
          <p14:tracePt t="51053" x="8801100" y="3622675"/>
          <p14:tracePt t="51056" x="8801100" y="3619500"/>
          <p14:tracePt t="51058" x="8801100" y="3614738"/>
          <p14:tracePt t="51060" x="8801100" y="3611563"/>
          <p14:tracePt t="51061" x="8801100" y="3606800"/>
          <p14:tracePt t="51063" x="8801100" y="3603625"/>
          <p14:tracePt t="51064" x="8801100" y="3598863"/>
          <p14:tracePt t="51065" x="8801100" y="3595688"/>
          <p14:tracePt t="51067" x="8801100" y="3590925"/>
          <p14:tracePt t="51068" x="8801100" y="3587750"/>
          <p14:tracePt t="51070" x="8801100" y="3582988"/>
          <p14:tracePt t="51072" x="8801100" y="3579813"/>
          <p14:tracePt t="51074" x="8801100" y="3575050"/>
          <p14:tracePt t="51075" x="8801100" y="3571875"/>
          <p14:tracePt t="51076" x="8801100" y="3567113"/>
          <p14:tracePt t="51077" x="8801100" y="3562350"/>
          <p14:tracePt t="51079" x="8796338" y="3562350"/>
          <p14:tracePt t="51079" x="8796338" y="3559175"/>
          <p14:tracePt t="51080" x="8796338" y="3554413"/>
          <p14:tracePt t="51081" x="8793163" y="3551238"/>
          <p14:tracePt t="51082" x="8793163" y="3546475"/>
          <p14:tracePt t="51084" x="8793163" y="3543300"/>
          <p14:tracePt t="51085" x="8788400" y="3543300"/>
          <p14:tracePt t="51086" x="8788400" y="3538538"/>
          <p14:tracePt t="51087" x="8785225" y="3535363"/>
          <p14:tracePt t="51088" x="8785225" y="3530600"/>
          <p14:tracePt t="51089" x="8780463" y="3527425"/>
          <p14:tracePt t="51090" x="8777288" y="3522663"/>
          <p14:tracePt t="51091" x="8777288" y="3519488"/>
          <p14:tracePt t="51092" x="8777288" y="3514725"/>
          <p14:tracePt t="51093" x="8777288" y="3511550"/>
          <p14:tracePt t="51094" x="8772525" y="3506788"/>
          <p14:tracePt t="51095" x="8772525" y="3503613"/>
          <p14:tracePt t="51096" x="8769350" y="3503613"/>
          <p14:tracePt t="51097" x="8764588" y="3498850"/>
          <p14:tracePt t="51098" x="8764588" y="3495675"/>
          <p14:tracePt t="51099" x="8761413" y="3490913"/>
          <p14:tracePt t="51100" x="8756650" y="3487738"/>
          <p14:tracePt t="51101" x="8751888" y="3482975"/>
          <p14:tracePt t="51102" x="8751888" y="3479800"/>
          <p14:tracePt t="51103" x="8748713" y="3475038"/>
          <p14:tracePt t="51104" x="8748713" y="3470275"/>
          <p14:tracePt t="51105" x="8743950" y="3467100"/>
          <p14:tracePt t="51106" x="8740775" y="3462338"/>
          <p14:tracePt t="51107" x="8736013" y="3462338"/>
          <p14:tracePt t="51108" x="8736013" y="3459163"/>
          <p14:tracePt t="51109" x="8736013" y="3454400"/>
          <p14:tracePt t="51110" x="8732838" y="3446463"/>
          <p14:tracePt t="51111" x="8732838" y="3443288"/>
          <p14:tracePt t="51112" x="8728075" y="3443288"/>
          <p14:tracePt t="51114" x="8720138" y="3430588"/>
          <p14:tracePt t="51115" x="8720138" y="3427413"/>
          <p14:tracePt t="51116" x="8716963" y="3422650"/>
          <p14:tracePt t="51117" x="8712200" y="3419475"/>
          <p14:tracePt t="51118" x="8712200" y="3411538"/>
          <p14:tracePt t="51119" x="8709025" y="3406775"/>
          <p14:tracePt t="51120" x="8704263" y="3403600"/>
          <p14:tracePt t="51121" x="8701088" y="3398838"/>
          <p14:tracePt t="51122" x="8696325" y="3398838"/>
          <p14:tracePt t="51123" x="8696325" y="3395663"/>
          <p14:tracePt t="51124" x="8693150" y="3395663"/>
          <p14:tracePt t="51125" x="8693150" y="3390900"/>
          <p14:tracePt t="51126" x="8688388" y="3382963"/>
          <p14:tracePt t="51127" x="8685213" y="3378200"/>
          <p14:tracePt t="51129" x="8685213" y="3375025"/>
          <p14:tracePt t="51131" x="8677275" y="3362325"/>
          <p14:tracePt t="51132" x="8672513" y="3359150"/>
          <p14:tracePt t="51133" x="8672513" y="3354388"/>
          <p14:tracePt t="51134" x="8667750" y="3351213"/>
          <p14:tracePt t="51136" x="8659813" y="3343275"/>
          <p14:tracePt t="51137" x="8656638" y="3343275"/>
          <p14:tracePt t="51138" x="8651875" y="3338513"/>
          <p14:tracePt t="51139" x="8648700" y="3338513"/>
          <p14:tracePt t="51140" x="8643938" y="3335338"/>
          <p14:tracePt t="51141" x="8640763" y="3330575"/>
          <p14:tracePt t="51142" x="8640763" y="3327400"/>
          <p14:tracePt t="51143" x="8636000" y="3322638"/>
          <p14:tracePt t="51144" x="8632825" y="3319463"/>
          <p14:tracePt t="51145" x="8628063" y="3314700"/>
          <p14:tracePt t="51146" x="8624888" y="3311525"/>
          <p14:tracePt t="51147" x="8620125" y="3311525"/>
          <p14:tracePt t="51148" x="8616950" y="3306763"/>
          <p14:tracePt t="51149" x="8612188" y="3303588"/>
          <p14:tracePt t="51151" x="8604250" y="3298825"/>
          <p14:tracePt t="51152" x="8596313" y="3295650"/>
          <p14:tracePt t="51153" x="8593138" y="3290888"/>
          <p14:tracePt t="51154" x="8588375" y="3286125"/>
          <p14:tracePt t="51155" x="8580438" y="3282950"/>
          <p14:tracePt t="51156" x="8572500" y="3278188"/>
          <p14:tracePt t="51157" x="8567738" y="3275013"/>
          <p14:tracePt t="51158" x="8564563" y="3270250"/>
          <p14:tracePt t="51159" x="8556625" y="3267075"/>
          <p14:tracePt t="51160" x="8556625" y="3262313"/>
          <p14:tracePt t="51161" x="8551863" y="3259138"/>
          <p14:tracePt t="51162" x="8543925" y="3254375"/>
          <p14:tracePt t="51163" x="8532813" y="3251200"/>
          <p14:tracePt t="51164" x="8532813" y="3246438"/>
          <p14:tracePt t="51165" x="8528050" y="3246438"/>
          <p14:tracePt t="51167" x="8512175" y="3238500"/>
          <p14:tracePt t="51168" x="8509000" y="3235325"/>
          <p14:tracePt t="51169" x="8501063" y="3230563"/>
          <p14:tracePt t="51170" x="8496300" y="3227388"/>
          <p14:tracePt t="51171" x="8488363" y="3222625"/>
          <p14:tracePt t="51172" x="8480425" y="3219450"/>
          <p14:tracePt t="51173" x="8467725" y="3214688"/>
          <p14:tracePt t="51174" x="8459788" y="3214688"/>
          <p14:tracePt t="51175" x="8456613" y="3211513"/>
          <p14:tracePt t="51176" x="8443913" y="3206750"/>
          <p14:tracePt t="51177" x="8440738" y="3203575"/>
          <p14:tracePt t="51179" x="8432800" y="3198813"/>
          <p14:tracePt t="51179" x="8424863" y="3194050"/>
          <p14:tracePt t="51180" x="8416925" y="3194050"/>
          <p14:tracePt t="51182" x="8401050" y="3186113"/>
          <p14:tracePt t="51184" x="8388350" y="3178175"/>
          <p14:tracePt t="51185" x="8380413" y="3178175"/>
          <p14:tracePt t="51186" x="8367713" y="3175000"/>
          <p14:tracePt t="51187" x="8356600" y="3170238"/>
          <p14:tracePt t="51188" x="8348663" y="3167063"/>
          <p14:tracePt t="51189" x="8340725" y="3167063"/>
          <p14:tracePt t="51190" x="8332788" y="3162300"/>
          <p14:tracePt t="51191" x="8324850" y="3154363"/>
          <p14:tracePt t="51192" x="8307388" y="3151188"/>
          <p14:tracePt t="51193" x="8299450" y="3146425"/>
          <p14:tracePt t="51194" x="8288338" y="3146425"/>
          <p14:tracePt t="51195" x="8275638" y="3143250"/>
          <p14:tracePt t="51196" x="8267700" y="3138488"/>
          <p14:tracePt t="51197" x="8256588" y="3135313"/>
          <p14:tracePt t="51199" x="8232775" y="3130550"/>
          <p14:tracePt t="51201" x="8215313" y="3122613"/>
          <p14:tracePt t="51202" x="8199438" y="3114675"/>
          <p14:tracePt t="51203" x="8188325" y="3114675"/>
          <p14:tracePt t="51204" x="8180388" y="3111500"/>
          <p14:tracePt t="51205" x="8172450" y="3111500"/>
          <p14:tracePt t="51206" x="8156575" y="3106738"/>
          <p14:tracePt t="51207" x="8143875" y="3101975"/>
          <p14:tracePt t="51208" x="8132763" y="3098800"/>
          <p14:tracePt t="51209" x="8123238" y="3098800"/>
          <p14:tracePt t="51210" x="8112125" y="3094038"/>
          <p14:tracePt t="51211" x="8104188" y="3094038"/>
          <p14:tracePt t="51212" x="8083550" y="3086100"/>
          <p14:tracePt t="51213" x="8075613" y="3082925"/>
          <p14:tracePt t="51216" x="8051800" y="3078163"/>
          <p14:tracePt t="51217" x="8035925" y="3078163"/>
          <p14:tracePt t="51218" x="8023225" y="3074988"/>
          <p14:tracePt t="51219" x="8015288" y="3074988"/>
          <p14:tracePt t="51220" x="8004175" y="3070225"/>
          <p14:tracePt t="51221" x="7991475" y="3070225"/>
          <p14:tracePt t="51222" x="7975600" y="3067050"/>
          <p14:tracePt t="51223" x="7967663" y="3067050"/>
          <p14:tracePt t="51224" x="7959725" y="3062288"/>
          <p14:tracePt t="51225" x="7951788" y="3062288"/>
          <p14:tracePt t="51226" x="7943850" y="3062288"/>
          <p14:tracePt t="51227" x="7935913" y="3059113"/>
          <p14:tracePt t="51229" x="7912100" y="3051175"/>
          <p14:tracePt t="51232" x="7883525" y="3046413"/>
          <p14:tracePt t="51233" x="7875588" y="3046413"/>
          <p14:tracePt t="51234" x="7867650" y="3046413"/>
          <p14:tracePt t="51235" x="7854950" y="3043238"/>
          <p14:tracePt t="51236" x="7847013" y="3043238"/>
          <p14:tracePt t="51237" x="7835900" y="3043238"/>
          <p14:tracePt t="51238" x="7827963" y="3038475"/>
          <p14:tracePt t="51239" x="7820025" y="3038475"/>
          <p14:tracePt t="51240" x="7812088" y="3035300"/>
          <p14:tracePt t="51241" x="7799388" y="3035300"/>
          <p14:tracePt t="51242" x="7791450" y="3035300"/>
          <p14:tracePt t="51243" x="7783513" y="3030538"/>
          <p14:tracePt t="51244" x="7775575" y="3030538"/>
          <p14:tracePt t="51246" x="7767638" y="3030538"/>
          <p14:tracePt t="51246" x="7759700" y="3030538"/>
          <p14:tracePt t="51247" x="7751763" y="3027363"/>
          <p14:tracePt t="51248" x="7743825" y="3027363"/>
          <p14:tracePt t="51249" x="7735888" y="3027363"/>
          <p14:tracePt t="51250" x="7727950" y="3027363"/>
          <p14:tracePt t="51251" x="7723188" y="3027363"/>
          <p14:tracePt t="51252" x="7712075" y="3022600"/>
          <p14:tracePt t="51253" x="7704138" y="3022600"/>
          <p14:tracePt t="51254" x="7699375" y="3022600"/>
          <p14:tracePt t="51255" x="7691438" y="3022600"/>
          <p14:tracePt t="51256" x="7683500" y="3022600"/>
          <p14:tracePt t="51257" x="7675563" y="3019425"/>
          <p14:tracePt t="51258" x="7667625" y="3019425"/>
          <p14:tracePt t="51259" x="7659688" y="3019425"/>
          <p14:tracePt t="51260" x="7654925" y="3019425"/>
          <p14:tracePt t="51261" x="7646988" y="3014663"/>
          <p14:tracePt t="51262" x="7639050" y="3014663"/>
          <p14:tracePt t="51263" x="7631113" y="3014663"/>
          <p14:tracePt t="51264" x="7627938" y="3014663"/>
          <p14:tracePt t="51265" x="7620000" y="3009900"/>
          <p14:tracePt t="51266" x="7612063" y="3009900"/>
          <p14:tracePt t="51267" x="7607300" y="3009900"/>
          <p14:tracePt t="51268" x="7599363" y="3009900"/>
          <p14:tracePt t="51269" x="7591425" y="3009900"/>
          <p14:tracePt t="51270" x="7578725" y="3006725"/>
          <p14:tracePt t="51272" x="7570788" y="3006725"/>
          <p14:tracePt t="51273" x="7562850" y="3006725"/>
          <p14:tracePt t="51274" x="7554913" y="3006725"/>
          <p14:tracePt t="51275" x="7551738" y="3001963"/>
          <p14:tracePt t="51276" x="7543800" y="3001963"/>
          <p14:tracePt t="51277" x="7539038" y="3001963"/>
          <p14:tracePt t="51279" x="7531100" y="3001963"/>
          <p14:tracePt t="51280" x="7523163" y="3001963"/>
          <p14:tracePt t="51280" x="7515225" y="3001963"/>
          <p14:tracePt t="51281" x="7512050" y="2998788"/>
          <p14:tracePt t="51282" x="7504113" y="2998788"/>
          <p14:tracePt t="51283" x="7494588" y="2998788"/>
          <p14:tracePt t="51284" x="7491413" y="2998788"/>
          <p14:tracePt t="51285" x="7483475" y="2998788"/>
          <p14:tracePt t="51286" x="7478713" y="2994025"/>
          <p14:tracePt t="51287" x="7470775" y="2994025"/>
          <p14:tracePt t="51288" x="7462838" y="2994025"/>
          <p14:tracePt t="51289" x="7459663" y="2990850"/>
          <p14:tracePt t="51290" x="7454900" y="2990850"/>
          <p14:tracePt t="51291" x="7446963" y="2990850"/>
          <p14:tracePt t="51292" x="7443788" y="2986088"/>
          <p14:tracePt t="51293" x="7439025" y="2986088"/>
          <p14:tracePt t="51294" x="7435850" y="2986088"/>
          <p14:tracePt t="51295" x="7431088" y="2986088"/>
          <p14:tracePt t="51296" x="7423150" y="2986088"/>
          <p14:tracePt t="51297" x="7419975" y="2982913"/>
          <p14:tracePt t="51298" x="7412038" y="2982913"/>
          <p14:tracePt t="51299" x="7407275" y="2982913"/>
          <p14:tracePt t="51300" x="7402513" y="2982913"/>
          <p14:tracePt t="51301" x="7399338" y="2982913"/>
          <p14:tracePt t="51302" x="7391400" y="2982913"/>
          <p14:tracePt t="51303" x="7386638" y="2982913"/>
          <p14:tracePt t="51304" x="7383463" y="2982913"/>
          <p14:tracePt t="51305" x="7375525" y="2982913"/>
          <p14:tracePt t="51307" x="7370763" y="2978150"/>
          <p14:tracePt t="51308" x="7367588" y="2978150"/>
          <p14:tracePt t="51309" x="7362825" y="2978150"/>
          <p14:tracePt t="51310" x="7359650" y="2978150"/>
          <p14:tracePt t="51311" x="7354888" y="2978150"/>
          <p14:tracePt t="51312" x="7346950" y="2974975"/>
          <p14:tracePt t="51314" x="7339013" y="2974975"/>
          <p14:tracePt t="51315" x="7335838" y="2974975"/>
          <p14:tracePt t="51316" x="7331075" y="2974975"/>
          <p14:tracePt t="51317" x="7327900" y="2970213"/>
          <p14:tracePt t="51319" x="7319963" y="2970213"/>
          <p14:tracePt t="51320" x="7315200" y="2970213"/>
          <p14:tracePt t="51321" x="7310438" y="2970213"/>
          <p14:tracePt t="51322" x="7307263" y="2970213"/>
          <p14:tracePt t="51324" x="7299325" y="2967038"/>
          <p14:tracePt t="51325" x="7294563" y="2967038"/>
          <p14:tracePt t="51326" x="7291388" y="2967038"/>
          <p14:tracePt t="51327" x="7286625" y="2967038"/>
          <p14:tracePt t="51328" x="7283450" y="2967038"/>
          <p14:tracePt t="51330" x="7278688" y="2967038"/>
          <p14:tracePt t="51331" x="7275513" y="2967038"/>
          <p14:tracePt t="51332" x="7270750" y="2967038"/>
          <p14:tracePt t="51333" x="7267575" y="2967038"/>
          <p14:tracePt t="51334" x="7262813" y="2967038"/>
          <p14:tracePt t="51335" x="7262813" y="2962275"/>
          <p14:tracePt t="51336" x="7259638" y="2962275"/>
          <p14:tracePt t="51338" x="7254875" y="2962275"/>
          <p14:tracePt t="51339" x="7251700" y="2962275"/>
          <p14:tracePt t="51340" x="7246938" y="2962275"/>
          <p14:tracePt t="51341" x="7243763" y="2962275"/>
          <p14:tracePt t="51343" x="7239000" y="2962275"/>
          <p14:tracePt t="51346" x="7231063" y="2962275"/>
          <p14:tracePt t="51348" x="7227888" y="2962275"/>
          <p14:tracePt t="51350" x="7223125" y="2962275"/>
          <p14:tracePt t="51351" x="7218363" y="2962275"/>
          <p14:tracePt t="51352" x="7215188" y="2962275"/>
          <p14:tracePt t="51354" x="7210425" y="2959100"/>
          <p14:tracePt t="51355" x="7207250" y="2959100"/>
          <p14:tracePt t="51356" x="7202488" y="2959100"/>
          <p14:tracePt t="51359" x="7199313" y="2959100"/>
          <p14:tracePt t="51361" x="7194550" y="2959100"/>
          <p14:tracePt t="51362" x="7191375" y="2959100"/>
          <p14:tracePt t="51364" x="7186613" y="2959100"/>
          <p14:tracePt t="51366" x="7183438" y="2954338"/>
          <p14:tracePt t="51367" x="7178675" y="2954338"/>
          <p14:tracePt t="51369" x="7175500" y="2954338"/>
          <p14:tracePt t="51370" x="7170738" y="2954338"/>
          <p14:tracePt t="51371" x="7167563" y="2954338"/>
          <p14:tracePt t="51373" x="7162800" y="2954338"/>
          <p14:tracePt t="51374" x="7159625" y="2954338"/>
          <p14:tracePt t="51376" x="7154863" y="2954338"/>
          <p14:tracePt t="51379" x="7151688" y="2951163"/>
          <p14:tracePt t="51380" x="7143750" y="2951163"/>
          <p14:tracePt t="51382" x="7138988" y="2951163"/>
          <p14:tracePt t="51383" x="7135813" y="2951163"/>
          <p14:tracePt t="51384" x="7131050" y="2951163"/>
          <p14:tracePt t="51385" x="7126288" y="2951163"/>
          <p14:tracePt t="51386" x="7123113" y="2946400"/>
          <p14:tracePt t="51387" x="7118350" y="2946400"/>
          <p14:tracePt t="51390" x="7110413" y="2946400"/>
          <p14:tracePt t="51391" x="7107238" y="2946400"/>
          <p14:tracePt t="51392" x="7102475" y="2946400"/>
          <p14:tracePt t="51393" x="7099300" y="2946400"/>
          <p14:tracePt t="51394" x="7094538" y="2946400"/>
          <p14:tracePt t="51395" x="7091363" y="2946400"/>
          <p14:tracePt t="51397" x="7086600" y="2946400"/>
          <p14:tracePt t="51398" x="7083425" y="2943225"/>
          <p14:tracePt t="51399" x="7078663" y="2943225"/>
          <p14:tracePt t="51400" x="7075488" y="2943225"/>
          <p14:tracePt t="51403" x="7070725" y="2943225"/>
          <p14:tracePt t="51405" x="7067550" y="2943225"/>
          <p14:tracePt t="51406" x="7062788" y="2943225"/>
          <p14:tracePt t="51408" x="7059613" y="2943225"/>
          <p14:tracePt t="51410" x="7054850" y="2943225"/>
          <p14:tracePt t="51412" x="7051675" y="2938463"/>
          <p14:tracePt t="51414" x="7046913" y="2938463"/>
          <p14:tracePt t="51415" x="7042150" y="2938463"/>
          <p14:tracePt t="51418" x="7038975" y="2938463"/>
          <p14:tracePt t="51421" x="7034213" y="2938463"/>
          <p14:tracePt t="51427" x="7031038" y="2938463"/>
          <p14:tracePt t="51429" x="7026275" y="2938463"/>
          <p14:tracePt t="51431" x="7026275" y="2935288"/>
          <p14:tracePt t="51433" x="7023100" y="2935288"/>
          <p14:tracePt t="51437" x="7018338" y="2935288"/>
          <p14:tracePt t="51441" x="7015163" y="2935288"/>
          <p14:tracePt t="51444" x="7010400" y="2935288"/>
          <p14:tracePt t="51446" x="7007225" y="2935288"/>
          <p14:tracePt t="51450" x="7002463" y="2935288"/>
          <p14:tracePt t="51456" x="6999288" y="2935288"/>
          <p14:tracePt t="51462" x="6994525" y="2935288"/>
          <p14:tracePt t="51468" x="6991350" y="2935288"/>
          <p14:tracePt t="51473" x="6986588" y="2935288"/>
          <p14:tracePt t="51480" x="6983413" y="2935288"/>
          <p14:tracePt t="51489" x="6978650" y="2935288"/>
          <p14:tracePt t="51493" x="6975475" y="2935288"/>
          <p14:tracePt t="51496" x="6970713" y="2935288"/>
          <p14:tracePt t="51500" x="6967538" y="2935288"/>
          <p14:tracePt t="51504" x="6962775" y="2935288"/>
          <p14:tracePt t="51511" x="6959600" y="2935288"/>
          <p14:tracePt t="51516" x="6954838" y="2935288"/>
          <p14:tracePt t="51524" x="6954838" y="2938463"/>
          <p14:tracePt t="51524" x="6950075" y="2938463"/>
          <p14:tracePt t="51526" x="6946900" y="2938463"/>
          <p14:tracePt t="51529" x="6942138" y="2938463"/>
          <p14:tracePt t="51532" x="6938963" y="2938463"/>
          <p14:tracePt t="51534" x="6934200" y="2938463"/>
          <p14:tracePt t="51537" x="6931025" y="2943225"/>
          <p14:tracePt t="51538" x="6926263" y="2943225"/>
          <p14:tracePt t="51540" x="6923088" y="2943225"/>
          <p14:tracePt t="51543" x="6918325" y="2943225"/>
          <p14:tracePt t="51545" x="6915150" y="2943225"/>
          <p14:tracePt t="51547" x="6910388" y="2946400"/>
          <p14:tracePt t="51550" x="6907213" y="2946400"/>
          <p14:tracePt t="51552" x="6902450" y="2946400"/>
          <p14:tracePt t="51554" x="6899275" y="2946400"/>
          <p14:tracePt t="51555" x="6894513" y="2946400"/>
          <p14:tracePt t="51556" x="6894513" y="2951163"/>
          <p14:tracePt t="51558" x="6886575" y="2951163"/>
          <p14:tracePt t="51560" x="6883400" y="2951163"/>
          <p14:tracePt t="51562" x="6878638" y="2954338"/>
          <p14:tracePt t="51563" x="6875463" y="2954338"/>
          <p14:tracePt t="51564" x="6870700" y="2954338"/>
          <p14:tracePt t="51566" x="6870700" y="2959100"/>
          <p14:tracePt t="51567" x="6867525" y="2959100"/>
          <p14:tracePt t="51568" x="6862763" y="2959100"/>
          <p14:tracePt t="51569" x="6858000" y="2959100"/>
          <p14:tracePt t="51570" x="6854825" y="2959100"/>
          <p14:tracePt t="51572" x="6850063" y="2959100"/>
          <p14:tracePt t="51573" x="6846888" y="2959100"/>
          <p14:tracePt t="51574" x="6842125" y="2959100"/>
          <p14:tracePt t="51575" x="6838950" y="2959100"/>
          <p14:tracePt t="51577" x="6834188" y="2962275"/>
          <p14:tracePt t="51579" x="6831013" y="2962275"/>
          <p14:tracePt t="51580" x="6826250" y="2962275"/>
          <p14:tracePt t="51581" x="6823075" y="2962275"/>
          <p14:tracePt t="51582" x="6823075" y="2967038"/>
          <p14:tracePt t="51583" x="6818313" y="2967038"/>
          <p14:tracePt t="51584" x="6815138" y="2967038"/>
          <p14:tracePt t="51585" x="6810375" y="2970213"/>
          <p14:tracePt t="51586" x="6807200" y="2970213"/>
          <p14:tracePt t="51587" x="6802438" y="2970213"/>
          <p14:tracePt t="51588" x="6799263" y="2970213"/>
          <p14:tracePt t="51589" x="6794500" y="2974975"/>
          <p14:tracePt t="51590" x="6791325" y="2974975"/>
          <p14:tracePt t="51592" x="6786563" y="2974975"/>
          <p14:tracePt t="51593" x="6783388" y="2978150"/>
          <p14:tracePt t="51594" x="6778625" y="2978150"/>
          <p14:tracePt t="51595" x="6775450" y="2978150"/>
          <p14:tracePt t="51597" x="6765925" y="2982913"/>
          <p14:tracePt t="51598" x="6762750" y="2986088"/>
          <p14:tracePt t="51599" x="6757988" y="2986088"/>
          <p14:tracePt t="51600" x="6754813" y="2990850"/>
          <p14:tracePt t="51601" x="6746875" y="2990850"/>
          <p14:tracePt t="51603" x="6742113" y="2994025"/>
          <p14:tracePt t="51605" x="6731000" y="2998788"/>
          <p14:tracePt t="51606" x="6726238" y="2998788"/>
          <p14:tracePt t="51607" x="6723063" y="2998788"/>
          <p14:tracePt t="51608" x="6715125" y="2998788"/>
          <p14:tracePt t="51609" x="6710363" y="3001963"/>
          <p14:tracePt t="51610" x="6702425" y="3006725"/>
          <p14:tracePt t="51611" x="6699250" y="3006725"/>
          <p14:tracePt t="51612" x="6694488" y="3009900"/>
          <p14:tracePt t="51613" x="6686550" y="3009900"/>
          <p14:tracePt t="51614" x="6681788" y="3014663"/>
          <p14:tracePt t="51615" x="6681788" y="3019425"/>
          <p14:tracePt t="51616" x="6673850" y="3019425"/>
          <p14:tracePt t="51617" x="6670675" y="3022600"/>
          <p14:tracePt t="51618" x="6662738" y="3027363"/>
          <p14:tracePt t="51619" x="6657975" y="3027363"/>
          <p14:tracePt t="51620" x="6654800" y="3030538"/>
          <p14:tracePt t="51621" x="6646863" y="3030538"/>
          <p14:tracePt t="51622" x="6642100" y="3035300"/>
          <p14:tracePt t="51623" x="6634163" y="3038475"/>
          <p14:tracePt t="51624" x="6630988" y="3038475"/>
          <p14:tracePt t="51625" x="6626225" y="3043238"/>
          <p14:tracePt t="51626" x="6623050" y="3046413"/>
          <p14:tracePt t="51627" x="6615113" y="3046413"/>
          <p14:tracePt t="51629" x="6602413" y="3051175"/>
          <p14:tracePt t="51631" x="6599238" y="3051175"/>
          <p14:tracePt t="51632" x="6594475" y="3054350"/>
          <p14:tracePt t="51633" x="6586538" y="3059113"/>
          <p14:tracePt t="51634" x="6581775" y="3062288"/>
          <p14:tracePt t="51635" x="6578600" y="3062288"/>
          <p14:tracePt t="51636" x="6573838" y="3067050"/>
          <p14:tracePt t="51637" x="6565900" y="3067050"/>
          <p14:tracePt t="51638" x="6557963" y="3070225"/>
          <p14:tracePt t="51639" x="6554788" y="3074988"/>
          <p14:tracePt t="51640" x="6550025" y="3074988"/>
          <p14:tracePt t="51641" x="6546850" y="3078163"/>
          <p14:tracePt t="51642" x="6538913" y="3082925"/>
          <p14:tracePt t="51643" x="6534150" y="3082925"/>
          <p14:tracePt t="51644" x="6530975" y="3086100"/>
          <p14:tracePt t="51645" x="6526213" y="3090863"/>
          <p14:tracePt t="51646" x="6526213" y="3094038"/>
          <p14:tracePt t="51649" x="6510338" y="3098800"/>
          <p14:tracePt t="51650" x="6507163" y="3101975"/>
          <p14:tracePt t="51651" x="6502400" y="3101975"/>
          <p14:tracePt t="51652" x="6497638" y="3106738"/>
          <p14:tracePt t="51653" x="6494463" y="3111500"/>
          <p14:tracePt t="51654" x="6489700" y="3111500"/>
          <p14:tracePt t="51655" x="6486525" y="3111500"/>
          <p14:tracePt t="51657" x="6481763" y="3114675"/>
          <p14:tracePt t="51658" x="6478588" y="3119438"/>
          <p14:tracePt t="51660" x="6473825" y="3119438"/>
          <p14:tracePt t="51661" x="6473825" y="3122613"/>
          <p14:tracePt t="51662" x="6470650" y="3127375"/>
          <p14:tracePt t="51663" x="6465888" y="3127375"/>
          <p14:tracePt t="51665" x="6457950" y="3130550"/>
          <p14:tracePt t="51667" x="6454775" y="3135313"/>
          <p14:tracePt t="51668" x="6450013" y="3135313"/>
          <p14:tracePt t="51669" x="6446838" y="3138488"/>
          <p14:tracePt t="51671" x="6442075" y="3143250"/>
          <p14:tracePt t="51672" x="6438900" y="3143250"/>
          <p14:tracePt t="51673" x="6438900" y="3146425"/>
          <p14:tracePt t="51675" x="6434138" y="3146425"/>
          <p14:tracePt t="51676" x="6430963" y="3151188"/>
          <p14:tracePt t="51679" x="6426200" y="3151188"/>
          <p14:tracePt t="51680" x="6423025" y="3154363"/>
          <p14:tracePt t="51682" x="6418263" y="3154363"/>
          <p14:tracePt t="51683" x="6418263" y="3159125"/>
          <p14:tracePt t="51684" x="6415088" y="3159125"/>
          <p14:tracePt t="51685" x="6415088" y="3162300"/>
          <p14:tracePt t="51686" x="6410325" y="3162300"/>
          <p14:tracePt t="51687" x="6410325" y="3167063"/>
          <p14:tracePt t="51688" x="6405563" y="3167063"/>
          <p14:tracePt t="51690" x="6402388" y="3170238"/>
          <p14:tracePt t="51692" x="6397625" y="3170238"/>
          <p14:tracePt t="51693" x="6397625" y="3175000"/>
          <p14:tracePt t="51696" x="6397625" y="3178175"/>
          <p14:tracePt t="51697" x="6394450" y="3178175"/>
          <p14:tracePt t="51699" x="6394450" y="3182938"/>
          <p14:tracePt t="51700" x="6389688" y="3182938"/>
          <p14:tracePt t="51701" x="6389688" y="3186113"/>
          <p14:tracePt t="51702" x="6386513" y="3186113"/>
          <p14:tracePt t="51704" x="6386513" y="3190875"/>
          <p14:tracePt t="51706" x="6381750" y="3190875"/>
          <p14:tracePt t="51710" x="6378575" y="3194050"/>
          <p14:tracePt t="51714" x="6378575" y="3198813"/>
          <p14:tracePt t="51716" x="6373813" y="3198813"/>
          <p14:tracePt t="51717" x="6373813" y="3203575"/>
          <p14:tracePt t="51720" x="6373813" y="3206750"/>
          <p14:tracePt t="51721" x="6370638" y="3206750"/>
          <p14:tracePt t="51723" x="6370638" y="3211513"/>
          <p14:tracePt t="51729" x="6365875" y="3214688"/>
          <p14:tracePt t="51731" x="6365875" y="3219450"/>
          <p14:tracePt t="51733" x="6365875" y="3222625"/>
          <p14:tracePt t="51736" x="6365875" y="3227388"/>
          <p14:tracePt t="51741" x="6365875" y="3230563"/>
          <p14:tracePt t="51742" x="6362700" y="3230563"/>
          <p14:tracePt t="51747" x="6362700" y="3235325"/>
          <p14:tracePt t="51750" x="6362700" y="3238500"/>
          <p14:tracePt t="51752" x="6362700" y="3243263"/>
          <p14:tracePt t="51753" x="6357938" y="3243263"/>
          <p14:tracePt t="51756" x="6357938" y="3246438"/>
          <p14:tracePt t="51760" x="6357938" y="3251200"/>
          <p14:tracePt t="51761" x="6357938" y="3254375"/>
          <p14:tracePt t="51763" x="6357938" y="3259138"/>
          <p14:tracePt t="51765" x="6357938" y="3262313"/>
          <p14:tracePt t="51767" x="6357938" y="3267075"/>
          <p14:tracePt t="51769" x="6357938" y="3270250"/>
          <p14:tracePt t="51773" x="6357938" y="3275013"/>
          <p14:tracePt t="51775" x="6357938" y="3278188"/>
          <p14:tracePt t="51777" x="6357938" y="3282950"/>
          <p14:tracePt t="51779" x="6357938" y="3286125"/>
          <p14:tracePt t="51780" x="6357938" y="3290888"/>
          <p14:tracePt t="51782" x="6357938" y="3295650"/>
          <p14:tracePt t="51783" x="6357938" y="3298825"/>
          <p14:tracePt t="51785" x="6357938" y="3303588"/>
          <p14:tracePt t="51786" x="6357938" y="3306763"/>
          <p14:tracePt t="51788" x="6357938" y="3311525"/>
          <p14:tracePt t="51789" x="6362700" y="3311525"/>
          <p14:tracePt t="51792" x="6362700" y="3314700"/>
          <p14:tracePt t="51794" x="6365875" y="3319463"/>
          <p14:tracePt t="51795" x="6365875" y="3322638"/>
          <p14:tracePt t="51796" x="6370638" y="3327400"/>
          <p14:tracePt t="51798" x="6370638" y="3330575"/>
          <p14:tracePt t="51799" x="6373813" y="3330575"/>
          <p14:tracePt t="51800" x="6373813" y="3335338"/>
          <p14:tracePt t="51802" x="6373813" y="3338513"/>
          <p14:tracePt t="51803" x="6378575" y="3338513"/>
          <p14:tracePt t="51804" x="6378575" y="3343275"/>
          <p14:tracePt t="51806" x="6381750" y="3346450"/>
          <p14:tracePt t="51808" x="6386513" y="3351213"/>
          <p14:tracePt t="51811" x="6389688" y="3351213"/>
          <p14:tracePt t="51812" x="6389688" y="3354388"/>
          <p14:tracePt t="51814" x="6394450" y="3359150"/>
          <p14:tracePt t="51816" x="6394450" y="3362325"/>
          <p14:tracePt t="51818" x="6397625" y="3367088"/>
          <p14:tracePt t="51820" x="6402388" y="3370263"/>
          <p14:tracePt t="51821" x="6405563" y="3370263"/>
          <p14:tracePt t="51823" x="6405563" y="3375025"/>
          <p14:tracePt t="51824" x="6410325" y="3375025"/>
          <p14:tracePt t="51825" x="6410325" y="3378200"/>
          <p14:tracePt t="51826" x="6415088" y="3382963"/>
          <p14:tracePt t="51827" x="6418263" y="3382963"/>
          <p14:tracePt t="51829" x="6418263" y="3387725"/>
          <p14:tracePt t="51829" x="6423025" y="3390900"/>
          <p14:tracePt t="51831" x="6426200" y="3390900"/>
          <p14:tracePt t="51832" x="6430963" y="3395663"/>
          <p14:tracePt t="51834" x="6434138" y="3395663"/>
          <p14:tracePt t="51835" x="6434138" y="3398838"/>
          <p14:tracePt t="51837" x="6438900" y="3403600"/>
          <p14:tracePt t="51838" x="6442075" y="3403600"/>
          <p14:tracePt t="51839" x="6442075" y="3406775"/>
          <p14:tracePt t="51840" x="6446838" y="3411538"/>
          <p14:tracePt t="51841" x="6450013" y="3411538"/>
          <p14:tracePt t="51842" x="6454775" y="3414713"/>
          <p14:tracePt t="51843" x="6454775" y="3419475"/>
          <p14:tracePt t="51844" x="6457950" y="3422650"/>
          <p14:tracePt t="51845" x="6462713" y="3422650"/>
          <p14:tracePt t="51846" x="6465888" y="3427413"/>
          <p14:tracePt t="51847" x="6470650" y="3430588"/>
          <p14:tracePt t="51848" x="6473825" y="3435350"/>
          <p14:tracePt t="51850" x="6478588" y="3435350"/>
          <p14:tracePt t="51851" x="6481763" y="3438525"/>
          <p14:tracePt t="51852" x="6486525" y="3443288"/>
          <p14:tracePt t="51853" x="6489700" y="3443288"/>
          <p14:tracePt t="51854" x="6494463" y="3446463"/>
          <p14:tracePt t="51855" x="6502400" y="3451225"/>
          <p14:tracePt t="51856" x="6507163" y="3454400"/>
          <p14:tracePt t="51857" x="6515100" y="3454400"/>
          <p14:tracePt t="51858" x="6518275" y="3459163"/>
          <p14:tracePt t="51859" x="6523038" y="3462338"/>
          <p14:tracePt t="51860" x="6526213" y="3467100"/>
          <p14:tracePt t="51861" x="6534150" y="3470275"/>
          <p14:tracePt t="51862" x="6538913" y="3475038"/>
          <p14:tracePt t="51863" x="6546850" y="3479800"/>
          <p14:tracePt t="51864" x="6546850" y="3482975"/>
          <p14:tracePt t="51865" x="6554788" y="3482975"/>
          <p14:tracePt t="51866" x="6565900" y="3487738"/>
          <p14:tracePt t="51867" x="6573838" y="3490913"/>
          <p14:tracePt t="51868" x="6578600" y="3495675"/>
          <p14:tracePt t="51869" x="6586538" y="3498850"/>
          <p14:tracePt t="51870" x="6589713" y="3503613"/>
          <p14:tracePt t="51871" x="6599238" y="3506788"/>
          <p14:tracePt t="51872" x="6610350" y="3514725"/>
          <p14:tracePt t="51873" x="6618288" y="3519488"/>
          <p14:tracePt t="51874" x="6626225" y="3519488"/>
          <p14:tracePt t="51875" x="6638925" y="3522663"/>
          <p14:tracePt t="51876" x="6646863" y="3527425"/>
          <p14:tracePt t="51877" x="6657975" y="3538538"/>
          <p14:tracePt t="51879" x="6665913" y="3538538"/>
          <p14:tracePt t="51879" x="6678613" y="3543300"/>
          <p14:tracePt t="51880" x="6686550" y="3546475"/>
          <p14:tracePt t="51882" x="6707188" y="3554413"/>
          <p14:tracePt t="51883" x="6718300" y="3559175"/>
          <p14:tracePt t="51884" x="6731000" y="3562350"/>
          <p14:tracePt t="51886" x="6738938" y="3571875"/>
          <p14:tracePt t="51886" x="6750050" y="3575050"/>
          <p14:tracePt t="51887" x="6757988" y="3579813"/>
          <p14:tracePt t="51888" x="6770688" y="3582988"/>
          <p14:tracePt t="51889" x="6786563" y="3582988"/>
          <p14:tracePt t="51890" x="6794500" y="3587750"/>
          <p14:tracePt t="51891" x="6807200" y="3590925"/>
          <p14:tracePt t="51892" x="6823075" y="3595688"/>
          <p14:tracePt t="51893" x="6831013" y="3598863"/>
          <p14:tracePt t="51894" x="6842125" y="3598863"/>
          <p14:tracePt t="51895" x="6854825" y="3603625"/>
          <p14:tracePt t="51896" x="6862763" y="3603625"/>
          <p14:tracePt t="51898" x="6891338" y="3614738"/>
          <p14:tracePt t="51899" x="6899275" y="3614738"/>
          <p14:tracePt t="51902" x="6918325" y="3619500"/>
          <p14:tracePt t="51902" x="6938963" y="3619500"/>
          <p14:tracePt t="51903" x="6946900" y="3622675"/>
          <p14:tracePt t="51904" x="6962775" y="3622675"/>
          <p14:tracePt t="51905" x="6970713" y="3622675"/>
          <p14:tracePt t="51906" x="6978650" y="3627438"/>
          <p14:tracePt t="51907" x="6991350" y="3627438"/>
          <p14:tracePt t="51908" x="7007225" y="3630613"/>
          <p14:tracePt t="51909" x="7015163" y="3630613"/>
          <p14:tracePt t="51910" x="7026275" y="3638550"/>
          <p14:tracePt t="51911" x="7038975" y="3638550"/>
          <p14:tracePt t="51912" x="7051675" y="3638550"/>
          <p14:tracePt t="51913" x="7059613" y="3643313"/>
          <p14:tracePt t="51914" x="7075488" y="3643313"/>
          <p14:tracePt t="51915" x="7083425" y="3643313"/>
          <p14:tracePt t="51916" x="7091363" y="3643313"/>
          <p14:tracePt t="51917" x="7102475" y="3643313"/>
          <p14:tracePt t="51918" x="7110413" y="3646488"/>
          <p14:tracePt t="51919" x="7126288" y="3646488"/>
          <p14:tracePt t="51920" x="7135813" y="3646488"/>
          <p14:tracePt t="51921" x="7143750" y="3646488"/>
          <p14:tracePt t="51922" x="7151688" y="3646488"/>
          <p14:tracePt t="51923" x="7159625" y="3646488"/>
          <p14:tracePt t="51924" x="7170738" y="3646488"/>
          <p14:tracePt t="51925" x="7178675" y="3646488"/>
          <p14:tracePt t="51926" x="7186613" y="3646488"/>
          <p14:tracePt t="51927" x="7194550" y="3646488"/>
          <p14:tracePt t="51929" x="7202488" y="3646488"/>
          <p14:tracePt t="51929" x="7215188" y="3646488"/>
          <p14:tracePt t="51931" x="7223125" y="3646488"/>
          <p14:tracePt t="51933" x="7239000" y="3646488"/>
          <p14:tracePt t="51934" x="7251700" y="3646488"/>
          <p14:tracePt t="51935" x="7259638" y="3646488"/>
          <p14:tracePt t="51937" x="7267575" y="3646488"/>
          <p14:tracePt t="51938" x="7275513" y="3646488"/>
          <p14:tracePt t="51939" x="7278688" y="3646488"/>
          <p14:tracePt t="51940" x="7283450" y="3646488"/>
          <p14:tracePt t="51941" x="7291388" y="3646488"/>
          <p14:tracePt t="51942" x="7294563" y="3646488"/>
          <p14:tracePt t="51943" x="7299325" y="3646488"/>
          <p14:tracePt t="51944" x="7307263" y="3646488"/>
          <p14:tracePt t="51945" x="7310438" y="3646488"/>
          <p14:tracePt t="51946" x="7315200" y="3646488"/>
          <p14:tracePt t="51947" x="7319963" y="3646488"/>
          <p14:tracePt t="51948" x="7327900" y="3646488"/>
          <p14:tracePt t="51949" x="7331075" y="3646488"/>
          <p14:tracePt t="51950" x="7331075" y="3643313"/>
          <p14:tracePt t="51952" x="7335838" y="3643313"/>
          <p14:tracePt t="51952" x="7339013" y="3643313"/>
          <p14:tracePt t="51953" x="7343775" y="3643313"/>
          <p14:tracePt t="51954" x="7346950" y="3638550"/>
          <p14:tracePt t="51955" x="7351713" y="3638550"/>
          <p14:tracePt t="51956" x="7354888" y="3638550"/>
          <p14:tracePt t="51957" x="7359650" y="3638550"/>
          <p14:tracePt t="51958" x="7362825" y="3638550"/>
          <p14:tracePt t="51959" x="7367588" y="3635375"/>
          <p14:tracePt t="51960" x="7370763" y="3635375"/>
          <p14:tracePt t="51962" x="7375525" y="3635375"/>
          <p14:tracePt t="51964" x="7378700" y="3635375"/>
          <p14:tracePt t="51965" x="7383463" y="3630613"/>
          <p14:tracePt t="51966" x="7386638" y="3630613"/>
          <p14:tracePt t="51967" x="7391400" y="3630613"/>
          <p14:tracePt t="51968" x="7394575" y="3630613"/>
          <p14:tracePt t="51970" x="7399338" y="3630613"/>
          <p14:tracePt t="51972" x="7402513" y="3630613"/>
          <p14:tracePt t="51973" x="7407275" y="3627438"/>
          <p14:tracePt t="51975" x="7412038" y="3627438"/>
          <p14:tracePt t="51979" x="7419975" y="3622675"/>
          <p14:tracePt t="51981" x="7423150" y="3622675"/>
          <p14:tracePt t="51982" x="7427913" y="3622675"/>
          <p14:tracePt t="51983" x="7431088" y="3622675"/>
          <p14:tracePt t="51984" x="7435850" y="3622675"/>
          <p14:tracePt t="51986" x="7439025" y="3622675"/>
          <p14:tracePt t="51987" x="7443788" y="3619500"/>
          <p14:tracePt t="51988" x="7446963" y="3619500"/>
          <p14:tracePt t="51989" x="7451725" y="3619500"/>
          <p14:tracePt t="51992" x="7454900" y="3619500"/>
          <p14:tracePt t="51993" x="7459663" y="3619500"/>
          <p14:tracePt t="51994" x="7462838" y="3619500"/>
          <p14:tracePt t="51995" x="7467600" y="3619500"/>
          <p14:tracePt t="51997" x="7475538" y="3619500"/>
          <p14:tracePt t="51998" x="7478713" y="3619500"/>
          <p14:tracePt t="51999" x="7483475" y="3619500"/>
          <p14:tracePt t="52000" x="7486650" y="3619500"/>
          <p14:tracePt t="52001" x="7491413" y="3619500"/>
          <p14:tracePt t="52003" x="7499350" y="3614738"/>
          <p14:tracePt t="52004" x="7504113" y="3614738"/>
          <p14:tracePt t="52005" x="7507288" y="3614738"/>
          <p14:tracePt t="52006" x="7515225" y="3614738"/>
          <p14:tracePt t="52007" x="7519988" y="3614738"/>
          <p14:tracePt t="52008" x="7523163" y="3614738"/>
          <p14:tracePt t="52009" x="7531100" y="3614738"/>
          <p14:tracePt t="52010" x="7535863" y="3614738"/>
          <p14:tracePt t="52011" x="7543800" y="3614738"/>
          <p14:tracePt t="52012" x="7546975" y="3614738"/>
          <p14:tracePt t="52013" x="7554913" y="3614738"/>
          <p14:tracePt t="52014" x="7559675" y="3614738"/>
          <p14:tracePt t="52015" x="7567613" y="3614738"/>
          <p14:tracePt t="52017" x="7570788" y="3614738"/>
          <p14:tracePt t="52018" x="7578725" y="3614738"/>
          <p14:tracePt t="52019" x="7588250" y="3614738"/>
          <p14:tracePt t="52020" x="7591425" y="3614738"/>
          <p14:tracePt t="52021" x="7596188" y="3614738"/>
          <p14:tracePt t="52022" x="7604125" y="3614738"/>
          <p14:tracePt t="52023" x="7607300" y="3614738"/>
          <p14:tracePt t="52024" x="7615238" y="3614738"/>
          <p14:tracePt t="52025" x="7623175" y="3614738"/>
          <p14:tracePt t="52026" x="7627938" y="3614738"/>
          <p14:tracePt t="52027" x="7631113" y="3614738"/>
          <p14:tracePt t="52029" x="7643813" y="3614738"/>
          <p14:tracePt t="52030" x="7651750" y="3614738"/>
          <p14:tracePt t="52031" x="7659688" y="3614738"/>
          <p14:tracePt t="52032" x="7667625" y="3614738"/>
          <p14:tracePt t="52034" x="7670800" y="3614738"/>
          <p14:tracePt t="52034" x="7683500" y="3614738"/>
          <p14:tracePt t="52035" x="7688263" y="3614738"/>
          <p14:tracePt t="52036" x="7696200" y="3614738"/>
          <p14:tracePt t="52038" x="7704138" y="3614738"/>
          <p14:tracePt t="52039" x="7712075" y="3614738"/>
          <p14:tracePt t="52040" x="7720013" y="3614738"/>
          <p14:tracePt t="52043" x="7739063" y="3614738"/>
          <p14:tracePt t="52044" x="7747000" y="3614738"/>
          <p14:tracePt t="52045" x="7754938" y="3614738"/>
          <p14:tracePt t="52046" x="7762875" y="3614738"/>
          <p14:tracePt t="52047" x="7767638" y="3611563"/>
          <p14:tracePt t="52048" x="7775575" y="3611563"/>
          <p14:tracePt t="52049" x="7783513" y="3611563"/>
          <p14:tracePt t="52050" x="7791450" y="3611563"/>
          <p14:tracePt t="52051" x="7796213" y="3611563"/>
          <p14:tracePt t="52052" x="7804150" y="3611563"/>
          <p14:tracePt t="52053" x="7812088" y="3611563"/>
          <p14:tracePt t="52054" x="7815263" y="3611563"/>
          <p14:tracePt t="52055" x="7823200" y="3611563"/>
          <p14:tracePt t="52056" x="7831138" y="3611563"/>
          <p14:tracePt t="52058" x="7843838" y="3611563"/>
          <p14:tracePt t="52060" x="7851775" y="3611563"/>
          <p14:tracePt t="52060" x="7859713" y="3611563"/>
          <p14:tracePt t="52061" x="7864475" y="3611563"/>
          <p14:tracePt t="52062" x="7872413" y="3611563"/>
          <p14:tracePt t="52063" x="7875588" y="3606800"/>
          <p14:tracePt t="52064" x="7883525" y="3606800"/>
          <p14:tracePt t="52065" x="7891463" y="3606800"/>
          <p14:tracePt t="52066" x="7896225" y="3606800"/>
          <p14:tracePt t="52067" x="7904163" y="3606800"/>
          <p14:tracePt t="52068" x="7907338" y="3606800"/>
          <p14:tracePt t="52069" x="7915275" y="3603625"/>
          <p14:tracePt t="52070" x="7923213" y="3603625"/>
          <p14:tracePt t="52071" x="7927975" y="3603625"/>
          <p14:tracePt t="52072" x="7935913" y="3603625"/>
          <p14:tracePt t="52073" x="7935913" y="3598863"/>
          <p14:tracePt t="52074" x="7943850" y="3598863"/>
          <p14:tracePt t="52075" x="7951788" y="3598863"/>
          <p14:tracePt t="52076" x="7959725" y="3598863"/>
          <p14:tracePt t="52077" x="7964488" y="3595688"/>
          <p14:tracePt t="52079" x="7972425" y="3595688"/>
          <p14:tracePt t="52079" x="7980363" y="3595688"/>
          <p14:tracePt t="52080" x="7988300" y="3595688"/>
          <p14:tracePt t="52081" x="7996238" y="3595688"/>
          <p14:tracePt t="52082" x="7999413" y="3595688"/>
          <p14:tracePt t="52083" x="8007350" y="3590925"/>
          <p14:tracePt t="52084" x="8015288" y="3590925"/>
          <p14:tracePt t="52085" x="8031163" y="3590925"/>
          <p14:tracePt t="52086" x="8040688" y="3590925"/>
          <p14:tracePt t="52087" x="8043863" y="3590925"/>
          <p14:tracePt t="52089" x="8059738" y="3587750"/>
          <p14:tracePt t="52090" x="8072438" y="3587750"/>
          <p14:tracePt t="52091" x="8080375" y="3587750"/>
          <p14:tracePt t="52092" x="8088313" y="3587750"/>
          <p14:tracePt t="52093" x="8099425" y="3582988"/>
          <p14:tracePt t="52094" x="8107363" y="3582988"/>
          <p14:tracePt t="52095" x="8115300" y="3582988"/>
          <p14:tracePt t="52096" x="8123238" y="3582988"/>
          <p14:tracePt t="52097" x="8132763" y="3582988"/>
          <p14:tracePt t="52098" x="8140700" y="3582988"/>
          <p14:tracePt t="52099" x="8148638" y="3582988"/>
          <p14:tracePt t="52100" x="8159750" y="3582988"/>
          <p14:tracePt t="52101" x="8167688" y="3582988"/>
          <p14:tracePt t="52102" x="8183563" y="3579813"/>
          <p14:tracePt t="52103" x="8191500" y="3579813"/>
          <p14:tracePt t="52104" x="8199438" y="3579813"/>
          <p14:tracePt t="52105" x="8207375" y="3579813"/>
          <p14:tracePt t="52106" x="8220075" y="3579813"/>
          <p14:tracePt t="52107" x="8228013" y="3579813"/>
          <p14:tracePt t="52108" x="8235950" y="3579813"/>
          <p14:tracePt t="52109" x="8248650" y="3575050"/>
          <p14:tracePt t="52110" x="8259763" y="3575050"/>
          <p14:tracePt t="52111" x="8267700" y="3575050"/>
          <p14:tracePt t="52112" x="8275638" y="3575050"/>
          <p14:tracePt t="52113" x="8283575" y="3567113"/>
          <p14:tracePt t="52114" x="8291513" y="3567113"/>
          <p14:tracePt t="52115" x="8307388" y="3567113"/>
          <p14:tracePt t="52116" x="8320088" y="3567113"/>
          <p14:tracePt t="52117" x="8328025" y="3567113"/>
          <p14:tracePt t="52118" x="8335963" y="3567113"/>
          <p14:tracePt t="52119" x="8348663" y="3562350"/>
          <p14:tracePt t="52120" x="8359775" y="3562350"/>
          <p14:tracePt t="52121" x="8367713" y="3562350"/>
          <p14:tracePt t="52122" x="8375650" y="3562350"/>
          <p14:tracePt t="52123" x="8383588" y="3562350"/>
          <p14:tracePt t="52124" x="8391525" y="3559175"/>
          <p14:tracePt t="52125" x="8401050" y="3559175"/>
          <p14:tracePt t="52126" x="8416925" y="3559175"/>
          <p14:tracePt t="52127" x="8424863" y="3559175"/>
          <p14:tracePt t="52129" x="8432800" y="3559175"/>
          <p14:tracePt t="52129" x="8440738" y="3554413"/>
          <p14:tracePt t="52130" x="8448675" y="3554413"/>
          <p14:tracePt t="52131" x="8456613" y="3554413"/>
          <p14:tracePt t="52132" x="8464550" y="3554413"/>
          <p14:tracePt t="52133" x="8472488" y="3554413"/>
          <p14:tracePt t="52134" x="8480425" y="3554413"/>
          <p14:tracePt t="52135" x="8488363" y="3551238"/>
          <p14:tracePt t="52136" x="8496300" y="3551238"/>
          <p14:tracePt t="52137" x="8509000" y="3551238"/>
          <p14:tracePt t="52139" x="8516938" y="3551238"/>
          <p14:tracePt t="52140" x="8520113" y="3546475"/>
          <p14:tracePt t="52141" x="8528050" y="3546475"/>
          <p14:tracePt t="52142" x="8532813" y="3546475"/>
          <p14:tracePt t="52143" x="8535988" y="3546475"/>
          <p14:tracePt t="52144" x="8540750" y="3543300"/>
          <p14:tracePt t="52145" x="8548688" y="3543300"/>
          <p14:tracePt t="52146" x="8551863" y="3543300"/>
          <p14:tracePt t="52147" x="8556625" y="3543300"/>
          <p14:tracePt t="52148" x="8559800" y="3538538"/>
          <p14:tracePt t="52149" x="8564563" y="3538538"/>
          <p14:tracePt t="52151" x="8567738" y="3538538"/>
          <p14:tracePt t="52152" x="8572500" y="3538538"/>
          <p14:tracePt t="52154" x="8575675" y="3538538"/>
          <p14:tracePt t="52156" x="8580438" y="3538538"/>
          <p14:tracePt t="52157" x="8580438" y="3535363"/>
          <p14:tracePt t="52158" x="8585200" y="3535363"/>
          <p14:tracePt t="52185" x="8588375" y="3530600"/>
          <p14:tracePt t="52189" x="8588375" y="3527425"/>
          <p14:tracePt t="52192" x="8588375" y="3522663"/>
          <p14:tracePt t="52195" x="8588375" y="3519488"/>
          <p14:tracePt t="52197" x="8588375" y="3514725"/>
          <p14:tracePt t="52198" x="8588375" y="3511550"/>
          <p14:tracePt t="52199" x="8588375" y="3506788"/>
          <p14:tracePt t="52201" x="8585200" y="3503613"/>
          <p14:tracePt t="52202" x="8585200" y="3498850"/>
          <p14:tracePt t="52203" x="8585200" y="3495675"/>
          <p14:tracePt t="52204" x="8580438" y="3495675"/>
          <p14:tracePt t="52205" x="8580438" y="3490913"/>
          <p14:tracePt t="52206" x="8575675" y="3487738"/>
          <p14:tracePt t="52207" x="8575675" y="3482975"/>
          <p14:tracePt t="52208" x="8572500" y="3479800"/>
          <p14:tracePt t="52209" x="8572500" y="3470275"/>
          <p14:tracePt t="52210" x="8567738" y="3467100"/>
          <p14:tracePt t="52211" x="8567738" y="3462338"/>
          <p14:tracePt t="52212" x="8567738" y="3459163"/>
          <p14:tracePt t="52214" x="8564563" y="3451225"/>
          <p14:tracePt t="52214" x="8559800" y="3446463"/>
          <p14:tracePt t="52215" x="8559800" y="3443288"/>
          <p14:tracePt t="52216" x="8556625" y="3438525"/>
          <p14:tracePt t="52217" x="8551863" y="3430588"/>
          <p14:tracePt t="52218" x="8548688" y="3430588"/>
          <p14:tracePt t="52219" x="8543925" y="3422650"/>
          <p14:tracePt t="52220" x="8540750" y="3419475"/>
          <p14:tracePt t="52221" x="8535988" y="3414713"/>
          <p14:tracePt t="52222" x="8528050" y="3403600"/>
          <p14:tracePt t="52223" x="8524875" y="3398838"/>
          <p14:tracePt t="52224" x="8520113" y="3390900"/>
          <p14:tracePt t="52225" x="8516938" y="3387725"/>
          <p14:tracePt t="52226" x="8512175" y="3378200"/>
          <p14:tracePt t="52227" x="8504238" y="3367088"/>
          <p14:tracePt t="52229" x="8493125" y="3359150"/>
          <p14:tracePt t="52230" x="8488363" y="3346450"/>
          <p14:tracePt t="52231" x="8480425" y="3343275"/>
          <p14:tracePt t="52232" x="8467725" y="3335338"/>
          <p14:tracePt t="52233" x="8464550" y="3327400"/>
          <p14:tracePt t="52234" x="8456613" y="3314700"/>
          <p14:tracePt t="52235" x="8448675" y="3306763"/>
          <p14:tracePt t="52236" x="8435975" y="3298825"/>
          <p14:tracePt t="52237" x="8432800" y="3290888"/>
          <p14:tracePt t="52238" x="8420100" y="3278188"/>
          <p14:tracePt t="52239" x="8408988" y="3275013"/>
          <p14:tracePt t="52240" x="8401050" y="3267075"/>
          <p14:tracePt t="52241" x="8388350" y="3259138"/>
          <p14:tracePt t="52242" x="8372475" y="3246438"/>
          <p14:tracePt t="52243" x="8364538" y="3238500"/>
          <p14:tracePt t="52244" x="8348663" y="3230563"/>
          <p14:tracePt t="52245" x="8335963" y="3219450"/>
          <p14:tracePt t="52246" x="8324850" y="3211513"/>
          <p14:tracePt t="52247" x="8312150" y="3198813"/>
          <p14:tracePt t="52248" x="8291513" y="3190875"/>
          <p14:tracePt t="52250" x="8267700" y="3170238"/>
          <p14:tracePt t="52251" x="8251825" y="3162300"/>
          <p14:tracePt t="52252" x="8232775" y="3151188"/>
          <p14:tracePt t="52253" x="8215313" y="3143250"/>
          <p14:tracePt t="52254" x="8204200" y="3130550"/>
          <p14:tracePt t="52255" x="8188325" y="3127375"/>
          <p14:tracePt t="52256" x="8175625" y="3119438"/>
          <p14:tracePt t="52257" x="8159750" y="3111500"/>
          <p14:tracePt t="52258" x="8140700" y="3098800"/>
          <p14:tracePt t="52259" x="8128000" y="3094038"/>
          <p14:tracePt t="52260" x="8112125" y="3082925"/>
          <p14:tracePt t="52261" x="8091488" y="3078163"/>
          <p14:tracePt t="52262" x="8072438" y="3070225"/>
          <p14:tracePt t="52263" x="8056563" y="3059113"/>
          <p14:tracePt t="52264" x="8043863" y="3054350"/>
          <p14:tracePt t="52266" x="8015288" y="3038475"/>
          <p14:tracePt t="52267" x="7999413" y="3035300"/>
          <p14:tracePt t="52268" x="7980363" y="3030538"/>
          <p14:tracePt t="52269" x="7967663" y="3022600"/>
          <p14:tracePt t="52270" x="7956550" y="3019425"/>
          <p14:tracePt t="52271" x="7943850" y="3009900"/>
          <p14:tracePt t="52272" x="7927975" y="3006725"/>
          <p14:tracePt t="52273" x="7907338" y="3001963"/>
          <p14:tracePt t="52274" x="7896225" y="2998788"/>
          <p14:tracePt t="52275" x="7888288" y="2994025"/>
          <p14:tracePt t="52276" x="7872413" y="2994025"/>
          <p14:tracePt t="52277" x="7859713" y="2990850"/>
          <p14:tracePt t="52279" x="7843838" y="2982913"/>
          <p14:tracePt t="52279" x="7831138" y="2978150"/>
          <p14:tracePt t="52280" x="7815263" y="2974975"/>
          <p14:tracePt t="52282" x="7796213" y="2970213"/>
          <p14:tracePt t="52283" x="7775575" y="2967038"/>
          <p14:tracePt t="52284" x="7767638" y="2962275"/>
          <p14:tracePt t="52285" x="7751763" y="2954338"/>
          <p14:tracePt t="52286" x="7739063" y="2951163"/>
          <p14:tracePt t="52287" x="7723188" y="2951163"/>
          <p14:tracePt t="52288" x="7704138" y="2951163"/>
          <p14:tracePt t="52289" x="7696200" y="2946400"/>
          <p14:tracePt t="52290" x="7683500" y="2946400"/>
          <p14:tracePt t="52291" x="7667625" y="2943225"/>
          <p14:tracePt t="52292" x="7654925" y="2938463"/>
          <p14:tracePt t="52293" x="7639050" y="2938463"/>
          <p14:tracePt t="52294" x="7627938" y="2935288"/>
          <p14:tracePt t="52295" x="7612063" y="2935288"/>
          <p14:tracePt t="52296" x="7604125" y="2927350"/>
          <p14:tracePt t="52297" x="7591425" y="2927350"/>
          <p14:tracePt t="52299" x="7562850" y="2927350"/>
          <p14:tracePt t="52300" x="7546975" y="2927350"/>
          <p14:tracePt t="52301" x="7539038" y="2927350"/>
          <p14:tracePt t="52302" x="7527925" y="2927350"/>
          <p14:tracePt t="52303" x="7515225" y="2927350"/>
          <p14:tracePt t="52304" x="7499350" y="2927350"/>
          <p14:tracePt t="52305" x="7486650" y="2922588"/>
          <p14:tracePt t="52306" x="7478713" y="2922588"/>
          <p14:tracePt t="52307" x="7462838" y="2922588"/>
          <p14:tracePt t="52308" x="7451725" y="2922588"/>
          <p14:tracePt t="52309" x="7443788" y="2922588"/>
          <p14:tracePt t="52310" x="7427913" y="2922588"/>
          <p14:tracePt t="52311" x="7419975" y="2922588"/>
          <p14:tracePt t="52312" x="7407275" y="2922588"/>
          <p14:tracePt t="52313" x="7391400" y="2922588"/>
          <p14:tracePt t="52314" x="7383463" y="2922588"/>
          <p14:tracePt t="52315" x="7370763" y="2922588"/>
          <p14:tracePt t="52316" x="7362825" y="2922588"/>
          <p14:tracePt t="52317" x="7354888" y="2922588"/>
          <p14:tracePt t="52318" x="7339013" y="2922588"/>
          <p14:tracePt t="52319" x="7327900" y="2922588"/>
          <p14:tracePt t="52320" x="7319963" y="2922588"/>
          <p14:tracePt t="52321" x="7310438" y="2922588"/>
          <p14:tracePt t="52322" x="7299325" y="2922588"/>
          <p14:tracePt t="52323" x="7286625" y="2922588"/>
          <p14:tracePt t="52324" x="7275513" y="2922588"/>
          <p14:tracePt t="52325" x="7267575" y="2922588"/>
          <p14:tracePt t="52326" x="7259638" y="2922588"/>
          <p14:tracePt t="52327" x="7251700" y="2922588"/>
          <p14:tracePt t="52329" x="7223125" y="2930525"/>
          <p14:tracePt t="52330" x="7215188" y="2935288"/>
          <p14:tracePt t="52331" x="7199313" y="2935288"/>
          <p14:tracePt t="52332" x="7191375" y="2935288"/>
          <p14:tracePt t="52333" x="7183438" y="2938463"/>
          <p14:tracePt t="52334" x="7170738" y="2938463"/>
          <p14:tracePt t="52335" x="7159625" y="2943225"/>
          <p14:tracePt t="52336" x="7151688" y="2943225"/>
          <p14:tracePt t="52337" x="7143750" y="2946400"/>
          <p14:tracePt t="52338" x="7135813" y="2946400"/>
          <p14:tracePt t="52339" x="7123113" y="2951163"/>
          <p14:tracePt t="52340" x="7115175" y="2951163"/>
          <p14:tracePt t="52341" x="7102475" y="2954338"/>
          <p14:tracePt t="52342" x="7094538" y="2954338"/>
          <p14:tracePt t="52343" x="7086600" y="2959100"/>
          <p14:tracePt t="52344" x="7075488" y="2962275"/>
          <p14:tracePt t="52345" x="7062788" y="2970213"/>
          <p14:tracePt t="52347" x="7051675" y="2970213"/>
          <p14:tracePt t="52348" x="7042150" y="2974975"/>
          <p14:tracePt t="52349" x="7031038" y="2982913"/>
          <p14:tracePt t="52350" x="7026275" y="2982913"/>
          <p14:tracePt t="52351" x="7018338" y="2986088"/>
          <p14:tracePt t="52352" x="7010400" y="2990850"/>
          <p14:tracePt t="52354" x="7002463" y="2994025"/>
          <p14:tracePt t="52354" x="6994525" y="2998788"/>
          <p14:tracePt t="52355" x="6983413" y="3001963"/>
          <p14:tracePt t="52356" x="6975475" y="3006725"/>
          <p14:tracePt t="52357" x="6970713" y="3009900"/>
          <p14:tracePt t="52358" x="6962775" y="3014663"/>
          <p14:tracePt t="52359" x="6954838" y="3019425"/>
          <p14:tracePt t="52360" x="6946900" y="3022600"/>
          <p14:tracePt t="52361" x="6938963" y="3027363"/>
          <p14:tracePt t="52362" x="6934200" y="3030538"/>
          <p14:tracePt t="52363" x="6926263" y="3035300"/>
          <p14:tracePt t="52365" x="6915150" y="3043238"/>
          <p14:tracePt t="52366" x="6907213" y="3051175"/>
          <p14:tracePt t="52367" x="6894513" y="3054350"/>
          <p14:tracePt t="52368" x="6886575" y="3059113"/>
          <p14:tracePt t="52369" x="6883400" y="3062288"/>
          <p14:tracePt t="52370" x="6870700" y="3067050"/>
          <p14:tracePt t="52371" x="6867525" y="3070225"/>
          <p14:tracePt t="52372" x="6858000" y="3074988"/>
          <p14:tracePt t="52373" x="6854825" y="3078163"/>
          <p14:tracePt t="52374" x="6846888" y="3086100"/>
          <p14:tracePt t="52375" x="6838950" y="3090863"/>
          <p14:tracePt t="52376" x="6834188" y="3094038"/>
          <p14:tracePt t="52377" x="6831013" y="3101975"/>
          <p14:tracePt t="52379" x="6818313" y="3111500"/>
          <p14:tracePt t="52380" x="6810375" y="3119438"/>
          <p14:tracePt t="52382" x="6802438" y="3127375"/>
          <p14:tracePt t="52384" x="6791325" y="3138488"/>
          <p14:tracePt t="52385" x="6786563" y="3143250"/>
          <p14:tracePt t="52386" x="6778625" y="3151188"/>
          <p14:tracePt t="52387" x="6775450" y="3154363"/>
          <p14:tracePt t="52388" x="6765925" y="3159125"/>
          <p14:tracePt t="52389" x="6757988" y="3170238"/>
          <p14:tracePt t="52390" x="6754813" y="3170238"/>
          <p14:tracePt t="52391" x="6746875" y="3175000"/>
          <p14:tracePt t="52392" x="6742113" y="3178175"/>
          <p14:tracePt t="52393" x="6738938" y="3186113"/>
          <p14:tracePt t="52394" x="6734175" y="3190875"/>
          <p14:tracePt t="52395" x="6731000" y="3194050"/>
          <p14:tracePt t="52396" x="6726238" y="3203575"/>
          <p14:tracePt t="52397" x="6723063" y="3206750"/>
          <p14:tracePt t="52398" x="6723063" y="3211513"/>
          <p14:tracePt t="52400" x="6715125" y="3222625"/>
          <p14:tracePt t="52401" x="6710363" y="3227388"/>
          <p14:tracePt t="52402" x="6707188" y="3230563"/>
          <p14:tracePt t="52403" x="6702425" y="3235325"/>
          <p14:tracePt t="52404" x="6699250" y="3238500"/>
          <p14:tracePt t="52405" x="6694488" y="3238500"/>
          <p14:tracePt t="52406" x="6694488" y="3243263"/>
          <p14:tracePt t="52407" x="6691313" y="3246438"/>
          <p14:tracePt t="52408" x="6686550" y="3251200"/>
          <p14:tracePt t="52409" x="6686550" y="3254375"/>
          <p14:tracePt t="52410" x="6681788" y="3259138"/>
          <p14:tracePt t="52411" x="6681788" y="3262313"/>
          <p14:tracePt t="52412" x="6678613" y="3267075"/>
          <p14:tracePt t="52413" x="6678613" y="3270250"/>
          <p14:tracePt t="52414" x="6678613" y="3275013"/>
          <p14:tracePt t="52416" x="6678613" y="3278188"/>
          <p14:tracePt t="52417" x="6673850" y="3278188"/>
          <p14:tracePt t="52418" x="6673850" y="3282950"/>
          <p14:tracePt t="52419" x="6673850" y="3286125"/>
          <p14:tracePt t="52420" x="6673850" y="3290888"/>
          <p14:tracePt t="52421" x="6673850" y="3295650"/>
          <p14:tracePt t="52422" x="6670675" y="3295650"/>
          <p14:tracePt t="52423" x="6670675" y="3298825"/>
          <p14:tracePt t="52424" x="6670675" y="3303588"/>
          <p14:tracePt t="52425" x="6670675" y="3306763"/>
          <p14:tracePt t="52427" x="6670675" y="3311525"/>
          <p14:tracePt t="52429" x="6670675" y="3314700"/>
          <p14:tracePt t="52431" x="6670675" y="3319463"/>
          <p14:tracePt t="52433" x="6665913" y="3319463"/>
          <p14:tracePt t="52435" x="6665913" y="3322638"/>
          <p14:tracePt t="52436" x="6665913" y="3327400"/>
          <p14:tracePt t="52439" x="6665913" y="3330575"/>
          <p14:tracePt t="52441" x="6665913" y="3335338"/>
          <p14:tracePt t="52443" x="6665913" y="3338513"/>
          <p14:tracePt t="52445" x="6665913" y="3343275"/>
          <p14:tracePt t="52447" x="6665913" y="3346450"/>
          <p14:tracePt t="52449" x="6665913" y="3351213"/>
          <p14:tracePt t="52450" x="6670675" y="3354388"/>
          <p14:tracePt t="52452" x="6670675" y="3359150"/>
          <p14:tracePt t="52453" x="6673850" y="3359150"/>
          <p14:tracePt t="52454" x="6673850" y="3362325"/>
          <p14:tracePt t="52456" x="6673850" y="3367088"/>
          <p14:tracePt t="52457" x="6678613" y="3370263"/>
          <p14:tracePt t="52458" x="6681788" y="3375025"/>
          <p14:tracePt t="52460" x="6686550" y="3378200"/>
          <p14:tracePt t="52461" x="6691313" y="3382963"/>
          <p14:tracePt t="52462" x="6694488" y="3387725"/>
          <p14:tracePt t="52463" x="6694488" y="3390900"/>
          <p14:tracePt t="52464" x="6699250" y="3395663"/>
          <p14:tracePt t="52465" x="6702425" y="3395663"/>
          <p14:tracePt t="52466" x="6710363" y="3403600"/>
          <p14:tracePt t="52467" x="6715125" y="3406775"/>
          <p14:tracePt t="52468" x="6718300" y="3406775"/>
          <p14:tracePt t="52469" x="6723063" y="3411538"/>
          <p14:tracePt t="52470" x="6731000" y="3419475"/>
          <p14:tracePt t="52471" x="6734175" y="3419475"/>
          <p14:tracePt t="52472" x="6734175" y="3422650"/>
          <p14:tracePt t="52473" x="6742113" y="3422650"/>
          <p14:tracePt t="52474" x="6746875" y="3427413"/>
          <p14:tracePt t="52475" x="6754813" y="3430588"/>
          <p14:tracePt t="52476" x="6765925" y="3443288"/>
          <p14:tracePt t="52477" x="6775450" y="3446463"/>
          <p14:tracePt t="52479" x="6786563" y="3454400"/>
          <p14:tracePt t="52481" x="6807200" y="3462338"/>
          <p14:tracePt t="52482" x="6818313" y="3467100"/>
          <p14:tracePt t="52483" x="6826250" y="3470275"/>
          <p14:tracePt t="52484" x="6834188" y="3475038"/>
          <p14:tracePt t="52485" x="6842125" y="3479800"/>
          <p14:tracePt t="52486" x="6858000" y="3482975"/>
          <p14:tracePt t="52487" x="6867525" y="3490913"/>
          <p14:tracePt t="52488" x="6875463" y="3495675"/>
          <p14:tracePt t="52489" x="6883400" y="3498850"/>
          <p14:tracePt t="52490" x="6899275" y="3503613"/>
          <p14:tracePt t="52491" x="6910388" y="3506788"/>
          <p14:tracePt t="52492" x="6918325" y="3511550"/>
          <p14:tracePt t="52493" x="6934200" y="3514725"/>
          <p14:tracePt t="52494" x="6942138" y="3519488"/>
          <p14:tracePt t="52495" x="6950075" y="3522663"/>
          <p14:tracePt t="52496" x="6970713" y="3530600"/>
          <p14:tracePt t="52497" x="6978650" y="3535363"/>
          <p14:tracePt t="52499" x="7002463" y="3543300"/>
          <p14:tracePt t="52500" x="7018338" y="3543300"/>
          <p14:tracePt t="52501" x="7034213" y="3546475"/>
          <p14:tracePt t="52502" x="7046913" y="3551238"/>
          <p14:tracePt t="52503" x="7059613" y="3559175"/>
          <p14:tracePt t="52504" x="7075488" y="3562350"/>
          <p14:tracePt t="52505" x="7083425" y="3562350"/>
          <p14:tracePt t="52506" x="7102475" y="3567113"/>
          <p14:tracePt t="52507" x="7115175" y="3571875"/>
          <p14:tracePt t="52508" x="7131050" y="3575050"/>
          <p14:tracePt t="52509" x="7143750" y="3575050"/>
          <p14:tracePt t="52510" x="7154863" y="3575050"/>
          <p14:tracePt t="52511" x="7170738" y="3579813"/>
          <p14:tracePt t="52512" x="7191375" y="3579813"/>
          <p14:tracePt t="52513" x="7202488" y="3587750"/>
          <p14:tracePt t="52514" x="7218363" y="3587750"/>
          <p14:tracePt t="52517" x="7262813" y="3590925"/>
          <p14:tracePt t="52518" x="7283450" y="3590925"/>
          <p14:tracePt t="52519" x="7299325" y="3590925"/>
          <p14:tracePt t="52520" x="7310438" y="3590925"/>
          <p14:tracePt t="52521" x="7331075" y="3595688"/>
          <p14:tracePt t="52522" x="7351713" y="3595688"/>
          <p14:tracePt t="52523" x="7362825" y="3595688"/>
          <p14:tracePt t="52524" x="7378700" y="3598863"/>
          <p14:tracePt t="52525" x="7391400" y="3598863"/>
          <p14:tracePt t="52526" x="7415213" y="3598863"/>
          <p14:tracePt t="52527" x="7431088" y="3598863"/>
          <p14:tracePt t="52529" x="7443788" y="3598863"/>
          <p14:tracePt t="52529" x="7459663" y="3598863"/>
          <p14:tracePt t="52531" x="7486650" y="3598863"/>
          <p14:tracePt t="52532" x="7512050" y="3598863"/>
          <p14:tracePt t="52533" x="7523163" y="3598863"/>
          <p14:tracePt t="52534" x="7539038" y="3598863"/>
          <p14:tracePt t="52535" x="7551738" y="3598863"/>
          <p14:tracePt t="52536" x="7570788" y="3598863"/>
          <p14:tracePt t="52537" x="7583488" y="3598863"/>
          <p14:tracePt t="52538" x="7599363" y="3598863"/>
          <p14:tracePt t="52539" x="7612063" y="3598863"/>
          <p14:tracePt t="52540" x="7627938" y="3598863"/>
          <p14:tracePt t="52541" x="7639050" y="3598863"/>
          <p14:tracePt t="52542" x="7659688" y="3598863"/>
          <p14:tracePt t="52543" x="7667625" y="3598863"/>
          <p14:tracePt t="52544" x="7680325" y="3598863"/>
          <p14:tracePt t="52545" x="7696200" y="3598863"/>
          <p14:tracePt t="52546" x="7704138" y="3598863"/>
          <p14:tracePt t="52547" x="7723188" y="3598863"/>
          <p14:tracePt t="52548" x="7731125" y="3598863"/>
          <p14:tracePt t="52549" x="7743825" y="3598863"/>
          <p14:tracePt t="52550" x="7751763" y="3595688"/>
          <p14:tracePt t="52551" x="7767638" y="3595688"/>
          <p14:tracePt t="52552" x="7780338" y="3590925"/>
          <p14:tracePt t="52553" x="7788275" y="3590925"/>
          <p14:tracePt t="52554" x="7796213" y="3587750"/>
          <p14:tracePt t="52555" x="7807325" y="3587750"/>
          <p14:tracePt t="52556" x="7815263" y="3582988"/>
          <p14:tracePt t="52557" x="7827963" y="3582988"/>
          <p14:tracePt t="52558" x="7835900" y="3575050"/>
          <p14:tracePt t="52559" x="7843838" y="3575050"/>
          <p14:tracePt t="52560" x="7854950" y="3571875"/>
          <p14:tracePt t="52562" x="7872413" y="3567113"/>
          <p14:tracePt t="52563" x="7875588" y="3567113"/>
          <p14:tracePt t="52565" x="7883525" y="3562350"/>
          <p14:tracePt t="52566" x="7888288" y="3559175"/>
          <p14:tracePt t="52567" x="7896225" y="3554413"/>
          <p14:tracePt t="52568" x="7899400" y="3554413"/>
          <p14:tracePt t="52569" x="7907338" y="3551238"/>
          <p14:tracePt t="52570" x="7912100" y="3551238"/>
          <p14:tracePt t="52571" x="7915275" y="3551238"/>
          <p14:tracePt t="52572" x="7920038" y="3551238"/>
          <p14:tracePt t="52573" x="7923213" y="3546475"/>
          <p14:tracePt t="52574" x="7927975" y="3546475"/>
          <p14:tracePt t="52575" x="7931150" y="3546475"/>
          <p14:tracePt t="52576" x="7931150" y="3543300"/>
          <p14:tracePt t="52577" x="7935913" y="3538538"/>
          <p14:tracePt t="52579" x="7939088" y="3535363"/>
          <p14:tracePt t="52581" x="7939088" y="3530600"/>
          <p14:tracePt t="52582" x="7943850" y="3530600"/>
          <p14:tracePt t="52583" x="7943850" y="3527425"/>
          <p14:tracePt t="52584" x="7948613" y="3527425"/>
          <p14:tracePt t="52586" x="7951788" y="3522663"/>
          <p14:tracePt t="52588" x="7951788" y="3519488"/>
          <p14:tracePt t="52590" x="7951788" y="3514725"/>
          <p14:tracePt t="52592" x="7951788" y="3511550"/>
          <p14:tracePt t="52598" x="7951788" y="3506788"/>
          <p14:tracePt t="52601" x="7951788" y="3503613"/>
          <p14:tracePt t="52603" x="7951788" y="3498850"/>
          <p14:tracePt t="52605" x="7951788" y="3495675"/>
          <p14:tracePt t="52607" x="7951788" y="3490913"/>
          <p14:tracePt t="52609" x="7951788" y="3487738"/>
          <p14:tracePt t="52612" x="7951788" y="3482975"/>
          <p14:tracePt t="52613" x="7948613" y="3479800"/>
          <p14:tracePt t="52615" x="7943850" y="3475038"/>
          <p14:tracePt t="52617" x="7943850" y="3470275"/>
          <p14:tracePt t="52619" x="7939088" y="3470275"/>
          <p14:tracePt t="52620" x="7935913" y="3467100"/>
          <p14:tracePt t="52621" x="7935913" y="3462338"/>
          <p14:tracePt t="52622" x="7931150" y="3462338"/>
          <p14:tracePt t="52623" x="7927975" y="3459163"/>
          <p14:tracePt t="52624" x="7923213" y="3454400"/>
          <p14:tracePt t="52625" x="7920038" y="3454400"/>
          <p14:tracePt t="52626" x="7920038" y="3451225"/>
          <p14:tracePt t="52627" x="7915275" y="3451225"/>
          <p14:tracePt t="52629" x="7904163" y="3443288"/>
          <p14:tracePt t="52630" x="7899400" y="3443288"/>
          <p14:tracePt t="52631" x="7896225" y="3438525"/>
          <p14:tracePt t="52632" x="7896225" y="3435350"/>
          <p14:tracePt t="52633" x="7888288" y="3435350"/>
          <p14:tracePt t="52634" x="7875588" y="3430588"/>
          <p14:tracePt t="52635" x="7872413" y="3427413"/>
          <p14:tracePt t="52636" x="7867650" y="3427413"/>
          <p14:tracePt t="52637" x="7864475" y="3427413"/>
          <p14:tracePt t="52638" x="7854950" y="3422650"/>
          <p14:tracePt t="52639" x="7851775" y="3419475"/>
          <p14:tracePt t="52640" x="7843838" y="3419475"/>
          <p14:tracePt t="52641" x="7835900" y="3419475"/>
          <p14:tracePt t="52642" x="7831138" y="3414713"/>
          <p14:tracePt t="52643" x="7823200" y="3414713"/>
          <p14:tracePt t="52644" x="7815263" y="3411538"/>
          <p14:tracePt t="52645" x="7812088" y="3411538"/>
          <p14:tracePt t="52646" x="7804150" y="3411538"/>
          <p14:tracePt t="52647" x="7799388" y="3406775"/>
          <p14:tracePt t="52648" x="7791450" y="3406775"/>
          <p14:tracePt t="52649" x="7788275" y="3406775"/>
          <p14:tracePt t="52650" x="7780338" y="3403600"/>
          <p14:tracePt t="52651" x="7775575" y="3403600"/>
          <p14:tracePt t="52652" x="7772400" y="3403600"/>
          <p14:tracePt t="52653" x="7762875" y="3403600"/>
          <p14:tracePt t="52654" x="7759700" y="3403600"/>
          <p14:tracePt t="52656" x="7751763" y="3398838"/>
          <p14:tracePt t="52657" x="7747000" y="3398838"/>
          <p14:tracePt t="52658" x="7739063" y="3398838"/>
          <p14:tracePt t="52659" x="7735888" y="3398838"/>
          <p14:tracePt t="52660" x="7731125" y="3398838"/>
          <p14:tracePt t="52661" x="7727950" y="3398838"/>
          <p14:tracePt t="52662" x="7723188" y="3398838"/>
          <p14:tracePt t="52663" x="7720013" y="3398838"/>
          <p14:tracePt t="52665" x="7715250" y="3398838"/>
          <p14:tracePt t="52665" x="7712075" y="3398838"/>
          <p14:tracePt t="52666" x="7707313" y="3398838"/>
          <p14:tracePt t="52667" x="7704138" y="3398838"/>
          <p14:tracePt t="52668" x="7699375" y="3398838"/>
          <p14:tracePt t="52669" x="7696200" y="3398838"/>
          <p14:tracePt t="52670" x="7691438" y="3398838"/>
          <p14:tracePt t="52671" x="7688263" y="3398838"/>
          <p14:tracePt t="52672" x="7683500" y="3398838"/>
          <p14:tracePt t="52673" x="7680325" y="3398838"/>
          <p14:tracePt t="52674" x="7675563" y="3398838"/>
          <p14:tracePt t="52675" x="7670800" y="3398838"/>
          <p14:tracePt t="52676" x="7667625" y="3398838"/>
          <p14:tracePt t="52677" x="7662863" y="3398838"/>
          <p14:tracePt t="52679" x="7651750" y="3398838"/>
          <p14:tracePt t="52681" x="7646988" y="3398838"/>
          <p14:tracePt t="52683" x="7639050" y="3403600"/>
          <p14:tracePt t="52684" x="7631113" y="3403600"/>
          <p14:tracePt t="52685" x="7627938" y="3403600"/>
          <p14:tracePt t="52686" x="7623175" y="3406775"/>
          <p14:tracePt t="52687" x="7620000" y="3406775"/>
          <p14:tracePt t="52688" x="7615238" y="3406775"/>
          <p14:tracePt t="52689" x="7607300" y="3406775"/>
          <p14:tracePt t="52690" x="7604125" y="3411538"/>
          <p14:tracePt t="52691" x="7599363" y="3411538"/>
          <p14:tracePt t="52693" x="7596188" y="3411538"/>
          <p14:tracePt t="52694" x="7588250" y="3411538"/>
          <p14:tracePt t="52695" x="7583488" y="3414713"/>
          <p14:tracePt t="52696" x="7578725" y="3414713"/>
          <p14:tracePt t="52697" x="7575550" y="3414713"/>
          <p14:tracePt t="52698" x="7570788" y="3414713"/>
          <p14:tracePt t="52699" x="7562850" y="3419475"/>
          <p14:tracePt t="52700" x="7559675" y="3419475"/>
          <p14:tracePt t="52701" x="7554913" y="3419475"/>
          <p14:tracePt t="52702" x="7546975" y="3419475"/>
          <p14:tracePt t="52703" x="7543800" y="3422650"/>
          <p14:tracePt t="52705" x="7539038" y="3422650"/>
          <p14:tracePt t="52706" x="7535863" y="3427413"/>
          <p14:tracePt t="52707" x="7531100" y="3427413"/>
          <p14:tracePt t="52708" x="7527925" y="3427413"/>
          <p14:tracePt t="52709" x="7523163" y="3430588"/>
          <p14:tracePt t="52710" x="7519988" y="3430588"/>
          <p14:tracePt t="52711" x="7515225" y="3430588"/>
          <p14:tracePt t="52712" x="7515225" y="3435350"/>
          <p14:tracePt t="52714" x="7507288" y="3435350"/>
          <p14:tracePt t="52715" x="7504113" y="3435350"/>
          <p14:tracePt t="52716" x="7499350" y="3435350"/>
          <p14:tracePt t="52718" x="7499350" y="3438525"/>
          <p14:tracePt t="52719" x="7494588" y="3438525"/>
          <p14:tracePt t="52721" x="7491413" y="3438525"/>
          <p14:tracePt t="52722" x="7491413" y="3443288"/>
          <p14:tracePt t="52723" x="7486650" y="3443288"/>
          <p14:tracePt t="52724" x="7483475" y="3443288"/>
          <p14:tracePt t="52726" x="7478713" y="3443288"/>
          <p14:tracePt t="52730" x="7475538" y="3446463"/>
          <p14:tracePt t="52733" x="7470775" y="3446463"/>
          <p14:tracePt t="52735" x="7470775" y="3451225"/>
          <p14:tracePt t="52742" x="7467600" y="3451225"/>
          <p14:tracePt t="52783" x="7467600" y="3454400"/>
          <p14:tracePt t="52822" x="7467600" y="3459163"/>
          <p14:tracePt t="52829" x="7470775" y="3462338"/>
          <p14:tracePt t="52833" x="7470775" y="3467100"/>
          <p14:tracePt t="52834" x="7475538" y="3467100"/>
          <p14:tracePt t="52836" x="7478713" y="3467100"/>
          <p14:tracePt t="52837" x="7478713" y="3470275"/>
          <p14:tracePt t="52840" x="7483475" y="3470275"/>
          <p14:tracePt t="52845" x="7483475" y="3475038"/>
          <p14:tracePt t="52846" x="7486650" y="3475038"/>
          <p14:tracePt t="52853" x="7491413" y="3475038"/>
          <p14:tracePt t="52858" x="7491413" y="3479800"/>
          <p14:tracePt t="53077" x="7494588" y="3479800"/>
          <p14:tracePt t="53179" x="7494588" y="3475038"/>
          <p14:tracePt t="53212" x="7494588" y="3470275"/>
          <p14:tracePt t="53214" x="7499350" y="3470275"/>
          <p14:tracePt t="53219" x="7504113" y="3470275"/>
          <p14:tracePt t="53221" x="7504113" y="3467100"/>
          <p14:tracePt t="53224" x="7507288" y="3467100"/>
          <p14:tracePt t="53226" x="7507288" y="3462338"/>
          <p14:tracePt t="53230" x="7512050" y="3462338"/>
          <p14:tracePt t="53232" x="7512050" y="3459163"/>
          <p14:tracePt t="53233" x="7515225" y="3459163"/>
          <p14:tracePt t="53237" x="7519988" y="3459163"/>
          <p14:tracePt t="53239" x="7519988" y="3454400"/>
          <p14:tracePt t="53242" x="7523163" y="3454400"/>
          <p14:tracePt t="53246" x="7527925" y="3454400"/>
          <p14:tracePt t="53247" x="7527925" y="3451225"/>
          <p14:tracePt t="53249" x="7531100" y="3451225"/>
          <p14:tracePt t="53251" x="7531100" y="3446463"/>
          <p14:tracePt t="53252" x="7535863" y="3446463"/>
          <p14:tracePt t="53255" x="7539038" y="3446463"/>
          <p14:tracePt t="53260" x="7543800" y="3446463"/>
          <p14:tracePt t="53261" x="7543800" y="3443288"/>
          <p14:tracePt t="53263" x="7546975" y="3443288"/>
          <p14:tracePt t="53265" x="7546975" y="3438525"/>
          <p14:tracePt t="53266" x="7551738" y="3438525"/>
          <p14:tracePt t="53268" x="7554913" y="3435350"/>
          <p14:tracePt t="53271" x="7559675" y="3435350"/>
          <p14:tracePt t="53275" x="7562850" y="3435350"/>
          <p14:tracePt t="53277" x="7562850" y="3430588"/>
          <p14:tracePt t="53279" x="7567613" y="3430588"/>
          <p14:tracePt t="53282" x="7567613" y="3427413"/>
          <p14:tracePt t="53284" x="7570788" y="3427413"/>
          <p14:tracePt t="53287" x="7575550" y="3422650"/>
          <p14:tracePt t="53289" x="7578725" y="3422650"/>
          <p14:tracePt t="53294" x="7578725" y="3419475"/>
          <p14:tracePt t="53295" x="7583488" y="3419475"/>
          <p14:tracePt t="53299" x="7588250" y="3414713"/>
          <p14:tracePt t="53302" x="7591425" y="3414713"/>
          <p14:tracePt t="53304" x="7596188" y="3411538"/>
          <p14:tracePt t="53307" x="7599363" y="3411538"/>
          <p14:tracePt t="53309" x="7599363" y="3406775"/>
          <p14:tracePt t="53311" x="7604125" y="3406775"/>
          <p14:tracePt t="53314" x="7607300" y="3403600"/>
          <p14:tracePt t="53316" x="7612063" y="3403600"/>
          <p14:tracePt t="53318" x="7615238" y="3403600"/>
          <p14:tracePt t="53321" x="7620000" y="3403600"/>
          <p14:tracePt t="53328" x="7623175" y="3403600"/>
          <p14:tracePt t="53330" x="7623175" y="3398838"/>
          <p14:tracePt t="53331" x="7627938" y="3398838"/>
          <p14:tracePt t="53334" x="7631113" y="3398838"/>
          <p14:tracePt t="53335" x="7635875" y="3398838"/>
          <p14:tracePt t="53337" x="7635875" y="3395663"/>
          <p14:tracePt t="53339" x="7639050" y="3395663"/>
          <p14:tracePt t="53342" x="7643813" y="3390900"/>
          <p14:tracePt t="53345" x="7646988" y="3390900"/>
          <p14:tracePt t="53347" x="7646988" y="3387725"/>
          <p14:tracePt t="53350" x="7651750" y="3387725"/>
          <p14:tracePt t="53355" x="7654925" y="3382963"/>
          <p14:tracePt t="53358" x="7659688" y="3378200"/>
          <p14:tracePt t="53363" x="7659688" y="3375025"/>
          <p14:tracePt t="53365" x="7659688" y="3370263"/>
          <p14:tracePt t="53367" x="7662863" y="3370263"/>
          <p14:tracePt t="53368" x="7662863" y="3367088"/>
          <p14:tracePt t="53369" x="7667625" y="3367088"/>
          <p14:tracePt t="53370" x="7667625" y="3362325"/>
          <p14:tracePt t="53372" x="7670800" y="3362325"/>
          <p14:tracePt t="53374" x="7675563" y="3362325"/>
          <p14:tracePt t="53375" x="7675563" y="3359150"/>
          <p14:tracePt t="53376" x="7675563" y="3354388"/>
          <p14:tracePt t="53377" x="7680325" y="3354388"/>
          <p14:tracePt t="53378" x="7680325" y="3351213"/>
          <p14:tracePt t="53379" x="7680325" y="3346450"/>
          <p14:tracePt t="53380" x="7683500" y="3346450"/>
          <p14:tracePt t="53381" x="7683500" y="3343275"/>
          <p14:tracePt t="53382" x="7683500" y="3338513"/>
          <p14:tracePt t="53383" x="7688263" y="3338513"/>
          <p14:tracePt t="53384" x="7691438" y="3330575"/>
          <p14:tracePt t="53385" x="7691438" y="3327400"/>
          <p14:tracePt t="53386" x="7696200" y="3327400"/>
          <p14:tracePt t="53387" x="7696200" y="3322638"/>
          <p14:tracePt t="53388" x="7699375" y="3319463"/>
          <p14:tracePt t="53389" x="7699375" y="3314700"/>
          <p14:tracePt t="53390" x="7704138" y="3314700"/>
          <p14:tracePt t="53391" x="7704138" y="3311525"/>
          <p14:tracePt t="53392" x="7704138" y="3306763"/>
          <p14:tracePt t="53393" x="7704138" y="3303588"/>
          <p14:tracePt t="53394" x="7707313" y="3298825"/>
          <p14:tracePt t="53395" x="7707313" y="3295650"/>
          <p14:tracePt t="53396" x="7712075" y="3290888"/>
          <p14:tracePt t="53397" x="7712075" y="3286125"/>
          <p14:tracePt t="53398" x="7712075" y="3282950"/>
          <p14:tracePt t="53399" x="7715250" y="3278188"/>
          <p14:tracePt t="53400" x="7715250" y="3270250"/>
          <p14:tracePt t="53401" x="7720013" y="3270250"/>
          <p14:tracePt t="53402" x="7720013" y="3267075"/>
          <p14:tracePt t="53403" x="7723188" y="3262313"/>
          <p14:tracePt t="53404" x="7727950" y="3254375"/>
          <p14:tracePt t="53405" x="7727950" y="3251200"/>
          <p14:tracePt t="53406" x="7731125" y="3246438"/>
          <p14:tracePt t="53407" x="7731125" y="3243263"/>
          <p14:tracePt t="53408" x="7735888" y="3235325"/>
          <p14:tracePt t="53409" x="7735888" y="3230563"/>
          <p14:tracePt t="53410" x="7739063" y="3222625"/>
          <p14:tracePt t="53411" x="7739063" y="3219450"/>
          <p14:tracePt t="53412" x="7743825" y="3211513"/>
          <p14:tracePt t="53413" x="7743825" y="3206750"/>
          <p14:tracePt t="53415" x="7751763" y="3190875"/>
          <p14:tracePt t="53416" x="7751763" y="3182938"/>
          <p14:tracePt t="53417" x="7754938" y="3178175"/>
          <p14:tracePt t="53418" x="7754938" y="3170238"/>
          <p14:tracePt t="53419" x="7754938" y="3162300"/>
          <p14:tracePt t="53420" x="7759700" y="3154363"/>
          <p14:tracePt t="53421" x="7762875" y="3151188"/>
          <p14:tracePt t="53422" x="7762875" y="3143250"/>
          <p14:tracePt t="53423" x="7762875" y="3135313"/>
          <p14:tracePt t="53424" x="7767638" y="3127375"/>
          <p14:tracePt t="53425" x="7767638" y="3119438"/>
          <p14:tracePt t="53426" x="7772400" y="3111500"/>
          <p14:tracePt t="53427" x="7772400" y="3101975"/>
          <p14:tracePt t="53429" x="7775575" y="3090863"/>
          <p14:tracePt t="53430" x="7775575" y="3078163"/>
          <p14:tracePt t="53431" x="7775575" y="3067050"/>
          <p14:tracePt t="53432" x="7780338" y="3059113"/>
          <p14:tracePt t="53433" x="7780338" y="3051175"/>
          <p14:tracePt t="53434" x="7780338" y="3043238"/>
          <p14:tracePt t="53435" x="7783513" y="3035300"/>
          <p14:tracePt t="53436" x="7783513" y="3027363"/>
          <p14:tracePt t="53437" x="7783513" y="3019425"/>
          <p14:tracePt t="53438" x="7783513" y="3014663"/>
          <p14:tracePt t="53439" x="7788275" y="3006725"/>
          <p14:tracePt t="53440" x="7788275" y="2994025"/>
          <p14:tracePt t="53441" x="7788275" y="2986088"/>
          <p14:tracePt t="53442" x="7788275" y="2982913"/>
          <p14:tracePt t="53443" x="7788275" y="2974975"/>
          <p14:tracePt t="53444" x="7788275" y="2967038"/>
          <p14:tracePt t="53445" x="7788275" y="2951163"/>
          <p14:tracePt t="53446" x="7788275" y="2943225"/>
          <p14:tracePt t="53447" x="7788275" y="2938463"/>
          <p14:tracePt t="53448" x="7788275" y="2930525"/>
          <p14:tracePt t="53449" x="7788275" y="2922588"/>
          <p14:tracePt t="53450" x="7788275" y="2909888"/>
          <p14:tracePt t="53451" x="7788275" y="2906713"/>
          <p14:tracePt t="53452" x="7788275" y="2898775"/>
          <p14:tracePt t="53453" x="7788275" y="2890838"/>
          <p14:tracePt t="53454" x="7788275" y="2882900"/>
          <p14:tracePt t="53455" x="7788275" y="2874963"/>
          <p14:tracePt t="53456" x="7788275" y="2859088"/>
          <p14:tracePt t="53458" x="7788275" y="2851150"/>
          <p14:tracePt t="53459" x="7788275" y="2843213"/>
          <p14:tracePt t="53460" x="7788275" y="2825750"/>
          <p14:tracePt t="53461" x="7788275" y="2817813"/>
          <p14:tracePt t="53462" x="7788275" y="2809875"/>
          <p14:tracePt t="53464" x="7788275" y="2798763"/>
          <p14:tracePt t="53465" x="7788275" y="2790825"/>
          <p14:tracePt t="53466" x="7788275" y="2778125"/>
          <p14:tracePt t="53467" x="7788275" y="2770188"/>
          <p14:tracePt t="53468" x="7788275" y="2762250"/>
          <p14:tracePt t="53469" x="7788275" y="2759075"/>
          <p14:tracePt t="53470" x="7783513" y="2741613"/>
          <p14:tracePt t="53471" x="7783513" y="2733675"/>
          <p14:tracePt t="53472" x="7783513" y="2725738"/>
          <p14:tracePt t="53473" x="7780338" y="2717800"/>
          <p14:tracePt t="53474" x="7780338" y="2709863"/>
          <p14:tracePt t="53475" x="7780338" y="2706688"/>
          <p14:tracePt t="53476" x="7775575" y="2693988"/>
          <p14:tracePt t="53477" x="7775575" y="2686050"/>
          <p14:tracePt t="53478" x="7772400" y="2678113"/>
          <p14:tracePt t="53479" x="7772400" y="2674938"/>
          <p14:tracePt t="53480" x="7767638" y="2662238"/>
          <p14:tracePt t="53481" x="7762875" y="2654300"/>
          <p14:tracePt t="53482" x="7762875" y="2649538"/>
          <p14:tracePt t="53483" x="7762875" y="2641600"/>
          <p14:tracePt t="53484" x="7759700" y="2633663"/>
          <p14:tracePt t="53485" x="7759700" y="2625725"/>
          <p14:tracePt t="53486" x="7754938" y="2614613"/>
          <p14:tracePt t="53487" x="7747000" y="2606675"/>
          <p14:tracePt t="53488" x="7747000" y="2601913"/>
          <p14:tracePt t="53489" x="7743825" y="2593975"/>
          <p14:tracePt t="53490" x="7743825" y="2590800"/>
          <p14:tracePt t="53491" x="7739063" y="2582863"/>
          <p14:tracePt t="53492" x="7739063" y="2574925"/>
          <p14:tracePt t="53493" x="7739063" y="2566988"/>
          <p14:tracePt t="53494" x="7739063" y="2562225"/>
          <p14:tracePt t="53495" x="7739063" y="2554288"/>
          <p14:tracePt t="53496" x="7731125" y="2546350"/>
          <p14:tracePt t="53497" x="7731125" y="2541588"/>
          <p14:tracePt t="53498" x="7731125" y="2538413"/>
          <p14:tracePt t="53499" x="7727950" y="2530475"/>
          <p14:tracePt t="53501" x="7727950" y="2522538"/>
          <p14:tracePt t="53502" x="7727950" y="2517775"/>
          <p14:tracePt t="53503" x="7727950" y="2509838"/>
          <p14:tracePt t="53504" x="7727950" y="2506663"/>
          <p14:tracePt t="53505" x="7723188" y="2501900"/>
          <p14:tracePt t="53506" x="7723188" y="2493963"/>
          <p14:tracePt t="53507" x="7723188" y="2490788"/>
          <p14:tracePt t="53508" x="7720013" y="2486025"/>
          <p14:tracePt t="53509" x="7720013" y="2478088"/>
          <p14:tracePt t="53510" x="7720013" y="2474913"/>
          <p14:tracePt t="53511" x="7715250" y="2470150"/>
          <p14:tracePt t="53513" x="7712075" y="2462213"/>
          <p14:tracePt t="53515" x="7707313" y="2454275"/>
          <p14:tracePt t="53516" x="7704138" y="2449513"/>
          <p14:tracePt t="53517" x="7704138" y="2446338"/>
          <p14:tracePt t="53518" x="7699375" y="2441575"/>
          <p14:tracePt t="53519" x="7699375" y="2438400"/>
          <p14:tracePt t="53520" x="7699375" y="2433638"/>
          <p14:tracePt t="53521" x="7696200" y="2425700"/>
          <p14:tracePt t="53522" x="7696200" y="2422525"/>
          <p14:tracePt t="53523" x="7691438" y="2417763"/>
          <p14:tracePt t="53524" x="7691438" y="2414588"/>
          <p14:tracePt t="53525" x="7688263" y="2409825"/>
          <p14:tracePt t="53527" x="7683500" y="2406650"/>
          <p14:tracePt t="53528" x="7683500" y="2401888"/>
          <p14:tracePt t="53529" x="7680325" y="2398713"/>
          <p14:tracePt t="53530" x="7680325" y="2393950"/>
          <p14:tracePt t="53532" x="7680325" y="2386013"/>
          <p14:tracePt t="53533" x="7675563" y="2382838"/>
          <p14:tracePt t="53534" x="7670800" y="2382838"/>
          <p14:tracePt t="53535" x="7670800" y="2378075"/>
          <p14:tracePt t="53536" x="7667625" y="2373313"/>
          <p14:tracePt t="53537" x="7667625" y="2370138"/>
          <p14:tracePt t="53538" x="7667625" y="2365375"/>
          <p14:tracePt t="53539" x="7662863" y="2365375"/>
          <p14:tracePt t="53541" x="7659688" y="2362200"/>
          <p14:tracePt t="53542" x="7659688" y="2357438"/>
          <p14:tracePt t="53543" x="7659688" y="2354263"/>
          <p14:tracePt t="53544" x="7654925" y="2354263"/>
          <p14:tracePt t="53546" x="7654925" y="2349500"/>
          <p14:tracePt t="53546" x="7651750" y="2346325"/>
          <p14:tracePt t="53548" x="7646988" y="2341563"/>
          <p14:tracePt t="53550" x="7643813" y="2338388"/>
          <p14:tracePt t="53552" x="7643813" y="2333625"/>
          <p14:tracePt t="53553" x="7639050" y="2333625"/>
          <p14:tracePt t="53554" x="7639050" y="2330450"/>
          <p14:tracePt t="53556" x="7639050" y="2325688"/>
          <p14:tracePt t="53558" x="7635875" y="2325688"/>
          <p14:tracePt t="53561" x="7635875" y="2322513"/>
          <p14:tracePt t="53562" x="7631113" y="2322513"/>
          <p14:tracePt t="53564" x="7631113" y="2317750"/>
          <p14:tracePt t="53567" x="7627938" y="2314575"/>
          <p14:tracePt t="53570" x="7623175" y="2309813"/>
          <p14:tracePt t="53576" x="7620000" y="2306638"/>
          <p14:tracePt t="53581" x="7620000" y="2301875"/>
          <p14:tracePt t="53583" x="7615238" y="2301875"/>
          <p14:tracePt t="53585" x="7615238" y="2298700"/>
          <p14:tracePt t="53589" x="7615238" y="2293938"/>
          <p14:tracePt t="53592" x="7612063" y="2290763"/>
          <p14:tracePt t="53594" x="7612063" y="2286000"/>
          <p14:tracePt t="53597" x="7607300" y="2286000"/>
          <p14:tracePt t="53599" x="7607300" y="2281238"/>
          <p14:tracePt t="53600" x="7604125" y="2281238"/>
          <p14:tracePt t="53601" x="7604125" y="2278063"/>
          <p14:tracePt t="53603" x="7599363" y="2273300"/>
          <p14:tracePt t="53605" x="7599363" y="2270125"/>
          <p14:tracePt t="53607" x="7596188" y="2265363"/>
          <p14:tracePt t="53608" x="7596188" y="2262188"/>
          <p14:tracePt t="53609" x="7596188" y="2257425"/>
          <p14:tracePt t="53611" x="7596188" y="2254250"/>
          <p14:tracePt t="53612" x="7596188" y="2249488"/>
          <p14:tracePt t="53614" x="7591425" y="2246313"/>
          <p14:tracePt t="53616" x="7588250" y="2246313"/>
          <p14:tracePt t="53617" x="7588250" y="2241550"/>
          <p14:tracePt t="53618" x="7588250" y="2238375"/>
          <p14:tracePt t="53619" x="7583488" y="2233613"/>
          <p14:tracePt t="53621" x="7583488" y="2230438"/>
          <p14:tracePt t="53622" x="7583488" y="2225675"/>
          <p14:tracePt t="53623" x="7578725" y="2225675"/>
          <p14:tracePt t="53624" x="7578725" y="2222500"/>
          <p14:tracePt t="53625" x="7578725" y="2217738"/>
          <p14:tracePt t="53626" x="7575550" y="2217738"/>
          <p14:tracePt t="53627" x="7575550" y="2214563"/>
          <p14:tracePt t="53628" x="7575550" y="2209800"/>
          <p14:tracePt t="53629" x="7570788" y="2206625"/>
          <p14:tracePt t="53631" x="7567613" y="2201863"/>
          <p14:tracePt t="53634" x="7567613" y="2198688"/>
          <p14:tracePt t="53635" x="7562850" y="2193925"/>
          <p14:tracePt t="53637" x="7562850" y="2189163"/>
          <p14:tracePt t="53638" x="7559675" y="2185988"/>
          <p14:tracePt t="53640" x="7554913" y="2181225"/>
          <p14:tracePt t="53641" x="7554913" y="2178050"/>
          <p14:tracePt t="53642" x="7554913" y="2173288"/>
          <p14:tracePt t="53643" x="7554913" y="2170113"/>
          <p14:tracePt t="53644" x="7551738" y="2170113"/>
          <p14:tracePt t="53646" x="7551738" y="2162175"/>
          <p14:tracePt t="53648" x="7546975" y="2162175"/>
          <p14:tracePt t="53649" x="7546975" y="2157413"/>
          <p14:tracePt t="53650" x="7543800" y="2154238"/>
          <p14:tracePt t="53652" x="7539038" y="2149475"/>
          <p14:tracePt t="53653" x="7539038" y="2146300"/>
          <p14:tracePt t="53654" x="7535863" y="2141538"/>
          <p14:tracePt t="53655" x="7535863" y="2138363"/>
          <p14:tracePt t="53656" x="7531100" y="2138363"/>
          <p14:tracePt t="53657" x="7531100" y="2133600"/>
          <p14:tracePt t="53658" x="7527925" y="2130425"/>
          <p14:tracePt t="53660" x="7527925" y="2125663"/>
          <p14:tracePt t="53661" x="7523163" y="2122488"/>
          <p14:tracePt t="53664" x="7519988" y="2117725"/>
          <p14:tracePt t="53665" x="7519988" y="2114550"/>
          <p14:tracePt t="53666" x="7515225" y="2109788"/>
          <p14:tracePt t="53667" x="7515225" y="2106613"/>
          <p14:tracePt t="53668" x="7515225" y="2101850"/>
          <p14:tracePt t="53669" x="7515225" y="2097088"/>
          <p14:tracePt t="53670" x="7515225" y="2093913"/>
          <p14:tracePt t="53671" x="7515225" y="2089150"/>
          <p14:tracePt t="53672" x="7512050" y="2085975"/>
          <p14:tracePt t="53674" x="7512050" y="2081213"/>
          <p14:tracePt t="53675" x="7507288" y="2081213"/>
          <p14:tracePt t="53676" x="7507288" y="2078038"/>
          <p14:tracePt t="53677" x="7504113" y="2073275"/>
          <p14:tracePt t="53679" x="7499350" y="2065338"/>
          <p14:tracePt t="53680" x="7499350" y="2062163"/>
          <p14:tracePt t="53681" x="7494588" y="2057400"/>
          <p14:tracePt t="53682" x="7494588" y="2054225"/>
          <p14:tracePt t="53683" x="7491413" y="2049463"/>
          <p14:tracePt t="53684" x="7486650" y="2046288"/>
          <p14:tracePt t="53685" x="7486650" y="2041525"/>
          <p14:tracePt t="53686" x="7483475" y="2038350"/>
          <p14:tracePt t="53688" x="7478713" y="2030413"/>
          <p14:tracePt t="53689" x="7475538" y="2025650"/>
          <p14:tracePt t="53690" x="7470775" y="2022475"/>
          <p14:tracePt t="53691" x="7470775" y="2017713"/>
          <p14:tracePt t="53692" x="7467600" y="2009775"/>
          <p14:tracePt t="53693" x="7467600" y="2005013"/>
          <p14:tracePt t="53694" x="7462838" y="1997075"/>
          <p14:tracePt t="53696" x="7454900" y="1985963"/>
          <p14:tracePt t="53697" x="7451725" y="1981200"/>
          <p14:tracePt t="53698" x="7446963" y="1973263"/>
          <p14:tracePt t="53699" x="7443788" y="1965325"/>
          <p14:tracePt t="53700" x="7431088" y="1957388"/>
          <p14:tracePt t="53701" x="7427913" y="1946275"/>
          <p14:tracePt t="53702" x="7423150" y="1941513"/>
          <p14:tracePt t="53703" x="7419975" y="1933575"/>
          <p14:tracePt t="53704" x="7412038" y="1925638"/>
          <p14:tracePt t="53705" x="7407275" y="1917700"/>
          <p14:tracePt t="53706" x="7402513" y="1909763"/>
          <p14:tracePt t="53707" x="7394575" y="1905000"/>
          <p14:tracePt t="53708" x="7391400" y="1897063"/>
          <p14:tracePt t="53709" x="7378700" y="1881188"/>
          <p14:tracePt t="53710" x="7375525" y="1878013"/>
          <p14:tracePt t="53711" x="7367588" y="1870075"/>
          <p14:tracePt t="53713" x="7362825" y="1862138"/>
          <p14:tracePt t="53713" x="7354888" y="1854200"/>
          <p14:tracePt t="53714" x="7346950" y="1841500"/>
          <p14:tracePt t="53717" x="7331075" y="1825625"/>
          <p14:tracePt t="53717" x="7327900" y="1817688"/>
          <p14:tracePt t="53718" x="7319963" y="1812925"/>
          <p14:tracePt t="53719" x="7315200" y="1797050"/>
          <p14:tracePt t="53720" x="7307263" y="1793875"/>
          <p14:tracePt t="53721" x="7302500" y="1785938"/>
          <p14:tracePt t="53722" x="7291388" y="1773238"/>
          <p14:tracePt t="53723" x="7283450" y="1765300"/>
          <p14:tracePt t="53724" x="7275513" y="1757363"/>
          <p14:tracePt t="53725" x="7262813" y="1749425"/>
          <p14:tracePt t="53726" x="7259638" y="1738313"/>
          <p14:tracePt t="53727" x="7251700" y="1733550"/>
          <p14:tracePt t="53729" x="7235825" y="1717675"/>
          <p14:tracePt t="53730" x="7223125" y="1704975"/>
          <p14:tracePt t="53731" x="7215188" y="1701800"/>
          <p14:tracePt t="53733" x="7202488" y="1685925"/>
          <p14:tracePt t="53734" x="7186613" y="1677988"/>
          <p14:tracePt t="53735" x="7183438" y="1673225"/>
          <p14:tracePt t="53736" x="7175500" y="1665288"/>
          <p14:tracePt t="53737" x="7167563" y="1657350"/>
          <p14:tracePt t="53738" x="7162800" y="1649413"/>
          <p14:tracePt t="53739" x="7154863" y="1644650"/>
          <p14:tracePt t="53740" x="7143750" y="1636713"/>
          <p14:tracePt t="53741" x="7135813" y="1633538"/>
          <p14:tracePt t="53742" x="7131050" y="1628775"/>
          <p14:tracePt t="53743" x="7123113" y="1620838"/>
          <p14:tracePt t="53744" x="7115175" y="1617663"/>
          <p14:tracePt t="53745" x="7110413" y="1609725"/>
          <p14:tracePt t="53746" x="7102475" y="1604963"/>
          <p14:tracePt t="53747" x="7099300" y="1601788"/>
          <p14:tracePt t="53749" x="7086600" y="1593850"/>
          <p14:tracePt t="53750" x="7083425" y="1589088"/>
          <p14:tracePt t="53751" x="7075488" y="1585913"/>
          <p14:tracePt t="53752" x="7070725" y="1581150"/>
          <p14:tracePt t="53753" x="7067550" y="1577975"/>
          <p14:tracePt t="53754" x="7059613" y="1573213"/>
          <p14:tracePt t="53755" x="7054850" y="1570038"/>
          <p14:tracePt t="53756" x="7051675" y="1570038"/>
          <p14:tracePt t="53757" x="7051675" y="1565275"/>
          <p14:tracePt t="53758" x="7046913" y="1562100"/>
          <p14:tracePt t="53759" x="7042150" y="1562100"/>
          <p14:tracePt t="53760" x="7038975" y="1557338"/>
          <p14:tracePt t="53761" x="7034213" y="1557338"/>
          <p14:tracePt t="53762" x="7031038" y="1552575"/>
          <p14:tracePt t="53763" x="7026275" y="1549400"/>
          <p14:tracePt t="53765" x="7023100" y="1549400"/>
          <p14:tracePt t="53766" x="7018338" y="1549400"/>
          <p14:tracePt t="53767" x="7015163" y="1544638"/>
          <p14:tracePt t="53768" x="7010400" y="1544638"/>
          <p14:tracePt t="53769" x="7010400" y="1541463"/>
          <p14:tracePt t="53772" x="7007225" y="1536700"/>
          <p14:tracePt t="53774" x="7002463" y="1536700"/>
          <p14:tracePt t="53775" x="6999288" y="1533525"/>
          <p14:tracePt t="53777" x="6994525" y="1533525"/>
          <p14:tracePt t="53778" x="6994525" y="1528763"/>
          <p14:tracePt t="53780" x="6991350" y="1528763"/>
          <p14:tracePt t="53782" x="6991350" y="1525588"/>
          <p14:tracePt t="53783" x="6986588" y="1525588"/>
          <p14:tracePt t="53786" x="6983413" y="1525588"/>
          <p14:tracePt t="53790" x="6978650" y="1525588"/>
          <p14:tracePt t="53812" x="6975475" y="1525588"/>
          <p14:tracePt t="53817" x="6970713" y="1525588"/>
          <p14:tracePt t="53822" x="6967538" y="1528763"/>
          <p14:tracePt t="53824" x="6962775" y="1528763"/>
          <p14:tracePt t="53825" x="6962775" y="1533525"/>
          <p14:tracePt t="53826" x="6959600" y="1533525"/>
          <p14:tracePt t="53828" x="6954838" y="1536700"/>
          <p14:tracePt t="53830" x="6950075" y="1541463"/>
          <p14:tracePt t="53831" x="6946900" y="1541463"/>
          <p14:tracePt t="53832" x="6942138" y="1544638"/>
          <p14:tracePt t="53834" x="6938963" y="1544638"/>
          <p14:tracePt t="53835" x="6934200" y="1549400"/>
          <p14:tracePt t="53836" x="6931025" y="1552575"/>
          <p14:tracePt t="53837" x="6926263" y="1552575"/>
          <p14:tracePt t="53838" x="6926263" y="1557338"/>
          <p14:tracePt t="53839" x="6926263" y="1562100"/>
          <p14:tracePt t="53840" x="6923088" y="1565275"/>
          <p14:tracePt t="53841" x="6918325" y="1570038"/>
          <p14:tracePt t="53842" x="6918325" y="1573213"/>
          <p14:tracePt t="53843" x="6915150" y="1577975"/>
          <p14:tracePt t="53844" x="6910388" y="1577975"/>
          <p14:tracePt t="53846" x="6907213" y="1581150"/>
          <p14:tracePt t="53847" x="6902450" y="1589088"/>
          <p14:tracePt t="53848" x="6894513" y="1597025"/>
          <p14:tracePt t="53850" x="6891338" y="1601788"/>
          <p14:tracePt t="53851" x="6886575" y="1604963"/>
          <p14:tracePt t="53852" x="6883400" y="1609725"/>
          <p14:tracePt t="53853" x="6883400" y="1612900"/>
          <p14:tracePt t="53854" x="6878638" y="1617663"/>
          <p14:tracePt t="53855" x="6875463" y="1620838"/>
          <p14:tracePt t="53856" x="6870700" y="1628775"/>
          <p14:tracePt t="53857" x="6867525" y="1633538"/>
          <p14:tracePt t="53858" x="6862763" y="1636713"/>
          <p14:tracePt t="53859" x="6862763" y="1641475"/>
          <p14:tracePt t="53860" x="6858000" y="1644650"/>
          <p14:tracePt t="53861" x="6854825" y="1644650"/>
          <p14:tracePt t="53862" x="6850063" y="1649413"/>
          <p14:tracePt t="53863" x="6846888" y="1654175"/>
          <p14:tracePt t="53865" x="6842125" y="1657350"/>
          <p14:tracePt t="53865" x="6838950" y="1662113"/>
          <p14:tracePt t="53866" x="6838950" y="1665288"/>
          <p14:tracePt t="53867" x="6834188" y="1670050"/>
          <p14:tracePt t="53868" x="6831013" y="1673225"/>
          <p14:tracePt t="53869" x="6831013" y="1677988"/>
          <p14:tracePt t="53870" x="6826250" y="1681163"/>
          <p14:tracePt t="53871" x="6823075" y="1685925"/>
          <p14:tracePt t="53872" x="6818313" y="1685925"/>
          <p14:tracePt t="53873" x="6815138" y="1689100"/>
          <p14:tracePt t="53874" x="6810375" y="1693863"/>
          <p14:tracePt t="53876" x="6807200" y="1701800"/>
          <p14:tracePt t="53877" x="6802438" y="1701800"/>
          <p14:tracePt t="53878" x="6802438" y="1704975"/>
          <p14:tracePt t="53879" x="6799263" y="1709738"/>
          <p14:tracePt t="53880" x="6794500" y="1712913"/>
          <p14:tracePt t="53881" x="6794500" y="1717675"/>
          <p14:tracePt t="53883" x="6794500" y="1725613"/>
          <p14:tracePt t="53884" x="6791325" y="1728788"/>
          <p14:tracePt t="53885" x="6791325" y="1733550"/>
          <p14:tracePt t="53896" x="6775450" y="1762125"/>
          <p14:tracePt t="53897" x="6775450" y="1765300"/>
          <p14:tracePt t="53899" x="6775450" y="1770063"/>
          <p14:tracePt t="53901" x="6775450" y="1773238"/>
          <p14:tracePt t="53902" x="6770688" y="1773238"/>
          <p14:tracePt t="53904" x="6770688" y="1778000"/>
          <p14:tracePt t="53906" x="6770688" y="1781175"/>
          <p14:tracePt t="53907" x="6770688" y="1785938"/>
          <p14:tracePt t="53909" x="6770688" y="1789113"/>
          <p14:tracePt t="53911" x="6770688" y="1793875"/>
          <p14:tracePt t="53913" x="6770688" y="1797050"/>
          <p14:tracePt t="53915" x="6770688" y="1801813"/>
          <p14:tracePt t="53916" x="6770688" y="1804988"/>
          <p14:tracePt t="53917" x="6770688" y="1809750"/>
          <p14:tracePt t="53919" x="6770688" y="1812925"/>
          <p14:tracePt t="53922" x="6770688" y="1817688"/>
          <p14:tracePt t="53923" x="6770688" y="1820863"/>
          <p14:tracePt t="53925" x="6770688" y="1825625"/>
          <p14:tracePt t="53926" x="6770688" y="1830388"/>
          <p14:tracePt t="53927" x="6775450" y="1833563"/>
          <p14:tracePt t="53929" x="6775450" y="1838325"/>
          <p14:tracePt t="53930" x="6775450" y="1841500"/>
          <p14:tracePt t="53931" x="6775450" y="1846263"/>
          <p14:tracePt t="53933" x="6778625" y="1854200"/>
          <p14:tracePt t="53935" x="6778625" y="1857375"/>
          <p14:tracePt t="53936" x="6783388" y="1857375"/>
          <p14:tracePt t="53937" x="6783388" y="1862138"/>
          <p14:tracePt t="53938" x="6783388" y="1865313"/>
          <p14:tracePt t="53939" x="6786563" y="1870075"/>
          <p14:tracePt t="53940" x="6786563" y="1873250"/>
          <p14:tracePt t="53941" x="6786563" y="1878013"/>
          <p14:tracePt t="53942" x="6791325" y="1878013"/>
          <p14:tracePt t="53943" x="6791325" y="1881188"/>
          <p14:tracePt t="53944" x="6791325" y="1885950"/>
          <p14:tracePt t="53945" x="6791325" y="1889125"/>
          <p14:tracePt t="53947" x="6791325" y="1893888"/>
          <p14:tracePt t="53948" x="6794500" y="1897063"/>
          <p14:tracePt t="53950" x="6794500" y="1901825"/>
          <p14:tracePt t="53951" x="6799263" y="1905000"/>
          <p14:tracePt t="53952" x="6799263" y="1909763"/>
          <p14:tracePt t="53954" x="6802438" y="1912938"/>
          <p14:tracePt t="53956" x="6807200" y="1917700"/>
          <p14:tracePt t="53957" x="6807200" y="1922463"/>
          <p14:tracePt t="53958" x="6810375" y="1925638"/>
          <p14:tracePt t="53959" x="6810375" y="1930400"/>
          <p14:tracePt t="53961" x="6815138" y="1933575"/>
          <p14:tracePt t="53963" x="6815138" y="1938338"/>
          <p14:tracePt t="53964" x="6818313" y="1938338"/>
          <p14:tracePt t="53965" x="6818313" y="1941513"/>
          <p14:tracePt t="53966" x="6823075" y="1946275"/>
          <p14:tracePt t="53967" x="6823075" y="1949450"/>
          <p14:tracePt t="53968" x="6826250" y="1949450"/>
          <p14:tracePt t="53969" x="6826250" y="1954213"/>
          <p14:tracePt t="53970" x="6831013" y="1954213"/>
          <p14:tracePt t="53971" x="6831013" y="1957388"/>
          <p14:tracePt t="53973" x="6831013" y="1962150"/>
          <p14:tracePt t="53974" x="6834188" y="1965325"/>
          <p14:tracePt t="53975" x="6838950" y="1970088"/>
          <p14:tracePt t="53977" x="6842125" y="1973263"/>
          <p14:tracePt t="53979" x="6850063" y="1978025"/>
          <p14:tracePt t="53980" x="6850063" y="1981200"/>
          <p14:tracePt t="53981" x="6854825" y="1985963"/>
          <p14:tracePt t="53982" x="6858000" y="1985963"/>
          <p14:tracePt t="53983" x="6867525" y="1989138"/>
          <p14:tracePt t="53984" x="6870700" y="1993900"/>
          <p14:tracePt t="53985" x="6875463" y="1997075"/>
          <p14:tracePt t="53986" x="6878638" y="2001838"/>
          <p14:tracePt t="53987" x="6878638" y="2005013"/>
          <p14:tracePt t="53988" x="6886575" y="2009775"/>
          <p14:tracePt t="53989" x="6891338" y="2014538"/>
          <p14:tracePt t="53990" x="6899275" y="2017713"/>
          <p14:tracePt t="53991" x="6902450" y="2022475"/>
          <p14:tracePt t="53992" x="6910388" y="2025650"/>
          <p14:tracePt t="53993" x="6918325" y="2030413"/>
          <p14:tracePt t="53994" x="6931025" y="2033588"/>
          <p14:tracePt t="53995" x="6938963" y="2038350"/>
          <p14:tracePt t="53996" x="6946900" y="2041525"/>
          <p14:tracePt t="53997" x="6954838" y="2046288"/>
          <p14:tracePt t="53999" x="6975475" y="2054225"/>
          <p14:tracePt t="54000" x="6983413" y="2057400"/>
          <p14:tracePt t="54001" x="6991350" y="2065338"/>
          <p14:tracePt t="54002" x="6999288" y="2070100"/>
          <p14:tracePt t="54003" x="7015163" y="2078038"/>
          <p14:tracePt t="54004" x="7026275" y="2081213"/>
          <p14:tracePt t="54005" x="7034213" y="2085975"/>
          <p14:tracePt t="54006" x="7051675" y="2089150"/>
          <p14:tracePt t="54007" x="7059613" y="2097088"/>
          <p14:tracePt t="54008" x="7075488" y="2101850"/>
          <p14:tracePt t="54009" x="7086600" y="2106613"/>
          <p14:tracePt t="54010" x="7094538" y="2114550"/>
          <p14:tracePt t="54011" x="7110413" y="2117725"/>
          <p14:tracePt t="54012" x="7123113" y="2117725"/>
          <p14:tracePt t="54013" x="7138988" y="2125663"/>
          <p14:tracePt t="54014" x="7159625" y="2133600"/>
          <p14:tracePt t="54017" x="7186613" y="2141538"/>
          <p14:tracePt t="54018" x="7218363" y="2154238"/>
          <p14:tracePt t="54019" x="7235825" y="2157413"/>
          <p14:tracePt t="54020" x="7254875" y="2162175"/>
          <p14:tracePt t="54021" x="7267575" y="2165350"/>
          <p14:tracePt t="54022" x="7283450" y="2173288"/>
          <p14:tracePt t="54023" x="7302500" y="2178050"/>
          <p14:tracePt t="54024" x="7323138" y="2181225"/>
          <p14:tracePt t="54025" x="7343775" y="2185988"/>
          <p14:tracePt t="54026" x="7354888" y="2189163"/>
          <p14:tracePt t="54027" x="7375525" y="2198688"/>
          <p14:tracePt t="54028" x="7394575" y="2201863"/>
          <p14:tracePt t="54029" x="7415213" y="2206625"/>
          <p14:tracePt t="54030" x="7435850" y="2206625"/>
          <p14:tracePt t="54031" x="7454900" y="2209800"/>
          <p14:tracePt t="54033" x="7486650" y="2217738"/>
          <p14:tracePt t="54034" x="7515225" y="2222500"/>
          <p14:tracePt t="54035" x="7535863" y="2225675"/>
          <p14:tracePt t="54036" x="7551738" y="2225675"/>
          <p14:tracePt t="54037" x="7567613" y="2230438"/>
          <p14:tracePt t="54038" x="7588250" y="2238375"/>
          <p14:tracePt t="54039" x="7612063" y="2238375"/>
          <p14:tracePt t="54040" x="7631113" y="2241550"/>
          <p14:tracePt t="54041" x="7651750" y="2241550"/>
          <p14:tracePt t="54042" x="7670800" y="2241550"/>
          <p14:tracePt t="54043" x="7691438" y="2241550"/>
          <p14:tracePt t="54044" x="7715250" y="2246313"/>
          <p14:tracePt t="54046" x="7735888" y="2246313"/>
          <p14:tracePt t="54046" x="7747000" y="2246313"/>
          <p14:tracePt t="54047" x="7767638" y="2249488"/>
          <p14:tracePt t="54049" x="7815263" y="2249488"/>
          <p14:tracePt t="54050" x="7827963" y="2249488"/>
          <p14:tracePt t="54051" x="7847013" y="2257425"/>
          <p14:tracePt t="54052" x="7867650" y="2257425"/>
          <p14:tracePt t="54053" x="7880350" y="2257425"/>
          <p14:tracePt t="54054" x="7904163" y="2257425"/>
          <p14:tracePt t="54055" x="7923213" y="2257425"/>
          <p14:tracePt t="54056" x="7939088" y="2257425"/>
          <p14:tracePt t="54057" x="7956550" y="2257425"/>
          <p14:tracePt t="54058" x="7975600" y="2257425"/>
          <p14:tracePt t="54059" x="7996238" y="2257425"/>
          <p14:tracePt t="54060" x="8015288" y="2257425"/>
          <p14:tracePt t="54061" x="8027988" y="2257425"/>
          <p14:tracePt t="54062" x="8048625" y="2257425"/>
          <p14:tracePt t="54064" x="8080375" y="2257425"/>
          <p14:tracePt t="54065" x="8099425" y="2257425"/>
          <p14:tracePt t="54066" x="8112125" y="2257425"/>
          <p14:tracePt t="54067" x="8128000" y="2257425"/>
          <p14:tracePt t="54068" x="8140700" y="2257425"/>
          <p14:tracePt t="54069" x="8159750" y="2257425"/>
          <p14:tracePt t="54070" x="8172450" y="2257425"/>
          <p14:tracePt t="54071" x="8188325" y="2257425"/>
          <p14:tracePt t="54072" x="8199438" y="2257425"/>
          <p14:tracePt t="54073" x="8207375" y="2257425"/>
          <p14:tracePt t="54074" x="8228013" y="2254250"/>
          <p14:tracePt t="54075" x="8235950" y="2254250"/>
          <p14:tracePt t="54076" x="8251825" y="2254250"/>
          <p14:tracePt t="54077" x="8259763" y="2254250"/>
          <p14:tracePt t="54078" x="8267700" y="2249488"/>
          <p14:tracePt t="54079" x="8280400" y="2249488"/>
          <p14:tracePt t="54080" x="8288338" y="2249488"/>
          <p14:tracePt t="54081" x="8304213" y="2246313"/>
          <p14:tracePt t="54082" x="8312150" y="2246313"/>
          <p14:tracePt t="54083" x="8320088" y="2241550"/>
          <p14:tracePt t="54084" x="8328025" y="2241550"/>
          <p14:tracePt t="54085" x="8335963" y="2241550"/>
          <p14:tracePt t="54086" x="8343900" y="2238375"/>
          <p14:tracePt t="54087" x="8348663" y="2238375"/>
          <p14:tracePt t="54088" x="8356600" y="2233613"/>
          <p14:tracePt t="54089" x="8364538" y="2233613"/>
          <p14:tracePt t="54090" x="8367713" y="2230438"/>
          <p14:tracePt t="54091" x="8372475" y="2230438"/>
          <p14:tracePt t="54092" x="8375650" y="2225675"/>
          <p14:tracePt t="54093" x="8380413" y="2225675"/>
          <p14:tracePt t="54094" x="8388350" y="2222500"/>
          <p14:tracePt t="54096" x="8391525" y="2222500"/>
          <p14:tracePt t="54097" x="8401050" y="2217738"/>
          <p14:tracePt t="54098" x="8404225" y="2214563"/>
          <p14:tracePt t="54100" x="8412163" y="2209800"/>
          <p14:tracePt t="54101" x="8416925" y="2209800"/>
          <p14:tracePt t="54102" x="8416925" y="2206625"/>
          <p14:tracePt t="54103" x="8416925" y="2201863"/>
          <p14:tracePt t="54104" x="8420100" y="2201863"/>
          <p14:tracePt t="54105" x="8424863" y="2201863"/>
          <p14:tracePt t="54106" x="8424863" y="2198688"/>
          <p14:tracePt t="54107" x="8428038" y="2198688"/>
          <p14:tracePt t="54108" x="8428038" y="2193925"/>
          <p14:tracePt t="54109" x="8432800" y="2189163"/>
          <p14:tracePt t="54110" x="8435975" y="2189163"/>
          <p14:tracePt t="54111" x="8435975" y="2185988"/>
          <p14:tracePt t="54112" x="8440738" y="2181225"/>
          <p14:tracePt t="54113" x="8440738" y="2178050"/>
          <p14:tracePt t="54114" x="8443913" y="2173288"/>
          <p14:tracePt t="54115" x="8443913" y="2170113"/>
          <p14:tracePt t="54116" x="8443913" y="2165350"/>
          <p14:tracePt t="54117" x="8448675" y="2162175"/>
          <p14:tracePt t="54118" x="8448675" y="2157413"/>
          <p14:tracePt t="54120" x="8451850" y="2154238"/>
          <p14:tracePt t="54121" x="8451850" y="2149475"/>
          <p14:tracePt t="54122" x="8456613" y="2146300"/>
          <p14:tracePt t="54123" x="8456613" y="2141538"/>
          <p14:tracePt t="54124" x="8456613" y="2138363"/>
          <p14:tracePt t="54125" x="8456613" y="2130425"/>
          <p14:tracePt t="54126" x="8456613" y="2122488"/>
          <p14:tracePt t="54127" x="8459788" y="2117725"/>
          <p14:tracePt t="54128" x="8459788" y="2114550"/>
          <p14:tracePt t="54129" x="8464550" y="2106613"/>
          <p14:tracePt t="54130" x="8464550" y="2101850"/>
          <p14:tracePt t="54132" x="8467725" y="2089150"/>
          <p14:tracePt t="54134" x="8467725" y="2081213"/>
          <p14:tracePt t="54135" x="8467725" y="2073275"/>
          <p14:tracePt t="54136" x="8467725" y="2065338"/>
          <p14:tracePt t="54137" x="8472488" y="2062163"/>
          <p14:tracePt t="54138" x="8472488" y="2054225"/>
          <p14:tracePt t="54139" x="8472488" y="2049463"/>
          <p14:tracePt t="54140" x="8472488" y="2041525"/>
          <p14:tracePt t="54141" x="8472488" y="2033588"/>
          <p14:tracePt t="54142" x="8472488" y="2025650"/>
          <p14:tracePt t="54143" x="8475663" y="2017713"/>
          <p14:tracePt t="54144" x="8475663" y="2014538"/>
          <p14:tracePt t="54146" x="8475663" y="2005013"/>
          <p14:tracePt t="54146" x="8475663" y="1997075"/>
          <p14:tracePt t="54147" x="8475663" y="1989138"/>
          <p14:tracePt t="54148" x="8475663" y="1981200"/>
          <p14:tracePt t="54149" x="8475663" y="1973263"/>
          <p14:tracePt t="54150" x="8480425" y="1962150"/>
          <p14:tracePt t="54151" x="8480425" y="1954213"/>
          <p14:tracePt t="54152" x="8480425" y="1946275"/>
          <p14:tracePt t="54153" x="8480425" y="1938338"/>
          <p14:tracePt t="54154" x="8480425" y="1933575"/>
          <p14:tracePt t="54155" x="8480425" y="1922463"/>
          <p14:tracePt t="54156" x="8480425" y="1912938"/>
          <p14:tracePt t="54157" x="8480425" y="1909763"/>
          <p14:tracePt t="54158" x="8480425" y="1901825"/>
          <p14:tracePt t="54159" x="8480425" y="1893888"/>
          <p14:tracePt t="54160" x="8480425" y="1885950"/>
          <p14:tracePt t="54161" x="8480425" y="1878013"/>
          <p14:tracePt t="54162" x="8480425" y="1870075"/>
          <p14:tracePt t="54163" x="8480425" y="1862138"/>
          <p14:tracePt t="54164" x="8480425" y="1857375"/>
          <p14:tracePt t="54165" x="8480425" y="1849438"/>
          <p14:tracePt t="54166" x="8480425" y="1841500"/>
          <p14:tracePt t="54167" x="8480425" y="1833563"/>
          <p14:tracePt t="54168" x="8480425" y="1830388"/>
          <p14:tracePt t="54169" x="8475663" y="1820863"/>
          <p14:tracePt t="54170" x="8475663" y="1817688"/>
          <p14:tracePt t="54171" x="8475663" y="1809750"/>
          <p14:tracePt t="54172" x="8472488" y="1801813"/>
          <p14:tracePt t="54173" x="8472488" y="1797050"/>
          <p14:tracePt t="54174" x="8472488" y="1789113"/>
          <p14:tracePt t="54175" x="8467725" y="1781175"/>
          <p14:tracePt t="54176" x="8464550" y="1773238"/>
          <p14:tracePt t="54177" x="8464550" y="1765300"/>
          <p14:tracePt t="54178" x="8459788" y="1762125"/>
          <p14:tracePt t="54179" x="8459788" y="1754188"/>
          <p14:tracePt t="54180" x="8456613" y="1746250"/>
          <p14:tracePt t="54181" x="8451850" y="1741488"/>
          <p14:tracePt t="54182" x="8448675" y="1733550"/>
          <p14:tracePt t="54183" x="8448675" y="1728788"/>
          <p14:tracePt t="54184" x="8443913" y="1720850"/>
          <p14:tracePt t="54185" x="8440738" y="1717675"/>
          <p14:tracePt t="54186" x="8435975" y="1709738"/>
          <p14:tracePt t="54187" x="8432800" y="1704975"/>
          <p14:tracePt t="54188" x="8428038" y="1697038"/>
          <p14:tracePt t="54189" x="8424863" y="1693863"/>
          <p14:tracePt t="54190" x="8420100" y="1689100"/>
          <p14:tracePt t="54191" x="8416925" y="1681163"/>
          <p14:tracePt t="54192" x="8416925" y="1677988"/>
          <p14:tracePt t="54193" x="8412163" y="1670050"/>
          <p14:tracePt t="54194" x="8408988" y="1665288"/>
          <p14:tracePt t="54195" x="8404225" y="1665288"/>
          <p14:tracePt t="54196" x="8401050" y="1657350"/>
          <p14:tracePt t="54197" x="8396288" y="1654175"/>
          <p14:tracePt t="54198" x="8391525" y="1649413"/>
          <p14:tracePt t="54199" x="8388350" y="1644650"/>
          <p14:tracePt t="54200" x="8383588" y="1641475"/>
          <p14:tracePt t="54201" x="8375650" y="1633538"/>
          <p14:tracePt t="54202" x="8372475" y="1628775"/>
          <p14:tracePt t="54203" x="8364538" y="1625600"/>
          <p14:tracePt t="54204" x="8359775" y="1620838"/>
          <p14:tracePt t="54205" x="8356600" y="1617663"/>
          <p14:tracePt t="54206" x="8348663" y="1609725"/>
          <p14:tracePt t="54207" x="8340725" y="1604963"/>
          <p14:tracePt t="54208" x="8335963" y="1601788"/>
          <p14:tracePt t="54209" x="8328025" y="1597025"/>
          <p14:tracePt t="54210" x="8324850" y="1593850"/>
          <p14:tracePt t="54211" x="8316913" y="1589088"/>
          <p14:tracePt t="54212" x="8307388" y="1585913"/>
          <p14:tracePt t="54213" x="8299450" y="1581150"/>
          <p14:tracePt t="54214" x="8291513" y="1577975"/>
          <p14:tracePt t="54215" x="8288338" y="1573213"/>
          <p14:tracePt t="54216" x="8275638" y="1570038"/>
          <p14:tracePt t="54217" x="8264525" y="1565275"/>
          <p14:tracePt t="54218" x="8256588" y="1562100"/>
          <p14:tracePt t="54219" x="8248650" y="1562100"/>
          <p14:tracePt t="54220" x="8240713" y="1557338"/>
          <p14:tracePt t="54221" x="8232775" y="1552575"/>
          <p14:tracePt t="54222" x="8224838" y="1544638"/>
          <p14:tracePt t="54223" x="8215313" y="1541463"/>
          <p14:tracePt t="54224" x="8204200" y="1541463"/>
          <p14:tracePt t="54225" x="8196263" y="1536700"/>
          <p14:tracePt t="54226" x="8183563" y="1533525"/>
          <p14:tracePt t="54227" x="8175625" y="1528763"/>
          <p14:tracePt t="54228" x="8167688" y="1528763"/>
          <p14:tracePt t="54229" x="8151813" y="1525588"/>
          <p14:tracePt t="54230" x="8143875" y="1525588"/>
          <p14:tracePt t="54231" x="8135938" y="1520825"/>
          <p14:tracePt t="54232" x="8120063" y="1517650"/>
          <p14:tracePt t="54233" x="8112125" y="1517650"/>
          <p14:tracePt t="54234" x="8104188" y="1517650"/>
          <p14:tracePt t="54235" x="8091488" y="1509713"/>
          <p14:tracePt t="54236" x="8075613" y="1509713"/>
          <p14:tracePt t="54237" x="8067675" y="1504950"/>
          <p14:tracePt t="54238" x="8056563" y="1504950"/>
          <p14:tracePt t="54239" x="8040688" y="1501775"/>
          <p14:tracePt t="54240" x="8031163" y="1501775"/>
          <p14:tracePt t="54241" x="8020050" y="1497013"/>
          <p14:tracePt t="54242" x="7999413" y="1497013"/>
          <p14:tracePt t="54243" x="7991475" y="1493838"/>
          <p14:tracePt t="54244" x="7975600" y="1493838"/>
          <p14:tracePt t="54246" x="7943850" y="1489075"/>
          <p14:tracePt t="54247" x="7927975" y="1489075"/>
          <p14:tracePt t="54248" x="7915275" y="1489075"/>
          <p14:tracePt t="54249" x="7904163" y="1489075"/>
          <p14:tracePt t="54250" x="7896225" y="1489075"/>
          <p14:tracePt t="54251" x="7880350" y="1481138"/>
          <p14:tracePt t="54252" x="7854950" y="1481138"/>
          <p14:tracePt t="54253" x="7847013" y="1481138"/>
          <p14:tracePt t="54254" x="7827963" y="1481138"/>
          <p14:tracePt t="54255" x="7812088" y="1481138"/>
          <p14:tracePt t="54256" x="7791450" y="1477963"/>
          <p14:tracePt t="54257" x="7780338" y="1477963"/>
          <p14:tracePt t="54258" x="7767638" y="1477963"/>
          <p14:tracePt t="54259" x="7751763" y="1477963"/>
          <p14:tracePt t="54260" x="7739063" y="1477963"/>
          <p14:tracePt t="54261" x="7731125" y="1477963"/>
          <p14:tracePt t="54262" x="7712075" y="1477963"/>
          <p14:tracePt t="54263" x="7699375" y="1477963"/>
          <p14:tracePt t="54264" x="7683500" y="1477963"/>
          <p14:tracePt t="54265" x="7670800" y="1477963"/>
          <p14:tracePt t="54266" x="7651750" y="1477963"/>
          <p14:tracePt t="54267" x="7631113" y="1477963"/>
          <p14:tracePt t="54268" x="7620000" y="1477963"/>
          <p14:tracePt t="54269" x="7604125" y="1477963"/>
          <p14:tracePt t="54270" x="7591425" y="1477963"/>
          <p14:tracePt t="54271" x="7575550" y="1477963"/>
          <p14:tracePt t="54272" x="7559675" y="1477963"/>
          <p14:tracePt t="54273" x="7543800" y="1477963"/>
          <p14:tracePt t="54274" x="7531100" y="1477963"/>
          <p14:tracePt t="54275" x="7515225" y="1477963"/>
          <p14:tracePt t="54276" x="7504113" y="1477963"/>
          <p14:tracePt t="54277" x="7483475" y="1477963"/>
          <p14:tracePt t="54278" x="7470775" y="1477963"/>
          <p14:tracePt t="54279" x="7454900" y="1477963"/>
          <p14:tracePt t="54280" x="7446963" y="1485900"/>
          <p14:tracePt t="54281" x="7435850" y="1485900"/>
          <p14:tracePt t="54282" x="7415213" y="1489075"/>
          <p14:tracePt t="54283" x="7399338" y="1489075"/>
          <p14:tracePt t="54284" x="7386638" y="1489075"/>
          <p14:tracePt t="54285" x="7370763" y="1493838"/>
          <p14:tracePt t="54286" x="7359650" y="1493838"/>
          <p14:tracePt t="54287" x="7346950" y="1497013"/>
          <p14:tracePt t="54288" x="7331075" y="1497013"/>
          <p14:tracePt t="54289" x="7319963" y="1497013"/>
          <p14:tracePt t="54290" x="7307263" y="1501775"/>
          <p14:tracePt t="54291" x="7294563" y="1501775"/>
          <p14:tracePt t="54292" x="7275513" y="1504950"/>
          <p14:tracePt t="54293" x="7267575" y="1504950"/>
          <p14:tracePt t="54294" x="7254875" y="1504950"/>
          <p14:tracePt t="54295" x="7239000" y="1512888"/>
          <p14:tracePt t="54296" x="7231063" y="1512888"/>
          <p14:tracePt t="54297" x="7218363" y="1517650"/>
          <p14:tracePt t="54298" x="7202488" y="1517650"/>
          <p14:tracePt t="54299" x="7194550" y="1520825"/>
          <p14:tracePt t="54300" x="7183438" y="1520825"/>
          <p14:tracePt t="54301" x="7170738" y="1525588"/>
          <p14:tracePt t="54302" x="7159625" y="1528763"/>
          <p14:tracePt t="54303" x="7151688" y="1528763"/>
          <p14:tracePt t="54304" x="7135813" y="1533525"/>
          <p14:tracePt t="54305" x="7126288" y="1533525"/>
          <p14:tracePt t="54306" x="7118350" y="1533525"/>
          <p14:tracePt t="54307" x="7110413" y="1536700"/>
          <p14:tracePt t="54308" x="7102475" y="1544638"/>
          <p14:tracePt t="54309" x="7094538" y="1544638"/>
          <p14:tracePt t="54310" x="7086600" y="1549400"/>
          <p14:tracePt t="54311" x="7075488" y="1552575"/>
          <p14:tracePt t="54312" x="7062788" y="1552575"/>
          <p14:tracePt t="54313" x="7059613" y="1557338"/>
          <p14:tracePt t="54314" x="7051675" y="1557338"/>
          <p14:tracePt t="54315" x="7046913" y="1562100"/>
          <p14:tracePt t="54316" x="7038975" y="1565275"/>
          <p14:tracePt t="54317" x="7031038" y="1565275"/>
          <p14:tracePt t="54318" x="7023100" y="1570038"/>
          <p14:tracePt t="54319" x="7018338" y="1573213"/>
          <p14:tracePt t="54320" x="7010400" y="1573213"/>
          <p14:tracePt t="54321" x="7007225" y="1573213"/>
          <p14:tracePt t="54322" x="6999288" y="1577975"/>
          <p14:tracePt t="54323" x="6994525" y="1577975"/>
          <p14:tracePt t="54324" x="6991350" y="1581150"/>
          <p14:tracePt t="54325" x="6983413" y="1585913"/>
          <p14:tracePt t="54327" x="6978650" y="1589088"/>
          <p14:tracePt t="54328" x="6970713" y="1589088"/>
          <p14:tracePt t="54329" x="6967538" y="1593850"/>
          <p14:tracePt t="54330" x="6962775" y="1597025"/>
          <p14:tracePt t="54332" x="6959600" y="1601788"/>
          <p14:tracePt t="54333" x="6954838" y="1604963"/>
          <p14:tracePt t="54334" x="6950075" y="1604963"/>
          <p14:tracePt t="54335" x="6946900" y="1609725"/>
          <p14:tracePt t="54337" x="6942138" y="1612900"/>
          <p14:tracePt t="54338" x="6938963" y="1617663"/>
          <p14:tracePt t="54340" x="6938963" y="1620838"/>
          <p14:tracePt t="54342" x="6934200" y="1620838"/>
          <p14:tracePt t="54343" x="6934200" y="1625600"/>
          <p14:tracePt t="54344" x="6931025" y="1625600"/>
          <p14:tracePt t="54346" x="6931025" y="1628775"/>
          <p14:tracePt t="54346" x="6926263" y="1628775"/>
          <p14:tracePt t="54347" x="6926263" y="1633538"/>
          <p14:tracePt t="54349" x="6923088" y="1636713"/>
          <p14:tracePt t="54350" x="6923088" y="1641475"/>
          <p14:tracePt t="54351" x="6923088" y="1644650"/>
          <p14:tracePt t="54352" x="6918325" y="1644650"/>
          <p14:tracePt t="54353" x="6918325" y="1649413"/>
          <p14:tracePt t="54354" x="6918325" y="1654175"/>
          <p14:tracePt t="54355" x="6918325" y="1657350"/>
          <p14:tracePt t="54357" x="6915150" y="1662113"/>
          <p14:tracePt t="54359" x="6915150" y="1665288"/>
          <p14:tracePt t="54360" x="6910388" y="1670050"/>
          <p14:tracePt t="54361" x="6910388" y="1673225"/>
          <p14:tracePt t="54362" x="6910388" y="1677988"/>
          <p14:tracePt t="54363" x="6910388" y="1681163"/>
          <p14:tracePt t="54364" x="6910388" y="1685925"/>
          <p14:tracePt t="54365" x="6910388" y="1689100"/>
          <p14:tracePt t="54366" x="6907213" y="1693863"/>
          <p14:tracePt t="54368" x="6907213" y="1701800"/>
          <p14:tracePt t="54369" x="6902450" y="1701800"/>
          <p14:tracePt t="54370" x="6902450" y="1704975"/>
          <p14:tracePt t="54371" x="6902450" y="1709738"/>
          <p14:tracePt t="54373" x="6902450" y="1712913"/>
          <p14:tracePt t="54374" x="6902450" y="1720850"/>
          <p14:tracePt t="54375" x="6899275" y="1725613"/>
          <p14:tracePt t="54376" x="6899275" y="1728788"/>
          <p14:tracePt t="54377" x="6899275" y="1733550"/>
          <p14:tracePt t="54378" x="6899275" y="1738313"/>
          <p14:tracePt t="54379" x="6899275" y="1741488"/>
          <p14:tracePt t="54380" x="6899275" y="1746250"/>
          <p14:tracePt t="54381" x="6899275" y="1749425"/>
          <p14:tracePt t="54382" x="6899275" y="1754188"/>
          <p14:tracePt t="54383" x="6899275" y="1757363"/>
          <p14:tracePt t="54384" x="6899275" y="1762125"/>
          <p14:tracePt t="54385" x="6899275" y="1765300"/>
          <p14:tracePt t="54386" x="6899275" y="1770063"/>
          <p14:tracePt t="54387" x="6894513" y="1773238"/>
          <p14:tracePt t="54388" x="6894513" y="1778000"/>
          <p14:tracePt t="54389" x="6894513" y="1781175"/>
          <p14:tracePt t="54390" x="6894513" y="1785938"/>
          <p14:tracePt t="54391" x="6894513" y="1789113"/>
          <p14:tracePt t="54392" x="6894513" y="1793875"/>
          <p14:tracePt t="54393" x="6894513" y="1801813"/>
          <p14:tracePt t="54394" x="6894513" y="1804988"/>
          <p14:tracePt t="54396" x="6894513" y="1809750"/>
          <p14:tracePt t="54397" x="6894513" y="1812925"/>
          <p14:tracePt t="54398" x="6894513" y="1817688"/>
          <p14:tracePt t="54399" x="6894513" y="1825625"/>
          <p14:tracePt t="54400" x="6894513" y="1830388"/>
          <p14:tracePt t="54401" x="6894513" y="1833563"/>
          <p14:tracePt t="54402" x="6894513" y="1838325"/>
          <p14:tracePt t="54403" x="6894513" y="1841500"/>
          <p14:tracePt t="54404" x="6894513" y="1846263"/>
          <p14:tracePt t="54405" x="6894513" y="1849438"/>
          <p14:tracePt t="54407" x="6894513" y="1854200"/>
          <p14:tracePt t="54408" x="6894513" y="1857375"/>
          <p14:tracePt t="54409" x="6894513" y="1862138"/>
          <p14:tracePt t="54410" x="6894513" y="1865313"/>
          <p14:tracePt t="54411" x="6894513" y="1870075"/>
          <p14:tracePt t="54413" x="6894513" y="1873250"/>
          <p14:tracePt t="54414" x="6894513" y="1878013"/>
          <p14:tracePt t="54415" x="6894513" y="1881188"/>
          <p14:tracePt t="54416" x="6894513" y="1885950"/>
          <p14:tracePt t="54417" x="6894513" y="1889125"/>
          <p14:tracePt t="54420" x="6894513" y="1893888"/>
          <p14:tracePt t="54421" x="6894513" y="1897063"/>
          <p14:tracePt t="54423" x="6894513" y="1901825"/>
          <p14:tracePt t="54424" x="6894513" y="1905000"/>
          <p14:tracePt t="54425" x="6894513" y="1909763"/>
          <p14:tracePt t="54427" x="6894513" y="1912938"/>
          <p14:tracePt t="54429" x="6894513" y="1917700"/>
          <p14:tracePt t="54431" x="6894513" y="1922463"/>
          <p14:tracePt t="54433" x="6894513" y="1925638"/>
          <p14:tracePt t="54434" x="6894513" y="1930400"/>
          <p14:tracePt t="54437" x="6894513" y="1933575"/>
          <p14:tracePt t="54439" x="6894513" y="1938338"/>
          <p14:tracePt t="54441" x="6894513" y="1941513"/>
          <p14:tracePt t="54443" x="6894513" y="1946275"/>
          <p14:tracePt t="54444" x="6899275" y="1949450"/>
          <p14:tracePt t="54446" x="6899275" y="1954213"/>
          <p14:tracePt t="54447" x="6902450" y="1954213"/>
          <p14:tracePt t="54448" x="6902450" y="1957388"/>
          <p14:tracePt t="54449" x="6902450" y="1962150"/>
          <p14:tracePt t="54450" x="6907213" y="1962150"/>
          <p14:tracePt t="54451" x="6907213" y="1965325"/>
          <p14:tracePt t="54452" x="6907213" y="1970088"/>
          <p14:tracePt t="54453" x="6910388" y="1970088"/>
          <p14:tracePt t="54454" x="6910388" y="1973263"/>
          <p14:tracePt t="54455" x="6915150" y="1973263"/>
          <p14:tracePt t="54456" x="6915150" y="1978025"/>
          <p14:tracePt t="54458" x="6918325" y="1981200"/>
          <p14:tracePt t="54459" x="6918325" y="1985963"/>
          <p14:tracePt t="54460" x="6923088" y="1989138"/>
          <p14:tracePt t="54461" x="6926263" y="1993900"/>
          <p14:tracePt t="54462" x="6926263" y="1997075"/>
          <p14:tracePt t="54464" x="6931025" y="2001838"/>
          <p14:tracePt t="54464" x="6934200" y="2005013"/>
          <p14:tracePt t="54465" x="6934200" y="2009775"/>
          <p14:tracePt t="54466" x="6934200" y="2014538"/>
          <p14:tracePt t="54467" x="6938963" y="2014538"/>
          <p14:tracePt t="54468" x="6942138" y="2017713"/>
          <p14:tracePt t="54469" x="6942138" y="2022475"/>
          <p14:tracePt t="54470" x="6946900" y="2025650"/>
          <p14:tracePt t="54471" x="6950075" y="2030413"/>
          <p14:tracePt t="54472" x="6954838" y="2038350"/>
          <p14:tracePt t="54473" x="6959600" y="2041525"/>
          <p14:tracePt t="54474" x="6962775" y="2046288"/>
          <p14:tracePt t="54475" x="6967538" y="2049463"/>
          <p14:tracePt t="54476" x="6970713" y="2057400"/>
          <p14:tracePt t="54477" x="6975475" y="2062163"/>
          <p14:tracePt t="54478" x="6983413" y="2065338"/>
          <p14:tracePt t="54479" x="6986588" y="2070100"/>
          <p14:tracePt t="54480" x="6994525" y="2078038"/>
          <p14:tracePt t="54481" x="6999288" y="2081213"/>
          <p14:tracePt t="54482" x="7002463" y="2089150"/>
          <p14:tracePt t="54483" x="7010400" y="2093913"/>
          <p14:tracePt t="54484" x="7015163" y="2097088"/>
          <p14:tracePt t="54485" x="7023100" y="2106613"/>
          <p14:tracePt t="54486" x="7026275" y="2109788"/>
          <p14:tracePt t="54487" x="7034213" y="2117725"/>
          <p14:tracePt t="54488" x="7038975" y="2122488"/>
          <p14:tracePt t="54489" x="7046913" y="2125663"/>
          <p14:tracePt t="54490" x="7054850" y="2133600"/>
          <p14:tracePt t="54491" x="7062788" y="2138363"/>
          <p14:tracePt t="54492" x="7070725" y="2141538"/>
          <p14:tracePt t="54493" x="7075488" y="2146300"/>
          <p14:tracePt t="54494" x="7083425" y="2149475"/>
          <p14:tracePt t="54496" x="7102475" y="2162175"/>
          <p14:tracePt t="54497" x="7110413" y="2173288"/>
          <p14:tracePt t="54498" x="7115175" y="2173288"/>
          <p14:tracePt t="54499" x="7123113" y="2178050"/>
          <p14:tracePt t="54500" x="7131050" y="2185988"/>
          <p14:tracePt t="54501" x="7138988" y="2193925"/>
          <p14:tracePt t="54502" x="7143750" y="2193925"/>
          <p14:tracePt t="54503" x="7151688" y="2198688"/>
          <p14:tracePt t="54504" x="7154863" y="2201863"/>
          <p14:tracePt t="54505" x="7167563" y="2209800"/>
          <p14:tracePt t="54506" x="7170738" y="2214563"/>
          <p14:tracePt t="54507" x="7178675" y="2217738"/>
          <p14:tracePt t="54508" x="7183438" y="2222500"/>
          <p14:tracePt t="54509" x="7191375" y="2222500"/>
          <p14:tracePt t="54510" x="7199313" y="2230438"/>
          <p14:tracePt t="54511" x="7202488" y="2230438"/>
          <p14:tracePt t="54512" x="7210425" y="2233613"/>
          <p14:tracePt t="54513" x="7215188" y="2238375"/>
          <p14:tracePt t="54514" x="7223125" y="2241550"/>
          <p14:tracePt t="54515" x="7231063" y="2241550"/>
          <p14:tracePt t="54516" x="7235825" y="2246313"/>
          <p14:tracePt t="54517" x="7243763" y="2249488"/>
          <p14:tracePt t="54518" x="7246938" y="2254250"/>
          <p14:tracePt t="54519" x="7254875" y="2254250"/>
          <p14:tracePt t="54520" x="7262813" y="2257425"/>
          <p14:tracePt t="54521" x="7267575" y="2262188"/>
          <p14:tracePt t="54522" x="7275513" y="2262188"/>
          <p14:tracePt t="54523" x="7283450" y="2265363"/>
          <p14:tracePt t="54524" x="7286625" y="2265363"/>
          <p14:tracePt t="54525" x="7291388" y="2270125"/>
          <p14:tracePt t="54526" x="7299325" y="2273300"/>
          <p14:tracePt t="54527" x="7307263" y="2273300"/>
          <p14:tracePt t="54528" x="7310438" y="2278063"/>
          <p14:tracePt t="54529" x="7319963" y="2278063"/>
          <p14:tracePt t="54530" x="7327900" y="2281238"/>
          <p14:tracePt t="54531" x="7331075" y="2281238"/>
          <p14:tracePt t="54532" x="7339013" y="2281238"/>
          <p14:tracePt t="54533" x="7346950" y="2286000"/>
          <p14:tracePt t="54534" x="7351713" y="2286000"/>
          <p14:tracePt t="54535" x="7354888" y="2286000"/>
          <p14:tracePt t="54536" x="7362825" y="2290763"/>
          <p14:tracePt t="54537" x="7367588" y="2293938"/>
          <p14:tracePt t="54538" x="7370763" y="2293938"/>
          <p14:tracePt t="54539" x="7378700" y="2293938"/>
          <p14:tracePt t="54540" x="7386638" y="2298700"/>
          <p14:tracePt t="54541" x="7391400" y="2298700"/>
          <p14:tracePt t="54542" x="7394575" y="2298700"/>
          <p14:tracePt t="54543" x="7402513" y="2301875"/>
          <p14:tracePt t="54544" x="7407275" y="2301875"/>
          <p14:tracePt t="54546" x="7412038" y="2301875"/>
          <p14:tracePt t="54547" x="7419975" y="2301875"/>
          <p14:tracePt t="54548" x="7423150" y="2306638"/>
          <p14:tracePt t="54549" x="7427913" y="2306638"/>
          <p14:tracePt t="54550" x="7431088" y="2306638"/>
          <p14:tracePt t="54551" x="7439025" y="2306638"/>
          <p14:tracePt t="54552" x="7443788" y="2306638"/>
          <p14:tracePt t="54553" x="7446963" y="2309813"/>
          <p14:tracePt t="54554" x="7451725" y="2309813"/>
          <p14:tracePt t="54555" x="7454900" y="2309813"/>
          <p14:tracePt t="54556" x="7462838" y="2314575"/>
          <p14:tracePt t="54557" x="7467600" y="2314575"/>
          <p14:tracePt t="54559" x="7470775" y="2314575"/>
          <p14:tracePt t="54560" x="7475538" y="2314575"/>
          <p14:tracePt t="54561" x="7483475" y="2314575"/>
          <p14:tracePt t="54562" x="7486650" y="2314575"/>
          <p14:tracePt t="54563" x="7491413" y="2314575"/>
          <p14:tracePt t="54564" x="7499350" y="2314575"/>
          <p14:tracePt t="54565" x="7504113" y="2317750"/>
          <p14:tracePt t="54566" x="7507288" y="2317750"/>
          <p14:tracePt t="54567" x="7512050" y="2317750"/>
          <p14:tracePt t="54568" x="7519988" y="2317750"/>
          <p14:tracePt t="54569" x="7523163" y="2317750"/>
          <p14:tracePt t="54570" x="7531100" y="2322513"/>
          <p14:tracePt t="54571" x="7539038" y="2322513"/>
          <p14:tracePt t="54572" x="7546975" y="2322513"/>
          <p14:tracePt t="54573" x="7551738" y="2322513"/>
          <p14:tracePt t="54574" x="7559675" y="2322513"/>
          <p14:tracePt t="54576" x="7567613" y="2325688"/>
          <p14:tracePt t="54577" x="7575550" y="2325688"/>
          <p14:tracePt t="54578" x="7578725" y="2325688"/>
          <p14:tracePt t="54579" x="7588250" y="2325688"/>
          <p14:tracePt t="54580" x="7596188" y="2325688"/>
          <p14:tracePt t="54581" x="7604125" y="2325688"/>
          <p14:tracePt t="54582" x="7612063" y="2325688"/>
          <p14:tracePt t="54583" x="7623175" y="2330450"/>
          <p14:tracePt t="54584" x="7631113" y="2330450"/>
          <p14:tracePt t="54585" x="7635875" y="2330450"/>
          <p14:tracePt t="54586" x="7646988" y="2330450"/>
          <p14:tracePt t="54587" x="7654925" y="2330450"/>
          <p14:tracePt t="54588" x="7662863" y="2330450"/>
          <p14:tracePt t="54589" x="7670800" y="2330450"/>
          <p14:tracePt t="54590" x="7680325" y="2330450"/>
          <p14:tracePt t="54591" x="7688263" y="2330450"/>
          <p14:tracePt t="54592" x="7699375" y="2330450"/>
          <p14:tracePt t="54593" x="7707313" y="2330450"/>
          <p14:tracePt t="54594" x="7715250" y="2330450"/>
          <p14:tracePt t="54596" x="7731125" y="2330450"/>
          <p14:tracePt t="54596" x="7743825" y="2330450"/>
          <p14:tracePt t="54597" x="7751763" y="2330450"/>
          <p14:tracePt t="54598" x="7759700" y="2330450"/>
          <p14:tracePt t="54599" x="7767638" y="2330450"/>
          <p14:tracePt t="54600" x="7783513" y="2330450"/>
          <p14:tracePt t="54601" x="7791450" y="2330450"/>
          <p14:tracePt t="54602" x="7804150" y="2330450"/>
          <p14:tracePt t="54603" x="7812088" y="2330450"/>
          <p14:tracePt t="54604" x="7827963" y="2330450"/>
          <p14:tracePt t="54605" x="7835900" y="2330450"/>
          <p14:tracePt t="54606" x="7847013" y="2330450"/>
          <p14:tracePt t="54607" x="7854950" y="2330450"/>
          <p14:tracePt t="54608" x="7872413" y="2330450"/>
          <p14:tracePt t="54609" x="7880350" y="2330450"/>
          <p14:tracePt t="54610" x="7888288" y="2330450"/>
          <p14:tracePt t="54611" x="7899400" y="2330450"/>
          <p14:tracePt t="54612" x="7915275" y="2330450"/>
          <p14:tracePt t="54613" x="7923213" y="2330450"/>
          <p14:tracePt t="54614" x="7931150" y="2330450"/>
          <p14:tracePt t="54615" x="7939088" y="2330450"/>
          <p14:tracePt t="54616" x="7948613" y="2330450"/>
          <p14:tracePt t="54617" x="7959725" y="2322513"/>
          <p14:tracePt t="54618" x="7967663" y="2322513"/>
          <p14:tracePt t="54619" x="7980363" y="2322513"/>
          <p14:tracePt t="54620" x="7988300" y="2322513"/>
          <p14:tracePt t="54621" x="7996238" y="2322513"/>
          <p14:tracePt t="54622" x="8004175" y="2317750"/>
          <p14:tracePt t="54623" x="8012113" y="2317750"/>
          <p14:tracePt t="54624" x="8020050" y="2317750"/>
          <p14:tracePt t="54625" x="8027988" y="2314575"/>
          <p14:tracePt t="54626" x="8031163" y="2314575"/>
          <p14:tracePt t="54627" x="8043863" y="2309813"/>
          <p14:tracePt t="54628" x="8048625" y="2309813"/>
          <p14:tracePt t="54629" x="8056563" y="2309813"/>
          <p14:tracePt t="54630" x="8059738" y="2306638"/>
          <p14:tracePt t="54631" x="8064500" y="2306638"/>
          <p14:tracePt t="54632" x="8072438" y="2306638"/>
          <p14:tracePt t="54633" x="8075613" y="2301875"/>
          <p14:tracePt t="54634" x="8080375" y="2301875"/>
          <p14:tracePt t="54636" x="8083550" y="2301875"/>
          <p14:tracePt t="54637" x="8088313" y="2298700"/>
          <p14:tracePt t="54638" x="8096250" y="2298700"/>
          <p14:tracePt t="54639" x="8096250" y="2293938"/>
          <p14:tracePt t="54640" x="8099425" y="2293938"/>
          <p14:tracePt t="54641" x="8104188" y="2293938"/>
          <p14:tracePt t="54642" x="8112125" y="2293938"/>
          <p14:tracePt t="54643" x="8112125" y="2290763"/>
          <p14:tracePt t="54644" x="8115300" y="2290763"/>
          <p14:tracePt t="54646" x="8120063" y="2286000"/>
          <p14:tracePt t="54647" x="8123238" y="2286000"/>
          <p14:tracePt t="54648" x="8128000" y="2281238"/>
          <p14:tracePt t="54650" x="8132763" y="2281238"/>
          <p14:tracePt t="54651" x="8132763" y="2278063"/>
          <p14:tracePt t="54653" x="8132763" y="2273300"/>
          <p14:tracePt t="54656" x="8135938" y="2270125"/>
          <p14:tracePt t="54658" x="8140700" y="2270125"/>
          <p14:tracePt t="54659" x="8140700" y="2265363"/>
          <p14:tracePt t="54660" x="8143875" y="2265363"/>
          <p14:tracePt t="54662" x="8143875" y="2262188"/>
          <p14:tracePt t="54663" x="8143875" y="2257425"/>
          <p14:tracePt t="54665" x="8148638" y="2254250"/>
          <p14:tracePt t="54668" x="8148638" y="2249488"/>
          <p14:tracePt t="54670" x="8148638" y="2246313"/>
          <p14:tracePt t="54671" x="8148638" y="2241550"/>
          <p14:tracePt t="54672" x="8148638" y="2238375"/>
          <p14:tracePt t="54673" x="8148638" y="2233613"/>
          <p14:tracePt t="54674" x="8151813" y="2233613"/>
          <p14:tracePt t="54675" x="8151813" y="2230438"/>
          <p14:tracePt t="54676" x="8151813" y="2225675"/>
          <p14:tracePt t="54677" x="8151813" y="2222500"/>
          <p14:tracePt t="54678" x="8151813" y="2217738"/>
          <p14:tracePt t="54679" x="8151813" y="2214563"/>
          <p14:tracePt t="54681" x="8151813" y="2209800"/>
          <p14:tracePt t="54682" x="8151813" y="2206625"/>
          <p14:tracePt t="54683" x="8151813" y="2198688"/>
          <p14:tracePt t="54684" x="8151813" y="2193925"/>
          <p14:tracePt t="54685" x="8151813" y="2189163"/>
          <p14:tracePt t="54686" x="8151813" y="2185988"/>
          <p14:tracePt t="54687" x="8151813" y="2178050"/>
          <p14:tracePt t="54688" x="8151813" y="2173288"/>
          <p14:tracePt t="54689" x="8151813" y="2165350"/>
          <p14:tracePt t="54690" x="8151813" y="2162175"/>
          <p14:tracePt t="54691" x="8151813" y="2157413"/>
          <p14:tracePt t="54692" x="8151813" y="2149475"/>
          <p14:tracePt t="54693" x="8148638" y="2149475"/>
          <p14:tracePt t="54694" x="8148638" y="2141538"/>
          <p14:tracePt t="54696" x="8148638" y="2130425"/>
          <p14:tracePt t="54697" x="8143875" y="2125663"/>
          <p14:tracePt t="54698" x="8143875" y="2114550"/>
          <p14:tracePt t="54699" x="8140700" y="2109788"/>
          <p14:tracePt t="54700" x="8140700" y="2101850"/>
          <p14:tracePt t="54701" x="8135938" y="2097088"/>
          <p14:tracePt t="54702" x="8132763" y="2089150"/>
          <p14:tracePt t="54703" x="8128000" y="2081213"/>
          <p14:tracePt t="54704" x="8128000" y="2073275"/>
          <p14:tracePt t="54705" x="8123238" y="2070100"/>
          <p14:tracePt t="54706" x="8120063" y="2062163"/>
          <p14:tracePt t="54707" x="8120063" y="2057400"/>
          <p14:tracePt t="54708" x="8115300" y="2049463"/>
          <p14:tracePt t="54709" x="8112125" y="2041525"/>
          <p14:tracePt t="54710" x="8107363" y="2033588"/>
          <p14:tracePt t="54711" x="8104188" y="2030413"/>
          <p14:tracePt t="54712" x="8099425" y="2022475"/>
          <p14:tracePt t="54713" x="8096250" y="2017713"/>
          <p14:tracePt t="54714" x="8096250" y="2009775"/>
          <p14:tracePt t="54715" x="8091488" y="2005013"/>
          <p14:tracePt t="54716" x="8088313" y="1997075"/>
          <p14:tracePt t="54717" x="8088313" y="1993900"/>
          <p14:tracePt t="54718" x="8075613" y="1985963"/>
          <p14:tracePt t="54719" x="8075613" y="1981200"/>
          <p14:tracePt t="54720" x="8075613" y="1978025"/>
          <p14:tracePt t="54721" x="8072438" y="1973263"/>
          <p14:tracePt t="54722" x="8067675" y="1970088"/>
          <p14:tracePt t="54723" x="8064500" y="1965325"/>
          <p14:tracePt t="54724" x="8059738" y="1965325"/>
          <p14:tracePt t="54725" x="8059738" y="1962150"/>
          <p14:tracePt t="54726" x="8056563" y="1957388"/>
          <p14:tracePt t="54727" x="8056563" y="1954213"/>
          <p14:tracePt t="54728" x="8051800" y="1949450"/>
          <p14:tracePt t="54729" x="8051800" y="1946275"/>
          <p14:tracePt t="54730" x="8048625" y="1946275"/>
          <p14:tracePt t="54731" x="8048625" y="1941513"/>
          <p14:tracePt t="54732" x="8043863" y="1941513"/>
          <p14:tracePt t="54733" x="8043863" y="1938338"/>
          <p14:tracePt t="54734" x="8040688" y="1933575"/>
          <p14:tracePt t="54735" x="8040688" y="1930400"/>
          <p14:tracePt t="54736" x="8035925" y="1930400"/>
          <p14:tracePt t="54737" x="8035925" y="1925638"/>
          <p14:tracePt t="54738" x="8035925" y="1922463"/>
          <p14:tracePt t="54743" x="8031163" y="1917700"/>
          <p14:tracePt t="54744" x="8031163" y="1912938"/>
          <p14:tracePt t="54746" x="8027988" y="1912938"/>
          <p14:tracePt t="54747" x="8023225" y="1909763"/>
          <p14:tracePt t="54750" x="8020050" y="1905000"/>
          <p14:tracePt t="54753" x="8015288" y="1905000"/>
          <p14:tracePt t="54754" x="8015288" y="1901825"/>
          <p14:tracePt t="54757" x="8012113" y="1897063"/>
          <p14:tracePt t="54759" x="8007350" y="1893888"/>
          <p14:tracePt t="54761" x="8004175" y="1893888"/>
          <p14:tracePt t="54762" x="8004175" y="1889125"/>
          <p14:tracePt t="54764" x="7999413" y="1889125"/>
          <p14:tracePt t="54765" x="7999413" y="1885950"/>
          <p14:tracePt t="54766" x="7996238" y="1885950"/>
          <p14:tracePt t="54771" x="7991475" y="1885950"/>
          <p14:tracePt t="54773" x="7988300" y="1885950"/>
          <p14:tracePt t="54774" x="7988300" y="1881188"/>
          <p14:tracePt t="54775" x="7983538" y="1881188"/>
          <p14:tracePt t="54778" x="7980363" y="1878013"/>
          <p14:tracePt t="54780" x="7975600" y="1878013"/>
          <p14:tracePt t="54782" x="7975600" y="1873250"/>
          <p14:tracePt t="54783" x="7972425" y="1873250"/>
          <p14:tracePt t="54786" x="7967663" y="1873250"/>
          <p14:tracePt t="54787" x="7967663" y="1870075"/>
          <p14:tracePt t="54789" x="7964488" y="1870075"/>
          <p14:tracePt t="54792" x="7959725" y="1865313"/>
          <p14:tracePt t="54794" x="7956550" y="1865313"/>
          <p14:tracePt t="54797" x="7956550" y="1862138"/>
          <p14:tracePt t="54798" x="7951788" y="1862138"/>
          <p14:tracePt t="54800" x="7948613" y="1857375"/>
          <p14:tracePt t="54802" x="7943850" y="1857375"/>
          <p14:tracePt t="54804" x="7939088" y="1854200"/>
          <p14:tracePt t="54806" x="7935913" y="1854200"/>
          <p14:tracePt t="54808" x="7931150" y="1854200"/>
          <p14:tracePt t="54809" x="7931150" y="1849438"/>
          <p14:tracePt t="54810" x="7927975" y="1849438"/>
          <p14:tracePt t="54812" x="7923213" y="1849438"/>
          <p14:tracePt t="54814" x="7920038" y="1849438"/>
          <p14:tracePt t="54815" x="7920038" y="1846263"/>
          <p14:tracePt t="54816" x="7915275" y="1846263"/>
          <p14:tracePt t="54818" x="7912100" y="1846263"/>
          <p14:tracePt t="54819" x="7912100" y="1841500"/>
          <p14:tracePt t="54821" x="7907338" y="1841500"/>
          <p14:tracePt t="54822" x="7904163" y="1841500"/>
          <p14:tracePt t="54824" x="7899400" y="1841500"/>
          <p14:tracePt t="54825" x="7896225" y="1841500"/>
          <p14:tracePt t="54828" x="7891463" y="1841500"/>
          <p14:tracePt t="54829" x="7891463" y="1838325"/>
          <p14:tracePt t="54830" x="7888288" y="1838325"/>
          <p14:tracePt t="54831" x="7883525" y="1838325"/>
          <p14:tracePt t="54833" x="7883525" y="1833563"/>
          <p14:tracePt t="54834" x="7880350" y="1833563"/>
          <p14:tracePt t="54836" x="7875588" y="1833563"/>
          <p14:tracePt t="54839" x="7872413" y="1833563"/>
          <p14:tracePt t="54841" x="7872413" y="1830388"/>
          <p14:tracePt t="54843" x="7867650" y="1830388"/>
          <p14:tracePt t="54846" x="7864475" y="1830388"/>
          <p14:tracePt t="54847" x="7859713" y="1830388"/>
          <p14:tracePt t="54851" x="7859713" y="1825625"/>
          <p14:tracePt t="54853" x="7854950" y="1825625"/>
          <p14:tracePt t="55229" x="7854950" y="1820863"/>
          <p14:tracePt t="55232" x="7859713" y="1820863"/>
          <p14:tracePt t="55233" x="7859713" y="1817688"/>
          <p14:tracePt t="55234" x="7864475" y="1817688"/>
          <p14:tracePt t="55236" x="7864475" y="1812925"/>
          <p14:tracePt t="55238" x="7867650" y="1812925"/>
          <p14:tracePt t="55239" x="7867650" y="1809750"/>
          <p14:tracePt t="55241" x="7867650" y="1804988"/>
          <p14:tracePt t="55242" x="7872413" y="1804988"/>
          <p14:tracePt t="55243" x="7875588" y="1801813"/>
          <p14:tracePt t="55244" x="7880350" y="1801813"/>
          <p14:tracePt t="55246" x="7883525" y="1801813"/>
          <p14:tracePt t="55247" x="7888288" y="1797050"/>
          <p14:tracePt t="55248" x="7888288" y="1793875"/>
          <p14:tracePt t="55249" x="7891463" y="1793875"/>
          <p14:tracePt t="55250" x="7891463" y="1789113"/>
          <p14:tracePt t="55251" x="7899400" y="1789113"/>
          <p14:tracePt t="55252" x="7899400" y="1785938"/>
          <p14:tracePt t="55253" x="7904163" y="1785938"/>
          <p14:tracePt t="55254" x="7907338" y="1781175"/>
          <p14:tracePt t="55256" x="7912100" y="1778000"/>
          <p14:tracePt t="55257" x="7915275" y="1773238"/>
          <p14:tracePt t="55259" x="7920038" y="1770063"/>
          <p14:tracePt t="55261" x="7923213" y="1765300"/>
          <p14:tracePt t="55262" x="7927975" y="1762125"/>
          <p14:tracePt t="55263" x="7931150" y="1762125"/>
          <p14:tracePt t="55264" x="7935913" y="1762125"/>
          <p14:tracePt t="55265" x="7935913" y="1757363"/>
          <p14:tracePt t="55266" x="7939088" y="1754188"/>
          <p14:tracePt t="55267" x="7943850" y="1754188"/>
          <p14:tracePt t="55268" x="7948613" y="1749425"/>
          <p14:tracePt t="55269" x="7951788" y="1746250"/>
          <p14:tracePt t="55270" x="7956550" y="1746250"/>
          <p14:tracePt t="55271" x="7959725" y="1738313"/>
          <p14:tracePt t="55273" x="7959725" y="1733550"/>
          <p14:tracePt t="55274" x="7964488" y="1733550"/>
          <p14:tracePt t="55275" x="7964488" y="1728788"/>
          <p14:tracePt t="55276" x="7967663" y="1725613"/>
          <p14:tracePt t="55277" x="7972425" y="1725613"/>
          <p14:tracePt t="55278" x="7975600" y="1720850"/>
          <p14:tracePt t="55279" x="7975600" y="1717675"/>
          <p14:tracePt t="55280" x="7980363" y="1717675"/>
          <p14:tracePt t="55281" x="7983538" y="1712913"/>
          <p14:tracePt t="55282" x="7988300" y="1712913"/>
          <p14:tracePt t="55283" x="7991475" y="1709738"/>
          <p14:tracePt t="55285" x="7996238" y="1704975"/>
          <p14:tracePt t="55286" x="7996238" y="1701800"/>
          <p14:tracePt t="55287" x="7999413" y="1697038"/>
          <p14:tracePt t="55289" x="8004175" y="1693863"/>
          <p14:tracePt t="55291" x="8007350" y="1689100"/>
          <p14:tracePt t="55293" x="8012113" y="1685925"/>
          <p14:tracePt t="55294" x="8012113" y="1681163"/>
          <p14:tracePt t="55296" x="8015288" y="1681163"/>
          <p14:tracePt t="55296" x="8015288" y="1677988"/>
          <p14:tracePt t="55298" x="8023225" y="1673225"/>
          <p14:tracePt t="55300" x="8027988" y="1673225"/>
          <p14:tracePt t="55302" x="8027988" y="1670050"/>
          <p14:tracePt t="55303" x="8031163" y="1670050"/>
          <p14:tracePt t="55305" x="8031163" y="1665288"/>
          <p14:tracePt t="55306" x="8031163" y="1662113"/>
          <p14:tracePt t="55307" x="8035925" y="1662113"/>
          <p14:tracePt t="55308" x="8035925" y="1657350"/>
          <p14:tracePt t="55309" x="8040688" y="1657350"/>
          <p14:tracePt t="55312" x="8040688" y="1654175"/>
          <p14:tracePt t="55314" x="8043863" y="1654175"/>
          <p14:tracePt t="55317" x="8043863" y="1649413"/>
          <p14:tracePt t="55322" x="8048625" y="1644650"/>
          <p14:tracePt t="55325" x="8051800" y="1644650"/>
          <p14:tracePt t="55326" x="8051800" y="1641475"/>
          <p14:tracePt t="55334" x="8056563" y="1641475"/>
          <p14:tracePt t="55338" x="8056563" y="1636713"/>
          <p14:tracePt t="55342" x="8059738" y="1636713"/>
          <p14:tracePt t="55427" x="8064500" y="1636713"/>
          <p14:tracePt t="55432" x="8067675" y="1636713"/>
          <p14:tracePt t="55436" x="8072438" y="1636713"/>
          <p14:tracePt t="55437" x="8075613" y="1633538"/>
          <p14:tracePt t="55439" x="8080375" y="1633538"/>
          <p14:tracePt t="55442" x="8083550" y="1633538"/>
          <p14:tracePt t="55444" x="8088313" y="1633538"/>
          <p14:tracePt t="55446" x="8091488" y="1628775"/>
          <p14:tracePt t="55448" x="8096250" y="1628775"/>
          <p14:tracePt t="55450" x="8099425" y="1628775"/>
          <p14:tracePt t="55452" x="8104188" y="1628775"/>
          <p14:tracePt t="55454" x="8107363" y="1628775"/>
          <p14:tracePt t="55457" x="8112125" y="1628775"/>
          <p14:tracePt t="55459" x="8115300" y="1628775"/>
          <p14:tracePt t="55462" x="8120063" y="1628775"/>
          <p14:tracePt t="55463" x="8120063" y="1625600"/>
          <p14:tracePt t="55465" x="8123238" y="1625600"/>
          <p14:tracePt t="55467" x="8128000" y="1620838"/>
          <p14:tracePt t="55470" x="8132763" y="1620838"/>
          <p14:tracePt t="55471" x="8135938" y="1620838"/>
          <p14:tracePt t="55472" x="8140700" y="1620838"/>
          <p14:tracePt t="55474" x="8143875" y="1617663"/>
          <p14:tracePt t="55475" x="8148638" y="1617663"/>
          <p14:tracePt t="55477" x="8151813" y="1617663"/>
          <p14:tracePt t="55478" x="8156575" y="1617663"/>
          <p14:tracePt t="55479" x="8156575" y="1612900"/>
          <p14:tracePt t="55481" x="8159750" y="1612900"/>
          <p14:tracePt t="55481" x="8164513" y="1612900"/>
          <p14:tracePt t="55484" x="8167688" y="1609725"/>
          <p14:tracePt t="55486" x="8172450" y="1609725"/>
          <p14:tracePt t="55487" x="8175625" y="1609725"/>
          <p14:tracePt t="55488" x="8175625" y="1604963"/>
          <p14:tracePt t="55489" x="8180388" y="1604963"/>
          <p14:tracePt t="55490" x="8183563" y="1604963"/>
          <p14:tracePt t="55491" x="8188325" y="1604963"/>
          <p14:tracePt t="55492" x="8191500" y="1601788"/>
          <p14:tracePt t="55493" x="8196263" y="1601788"/>
          <p14:tracePt t="55494" x="8199438" y="1601788"/>
          <p14:tracePt t="55496" x="8204200" y="1597025"/>
          <p14:tracePt t="55498" x="8207375" y="1597025"/>
          <p14:tracePt t="55499" x="8212138" y="1597025"/>
          <p14:tracePt t="55500" x="8215313" y="1593850"/>
          <p14:tracePt t="55501" x="8220075" y="1593850"/>
          <p14:tracePt t="55502" x="8224838" y="1593850"/>
          <p14:tracePt t="55503" x="8232775" y="1593850"/>
          <p14:tracePt t="55504" x="8235950" y="1589088"/>
          <p14:tracePt t="55505" x="8240713" y="1589088"/>
          <p14:tracePt t="55506" x="8243888" y="1589088"/>
          <p14:tracePt t="55507" x="8251825" y="1585913"/>
          <p14:tracePt t="55508" x="8256588" y="1585913"/>
          <p14:tracePt t="55510" x="8264525" y="1581150"/>
          <p14:tracePt t="55511" x="8267700" y="1581150"/>
          <p14:tracePt t="55513" x="8275638" y="1581150"/>
          <p14:tracePt t="55514" x="8283575" y="1581150"/>
          <p14:tracePt t="55515" x="8288338" y="1577975"/>
          <p14:tracePt t="55516" x="8291513" y="1577975"/>
          <p14:tracePt t="55517" x="8296275" y="1577975"/>
          <p14:tracePt t="55518" x="8304213" y="1573213"/>
          <p14:tracePt t="55519" x="8307388" y="1573213"/>
          <p14:tracePt t="55520" x="8316913" y="1570038"/>
          <p14:tracePt t="55521" x="8320088" y="1570038"/>
          <p14:tracePt t="55522" x="8324850" y="1565275"/>
          <p14:tracePt t="55523" x="8328025" y="1565275"/>
          <p14:tracePt t="55524" x="8335963" y="1562100"/>
          <p14:tracePt t="55526" x="8343900" y="1562100"/>
          <p14:tracePt t="55527" x="8348663" y="1557338"/>
          <p14:tracePt t="55528" x="8356600" y="1557338"/>
          <p14:tracePt t="55529" x="8359775" y="1552575"/>
          <p14:tracePt t="55530" x="8367713" y="1552575"/>
          <p14:tracePt t="55531" x="8372475" y="1549400"/>
          <p14:tracePt t="55532" x="8375650" y="1549400"/>
          <p14:tracePt t="55533" x="8383588" y="1544638"/>
          <p14:tracePt t="55534" x="8388350" y="1544638"/>
          <p14:tracePt t="55535" x="8391525" y="1541463"/>
          <p14:tracePt t="55536" x="8396288" y="1541463"/>
          <p14:tracePt t="55537" x="8404225" y="1536700"/>
          <p14:tracePt t="55538" x="8408988" y="1536700"/>
          <p14:tracePt t="55540" x="8416925" y="1533525"/>
          <p14:tracePt t="55541" x="8420100" y="1533525"/>
          <p14:tracePt t="55542" x="8424863" y="1528763"/>
          <p14:tracePt t="55543" x="8428038" y="1528763"/>
          <p14:tracePt t="55544" x="8432800" y="1528763"/>
          <p14:tracePt t="55545" x="8435975" y="1525588"/>
          <p14:tracePt t="55546" x="8440738" y="1525588"/>
          <p14:tracePt t="55548" x="8448675" y="1520825"/>
          <p14:tracePt t="55549" x="8451850" y="1520825"/>
          <p14:tracePt t="55550" x="8459788" y="1517650"/>
          <p14:tracePt t="55551" x="8464550" y="1517650"/>
          <p14:tracePt t="55552" x="8464550" y="1512888"/>
          <p14:tracePt t="55553" x="8467725" y="1512888"/>
          <p14:tracePt t="55554" x="8472488" y="1512888"/>
          <p14:tracePt t="55555" x="8480425" y="1509713"/>
          <p14:tracePt t="55557" x="8483600" y="1509713"/>
          <p14:tracePt t="55558" x="8488363" y="1509713"/>
          <p14:tracePt t="55559" x="8493125" y="1509713"/>
          <p14:tracePt t="55560" x="8496300" y="1504950"/>
          <p14:tracePt t="55561" x="8501063" y="1504950"/>
          <p14:tracePt t="55562" x="8504238" y="1501775"/>
          <p14:tracePt t="55563" x="8509000" y="1501775"/>
          <p14:tracePt t="55565" x="8512175" y="1497013"/>
          <p14:tracePt t="55567" x="8516938" y="1497013"/>
          <p14:tracePt t="55568" x="8520113" y="1493838"/>
          <p14:tracePt t="55570" x="8524875" y="1493838"/>
          <p14:tracePt t="55571" x="8528050" y="1489075"/>
          <p14:tracePt t="55574" x="8532813" y="1485900"/>
          <p14:tracePt t="55575" x="8535988" y="1485900"/>
          <p14:tracePt t="55576" x="8540750" y="1485900"/>
          <p14:tracePt t="55577" x="8540750" y="1481138"/>
          <p14:tracePt t="55578" x="8543925" y="1481138"/>
          <p14:tracePt t="55579" x="8548688" y="1481138"/>
          <p14:tracePt t="55580" x="8548688" y="1477963"/>
          <p14:tracePt t="55581" x="8551863" y="1477963"/>
          <p14:tracePt t="55582" x="8551863" y="1473200"/>
          <p14:tracePt t="55585" x="8556625" y="1473200"/>
          <p14:tracePt t="55586" x="8556625" y="1470025"/>
          <p14:tracePt t="55588" x="8559800" y="1470025"/>
          <p14:tracePt t="55591" x="8564563" y="1470025"/>
          <p14:tracePt t="55592" x="8567738" y="1465263"/>
          <p14:tracePt t="55594" x="8572500" y="1465263"/>
          <p14:tracePt t="55595" x="8572500" y="1460500"/>
          <p14:tracePt t="55596" x="8575675" y="1460500"/>
          <p14:tracePt t="55598" x="8575675" y="1457325"/>
          <p14:tracePt t="55599" x="8580438" y="1457325"/>
          <p14:tracePt t="55600" x="8580438" y="1452563"/>
          <p14:tracePt t="55601" x="8585200" y="1452563"/>
          <p14:tracePt t="55603" x="8588375" y="1449388"/>
          <p14:tracePt t="55605" x="8593138" y="1449388"/>
          <p14:tracePt t="55606" x="8593138" y="1444625"/>
          <p14:tracePt t="55608" x="8593138" y="1441450"/>
          <p14:tracePt t="55610" x="8596313" y="1436688"/>
          <p14:tracePt t="55612" x="8601075" y="1436688"/>
          <p14:tracePt t="55614" x="8601075" y="1433513"/>
          <p14:tracePt t="55615" x="8604250" y="1433513"/>
          <p14:tracePt t="55616" x="8609013" y="1428750"/>
          <p14:tracePt t="55619" x="8612188" y="1428750"/>
          <p14:tracePt t="55621" x="8616950" y="1425575"/>
          <p14:tracePt t="55623" x="8616950" y="1420813"/>
          <p14:tracePt t="55624" x="8620125" y="1420813"/>
          <p14:tracePt t="55626" x="8624888" y="1417638"/>
          <p14:tracePt t="55627" x="8628063" y="1417638"/>
          <p14:tracePt t="55629" x="8632825" y="1412875"/>
          <p14:tracePt t="55631" x="8632825" y="1409700"/>
          <p14:tracePt t="55633" x="8636000" y="1404938"/>
          <p14:tracePt t="55636" x="8640763" y="1401763"/>
          <p14:tracePt t="55639" x="8648700" y="1397000"/>
          <p14:tracePt t="55641" x="8651875" y="1393825"/>
          <p14:tracePt t="55643" x="8656638" y="1389063"/>
          <p14:tracePt t="55646" x="8664575" y="1389063"/>
          <p14:tracePt t="55647" x="8664575" y="1385888"/>
          <p14:tracePt t="55649" x="8667750" y="1385888"/>
          <p14:tracePt t="55651" x="8672513" y="1381125"/>
          <p14:tracePt t="55653" x="8677275" y="1377950"/>
          <p14:tracePt t="55655" x="8677275" y="1373188"/>
          <p14:tracePt t="55656" x="8680450" y="1373188"/>
          <p14:tracePt t="55657" x="8680450" y="1368425"/>
          <p14:tracePt t="55659" x="8685213" y="1368425"/>
          <p14:tracePt t="55661" x="8685213" y="1365250"/>
          <p14:tracePt t="55662" x="8688388" y="1365250"/>
          <p14:tracePt t="55664" x="8693150" y="1365250"/>
          <p14:tracePt t="55665" x="8693150" y="1360488"/>
          <p14:tracePt t="55667" x="8696325" y="1360488"/>
          <p14:tracePt t="55668" x="8696325" y="1357313"/>
          <p14:tracePt t="55669" x="8701088" y="1357313"/>
          <p14:tracePt t="55671" x="8701088" y="1352550"/>
          <p14:tracePt t="55672" x="8704263" y="1352550"/>
          <p14:tracePt t="55676" x="8704263" y="1349375"/>
          <p14:tracePt t="55682" x="8709025" y="1344613"/>
          <p14:tracePt t="55684" x="8712200" y="1344613"/>
          <p14:tracePt t="55687" x="8716963" y="1344613"/>
          <p14:tracePt t="55693" x="8716963" y="1341438"/>
          <p14:tracePt t="55696" x="8720138" y="1341438"/>
          <p14:tracePt t="55698" x="8720138" y="1336675"/>
          <p14:tracePt t="55700" x="8724900" y="1336675"/>
          <p14:tracePt t="55706" x="8724900" y="1333500"/>
          <p14:tracePt t="55708" x="8728075" y="1333500"/>
          <p14:tracePt t="55713" x="8732838" y="1328738"/>
          <p14:tracePt t="55718" x="8736013" y="1325563"/>
          <p14:tracePt t="55724" x="8740775" y="1325563"/>
          <p14:tracePt t="55725" x="8743950" y="1325563"/>
          <p14:tracePt t="55726" x="8743950" y="1320800"/>
          <p14:tracePt t="55729" x="8748713" y="1320800"/>
          <p14:tracePt t="55731" x="8748713" y="1317625"/>
          <p14:tracePt t="55732" x="8751888" y="1317625"/>
          <p14:tracePt t="55736" x="8756650" y="1317625"/>
          <p14:tracePt t="55740" x="8756650" y="1312863"/>
          <p14:tracePt t="55758" x="8756650" y="1309688"/>
          <p14:tracePt t="55788" x="8756650" y="1304925"/>
          <p14:tracePt t="55801" x="8761413" y="1304925"/>
          <p14:tracePt t="55805" x="8761413" y="1301750"/>
          <p14:tracePt t="55808" x="8761413" y="1296988"/>
          <p14:tracePt t="55810" x="8761413" y="1293813"/>
          <p14:tracePt t="55812" x="8764588" y="1293813"/>
          <p14:tracePt t="55813" x="8764588" y="1289050"/>
          <p14:tracePt t="55816" x="8769350" y="1289050"/>
          <p14:tracePt t="55817" x="8769350" y="1285875"/>
          <p14:tracePt t="55821" x="8769350" y="1281113"/>
          <p14:tracePt t="55824" x="8769350" y="1276350"/>
          <p14:tracePt t="55828" x="8769350" y="1273175"/>
          <p14:tracePt t="55830" x="8772525" y="1273175"/>
          <p14:tracePt t="55832" x="8772525" y="1268413"/>
          <p14:tracePt t="55836" x="8772525" y="1265238"/>
          <p14:tracePt t="55841" x="8777288" y="1265238"/>
          <p14:tracePt t="55938" x="8777288" y="1268413"/>
          <p14:tracePt t="56113" x="8772525" y="1268413"/>
          <p14:tracePt t="56116" x="8764588" y="1268413"/>
          <p14:tracePt t="56121" x="8761413" y="1273175"/>
          <p14:tracePt t="56123" x="8756650" y="1273175"/>
          <p14:tracePt t="56125" x="8751888" y="1273175"/>
          <p14:tracePt t="56127" x="8743950" y="1273175"/>
          <p14:tracePt t="56132" x="8728075" y="1276350"/>
          <p14:tracePt t="56134" x="8728075" y="1281113"/>
          <p14:tracePt t="56136" x="8724900" y="1281113"/>
          <p14:tracePt t="56139" x="8720138" y="1285875"/>
          <p14:tracePt t="56140" x="8720138" y="1289050"/>
          <p14:tracePt t="56143" x="8720138" y="1293813"/>
          <p14:tracePt t="56144" x="8716963" y="1301750"/>
          <p14:tracePt t="56146" x="8712200" y="1301750"/>
          <p14:tracePt t="56148" x="8709025" y="1309688"/>
          <p14:tracePt t="56149" x="8709025" y="1312863"/>
          <p14:tracePt t="56150" x="8704263" y="1317625"/>
          <p14:tracePt t="56152" x="8701088" y="1325563"/>
          <p14:tracePt t="56153" x="8696325" y="1333500"/>
          <p14:tracePt t="56154" x="8693150" y="1336675"/>
          <p14:tracePt t="56155" x="8693150" y="1341438"/>
          <p14:tracePt t="56156" x="8688388" y="1344613"/>
          <p14:tracePt t="56157" x="8688388" y="1352550"/>
          <p14:tracePt t="56158" x="8685213" y="1357313"/>
          <p14:tracePt t="56159" x="8680450" y="1365250"/>
          <p14:tracePt t="56160" x="8677275" y="1365250"/>
          <p14:tracePt t="56161" x="8677275" y="1373188"/>
          <p14:tracePt t="56163" x="8672513" y="1381125"/>
          <p14:tracePt t="56165" x="8667750" y="1393825"/>
          <p14:tracePt t="56166" x="8664575" y="1401763"/>
          <p14:tracePt t="56167" x="8659813" y="1404938"/>
          <p14:tracePt t="56168" x="8659813" y="1412875"/>
          <p14:tracePt t="56169" x="8656638" y="1420813"/>
          <p14:tracePt t="56170" x="8648700" y="1428750"/>
          <p14:tracePt t="56171" x="8648700" y="1433513"/>
          <p14:tracePt t="56172" x="8643938" y="1441450"/>
          <p14:tracePt t="56173" x="8640763" y="1449388"/>
          <p14:tracePt t="56174" x="8640763" y="1457325"/>
          <p14:tracePt t="56175" x="8636000" y="1460500"/>
          <p14:tracePt t="56176" x="8632825" y="1470025"/>
          <p14:tracePt t="56177" x="8632825" y="1477963"/>
          <p14:tracePt t="56178" x="8628063" y="1481138"/>
          <p14:tracePt t="56179" x="8624888" y="1489075"/>
          <p14:tracePt t="56180" x="8620125" y="1501775"/>
          <p14:tracePt t="56182" x="8616950" y="1512888"/>
          <p14:tracePt t="56184" x="8609013" y="1525588"/>
          <p14:tracePt t="56185" x="8604250" y="1533525"/>
          <p14:tracePt t="56186" x="8601075" y="1541463"/>
          <p14:tracePt t="56187" x="8596313" y="1544638"/>
          <p14:tracePt t="56188" x="8596313" y="1549400"/>
          <p14:tracePt t="56189" x="8593138" y="1557338"/>
          <p14:tracePt t="56190" x="8588375" y="1557338"/>
          <p14:tracePt t="56191" x="8585200" y="1565275"/>
          <p14:tracePt t="56192" x="8585200" y="1570038"/>
          <p14:tracePt t="56193" x="8580438" y="1573213"/>
          <p14:tracePt t="56194" x="8580438" y="1577975"/>
          <p14:tracePt t="56196" x="8572500" y="1589088"/>
          <p14:tracePt t="56198" x="8567738" y="1597025"/>
          <p14:tracePt t="56199" x="8564563" y="1601788"/>
          <p14:tracePt t="56200" x="8559800" y="1604963"/>
          <p14:tracePt t="56201" x="8556625" y="1609725"/>
          <p14:tracePt t="56202" x="8551863" y="1609725"/>
          <p14:tracePt t="56203" x="8551863" y="1612900"/>
          <p14:tracePt t="56204" x="8548688" y="1617663"/>
          <p14:tracePt t="56205" x="8543925" y="1620838"/>
          <p14:tracePt t="56206" x="8540750" y="1620838"/>
          <p14:tracePt t="56209" x="8535988" y="1625600"/>
          <p14:tracePt t="56210" x="8532813" y="1628775"/>
          <p14:tracePt t="56213" x="8528050" y="1633538"/>
          <p14:tracePt t="56215" x="8520113" y="1636713"/>
          <p14:tracePt t="56217" x="8516938" y="1636713"/>
          <p14:tracePt t="56218" x="8516938" y="1641475"/>
          <p14:tracePt t="56220" x="8512175" y="1641475"/>
          <p14:tracePt t="56223" x="8512175" y="1644650"/>
          <p14:tracePt t="56226" x="8509000" y="1644650"/>
          <p14:tracePt t="56289" x="8504238" y="1644650"/>
          <p14:tracePt t="56293" x="8501063" y="1641475"/>
          <p14:tracePt t="56296" x="8501063" y="1636713"/>
          <p14:tracePt t="56300" x="8496300" y="1633538"/>
          <p14:tracePt t="56303" x="8493125" y="1628775"/>
          <p14:tracePt t="56305" x="8488363" y="1625600"/>
          <p14:tracePt t="56308" x="8483600" y="1625600"/>
          <p14:tracePt t="56312" x="8480425" y="1625600"/>
          <p14:tracePt t="56314" x="8475663" y="1625600"/>
          <p14:tracePt t="56316" x="8472488" y="1620838"/>
          <p14:tracePt t="56322" x="8467725" y="1620838"/>
          <p14:tracePt t="56363" x="8464550" y="1620838"/>
          <p14:tracePt t="56529" x="8467725" y="1620838"/>
          <p14:tracePt t="56542" x="8472488" y="1620838"/>
          <p14:tracePt t="56557" x="8475663" y="1620838"/>
          <p14:tracePt t="56563" x="8475663" y="1617663"/>
          <p14:tracePt t="56571" x="8475663" y="1612900"/>
          <p14:tracePt t="56573" x="8480425" y="1612900"/>
          <p14:tracePt t="56576" x="8480425" y="1609725"/>
          <p14:tracePt t="56578" x="8483600" y="1609725"/>
          <p14:tracePt t="56583" x="8483600" y="1604963"/>
          <p14:tracePt t="56592" x="8488363" y="1604963"/>
          <p14:tracePt t="56595" x="8488363" y="1601788"/>
          <p14:tracePt t="56598" x="8493125" y="1597025"/>
          <p14:tracePt t="56606" x="8496300" y="1597025"/>
          <p14:tracePt t="56608" x="8496300" y="1593850"/>
          <p14:tracePt t="56614" x="8496300" y="1589088"/>
          <p14:tracePt t="56615" x="8501063" y="1589088"/>
          <p14:tracePt t="56621" x="8504238" y="1585913"/>
          <p14:tracePt t="56626" x="8509000" y="1585913"/>
          <p14:tracePt t="56630" x="8509000" y="1581150"/>
          <p14:tracePt t="56632" x="8512175" y="1581150"/>
          <p14:tracePt t="56635" x="8516938" y="1581150"/>
          <p14:tracePt t="56639" x="8520113" y="1581150"/>
          <p14:tracePt t="56642" x="8520113" y="1577975"/>
          <p14:tracePt t="56643" x="8524875" y="1577975"/>
          <p14:tracePt t="56647" x="8528050" y="1573213"/>
          <p14:tracePt t="56651" x="8532813" y="1573213"/>
          <p14:tracePt t="56654" x="8535988" y="1570038"/>
          <p14:tracePt t="56656" x="8535988" y="1565275"/>
          <p14:tracePt t="56659" x="8540750" y="1562100"/>
          <p14:tracePt t="56661" x="8543925" y="1562100"/>
          <p14:tracePt t="56663" x="8543925" y="1557338"/>
          <p14:tracePt t="56664" x="8548688" y="1557338"/>
          <p14:tracePt t="56667" x="8551863" y="1552575"/>
          <p14:tracePt t="56669" x="8556625" y="1552575"/>
          <p14:tracePt t="56670" x="8556625" y="1549400"/>
          <p14:tracePt t="56671" x="8559800" y="1549400"/>
          <p14:tracePt t="56672" x="8559800" y="1544638"/>
          <p14:tracePt t="56674" x="8564563" y="1544638"/>
          <p14:tracePt t="56675" x="8564563" y="1541463"/>
          <p14:tracePt t="56676" x="8567738" y="1541463"/>
          <p14:tracePt t="56678" x="8572500" y="1541463"/>
          <p14:tracePt t="56679" x="8575675" y="1536700"/>
          <p14:tracePt t="56681" x="8575675" y="1533525"/>
          <p14:tracePt t="56683" x="8575675" y="1528763"/>
          <p14:tracePt t="56684" x="8580438" y="1528763"/>
          <p14:tracePt t="56685" x="8580438" y="1525588"/>
          <p14:tracePt t="56686" x="8585200" y="1525588"/>
          <p14:tracePt t="56687" x="8588375" y="1525588"/>
          <p14:tracePt t="56688" x="8588375" y="1520825"/>
          <p14:tracePt t="56689" x="8593138" y="1520825"/>
          <p14:tracePt t="56690" x="8593138" y="1517650"/>
          <p14:tracePt t="56691" x="8596313" y="1512888"/>
          <p14:tracePt t="56693" x="8601075" y="1509713"/>
          <p14:tracePt t="56695" x="8604250" y="1504950"/>
          <p14:tracePt t="56697" x="8609013" y="1501775"/>
          <p14:tracePt t="56699" x="8612188" y="1501775"/>
          <p14:tracePt t="56700" x="8616950" y="1501775"/>
          <p14:tracePt t="56701" x="8616950" y="1497013"/>
          <p14:tracePt t="56702" x="8616950" y="1493838"/>
          <p14:tracePt t="56704" x="8620125" y="1489075"/>
          <p14:tracePt t="56705" x="8624888" y="1485900"/>
          <p14:tracePt t="56707" x="8628063" y="1481138"/>
          <p14:tracePt t="56708" x="8632825" y="1477963"/>
          <p14:tracePt t="56710" x="8636000" y="1473200"/>
          <p14:tracePt t="56713" x="8643938" y="1465263"/>
          <p14:tracePt t="56715" x="8648700" y="1460500"/>
          <p14:tracePt t="56716" x="8651875" y="1460500"/>
          <p14:tracePt t="56717" x="8656638" y="1460500"/>
          <p14:tracePt t="56720" x="8656638" y="1457325"/>
          <p14:tracePt t="56721" x="8659813" y="1457325"/>
          <p14:tracePt t="56722" x="8659813" y="1452563"/>
          <p14:tracePt t="56723" x="8664575" y="1449388"/>
          <p14:tracePt t="56725" x="8667750" y="1449388"/>
          <p14:tracePt t="56726" x="8667750" y="1444625"/>
          <p14:tracePt t="56727" x="8672513" y="1444625"/>
          <p14:tracePt t="56729" x="8677275" y="1441450"/>
          <p14:tracePt t="56731" x="8677275" y="1436688"/>
          <p14:tracePt t="56732" x="8680450" y="1436688"/>
          <p14:tracePt t="56733" x="8680450" y="1433513"/>
          <p14:tracePt t="56736" x="8685213" y="1433513"/>
          <p14:tracePt t="56737" x="8685213" y="1428750"/>
          <p14:tracePt t="56739" x="8688388" y="1428750"/>
          <p14:tracePt t="56740" x="8688388" y="1425575"/>
          <p14:tracePt t="56743" x="8693150" y="1425575"/>
          <p14:tracePt t="56745" x="8693150" y="1420813"/>
          <p14:tracePt t="56748" x="8696325" y="1420813"/>
          <p14:tracePt t="56758" x="8701088" y="1420813"/>
          <p14:tracePt t="56803" x="8701088" y="1417638"/>
          <p14:tracePt t="56821" x="8701088" y="1412875"/>
          <p14:tracePt t="56832" x="8704263" y="1412875"/>
          <p14:tracePt t="56834" x="8704263" y="1409700"/>
          <p14:tracePt t="56841" x="8709025" y="1409700"/>
          <p14:tracePt t="56846" x="8709025" y="1404938"/>
          <p14:tracePt t="56849" x="8712200" y="1404938"/>
          <p14:tracePt t="56850" x="8712200" y="1401763"/>
          <p14:tracePt t="56856" x="8716963" y="1397000"/>
          <p14:tracePt t="56860" x="8720138" y="1393825"/>
          <p14:tracePt t="56864" x="8724900" y="1389063"/>
          <p14:tracePt t="56868" x="8724900" y="1385888"/>
          <p14:tracePt t="56870" x="8728075" y="1385888"/>
          <p14:tracePt t="56871" x="8728075" y="1381125"/>
          <p14:tracePt t="56873" x="8732838" y="1381125"/>
          <p14:tracePt t="56876" x="8736013" y="1381125"/>
          <p14:tracePt t="56877" x="8736013" y="1377950"/>
          <p14:tracePt t="56880" x="8740775" y="1373188"/>
          <p14:tracePt t="56884" x="8740775" y="1368425"/>
          <p14:tracePt t="56886" x="8740775" y="1365250"/>
          <p14:tracePt t="56888" x="8740775" y="1360488"/>
          <p14:tracePt t="56891" x="8743950" y="1357313"/>
          <p14:tracePt t="56894" x="8743950" y="1352550"/>
          <p14:tracePt t="56896" x="8748713" y="1352550"/>
          <p14:tracePt t="56897" x="8751888" y="1352550"/>
          <p14:tracePt t="56898" x="8751888" y="1349375"/>
          <p14:tracePt t="56899" x="8756650" y="1349375"/>
          <p14:tracePt t="56901" x="8756650" y="1344613"/>
          <p14:tracePt t="56904" x="8756650" y="1341438"/>
          <p14:tracePt t="56905" x="8761413" y="1341438"/>
          <p14:tracePt t="56909" x="8764588" y="1336675"/>
          <p14:tracePt t="56911" x="8769350" y="1336675"/>
          <p14:tracePt t="56912" x="8769350" y="1333500"/>
          <p14:tracePt t="56914" x="8769350" y="1328738"/>
          <p14:tracePt t="56915" x="8772525" y="1328738"/>
          <p14:tracePt t="56916" x="8772525" y="1325563"/>
          <p14:tracePt t="56917" x="8777288" y="1325563"/>
          <p14:tracePt t="56918" x="8777288" y="1320800"/>
          <p14:tracePt t="56919" x="8780463" y="1320800"/>
          <p14:tracePt t="56921" x="8780463" y="1317625"/>
          <p14:tracePt t="56923" x="8780463" y="1312863"/>
          <p14:tracePt t="56924" x="8785225" y="1309688"/>
          <p14:tracePt t="56926" x="8788400" y="1304925"/>
          <p14:tracePt t="56927" x="8788400" y="1301750"/>
          <p14:tracePt t="56928" x="8793163" y="1296988"/>
          <p14:tracePt t="56929" x="8796338" y="1296988"/>
          <p14:tracePt t="56931" x="8801100" y="1293813"/>
          <p14:tracePt t="56933" x="8804275" y="1289050"/>
          <p14:tracePt t="56934" x="8804275" y="1285875"/>
          <p14:tracePt t="56935" x="8809038" y="1285875"/>
          <p14:tracePt t="56936" x="8812213" y="1281113"/>
          <p14:tracePt t="56937" x="8812213" y="1276350"/>
          <p14:tracePt t="56938" x="8816975" y="1276350"/>
          <p14:tracePt t="56939" x="8820150" y="1273175"/>
          <p14:tracePt t="56941" x="8820150" y="1268413"/>
          <p14:tracePt t="56942" x="8824913" y="1265238"/>
          <p14:tracePt t="56944" x="8828088" y="1260475"/>
          <p14:tracePt t="56945" x="8832850" y="1260475"/>
          <p14:tracePt t="56946" x="8832850" y="1257300"/>
          <p14:tracePt t="56947" x="8836025" y="1257300"/>
          <p14:tracePt t="56949" x="8840788" y="1252538"/>
          <p14:tracePt t="56950" x="8840788" y="1249363"/>
          <p14:tracePt t="56951" x="8843963" y="1249363"/>
          <p14:tracePt t="56952" x="8848725" y="1244600"/>
          <p14:tracePt t="56953" x="8853488" y="1241425"/>
          <p14:tracePt t="56955" x="8856663" y="1236663"/>
          <p14:tracePt t="56964" x="8872538" y="1217613"/>
          <p14:tracePt t="56966" x="8877300" y="1217613"/>
          <p14:tracePt t="56966" x="8880475" y="1217613"/>
          <p14:tracePt t="56967" x="8880475" y="1212850"/>
          <p14:tracePt t="56968" x="8885238" y="1209675"/>
          <p14:tracePt t="56970" x="8888413" y="1204913"/>
          <p14:tracePt t="56971" x="8893175" y="1204913"/>
          <p14:tracePt t="56972" x="8893175" y="1201738"/>
          <p14:tracePt t="56973" x="8896350" y="1196975"/>
          <p14:tracePt t="56975" x="8901113" y="1193800"/>
          <p14:tracePt t="56976" x="8901113" y="1189038"/>
          <p14:tracePt t="56978" x="8904288" y="1184275"/>
          <p14:tracePt t="56981" x="8912225" y="1181100"/>
          <p14:tracePt t="56983" x="8916988" y="1176338"/>
          <p14:tracePt t="56984" x="8920163" y="1176338"/>
          <p14:tracePt t="56985" x="8920163" y="1173163"/>
          <p14:tracePt t="56986" x="8920163" y="1168400"/>
          <p14:tracePt t="56987" x="8924925" y="1168400"/>
          <p14:tracePt t="56988" x="8928100" y="1165225"/>
          <p14:tracePt t="56989" x="8928100" y="1160463"/>
          <p14:tracePt t="56990" x="8932863" y="1160463"/>
          <p14:tracePt t="56991" x="8932863" y="1157288"/>
          <p14:tracePt t="56992" x="8936038" y="1157288"/>
          <p14:tracePt t="56993" x="8936038" y="1152525"/>
          <p14:tracePt t="56994" x="8940800" y="1152525"/>
          <p14:tracePt t="56995" x="8940800" y="1149350"/>
          <p14:tracePt t="56997" x="8940800" y="1144588"/>
          <p14:tracePt t="56998" x="8945563" y="1141413"/>
          <p14:tracePt t="57000" x="8948738" y="1136650"/>
          <p14:tracePt t="57002" x="8953500" y="1136650"/>
          <p14:tracePt t="57003" x="8956675" y="1136650"/>
          <p14:tracePt t="57006" x="8961438" y="1133475"/>
          <p14:tracePt t="57009" x="8961438" y="1128713"/>
          <p14:tracePt t="57011" x="8964613" y="1125538"/>
          <p14:tracePt t="57014" x="8969375" y="1120775"/>
          <p14:tracePt t="57018" x="8972550" y="1120775"/>
          <p14:tracePt t="57019" x="8972550" y="1117600"/>
          <p14:tracePt t="57023" x="8977313" y="1117600"/>
          <p14:tracePt t="57155" x="8977313" y="1120775"/>
          <p14:tracePt t="57184" x="8980488" y="1120775"/>
          <p14:tracePt t="57208" x="8985250" y="1120775"/>
          <p14:tracePt t="57212" x="8985250" y="1125538"/>
          <p14:tracePt t="57214" x="8988425" y="1125538"/>
          <p14:tracePt t="57217" x="8993188" y="1125538"/>
          <p14:tracePt t="57219" x="8996363" y="1128713"/>
          <p14:tracePt t="57220" x="9001125" y="1128713"/>
          <p14:tracePt t="57223" x="9001125" y="1133475"/>
          <p14:tracePt t="57224" x="9004300" y="1133475"/>
          <p14:tracePt t="57226" x="9009063" y="1133475"/>
          <p14:tracePt t="57228" x="9012238" y="1133475"/>
          <p14:tracePt t="57231" x="9017000" y="1133475"/>
          <p14:tracePt t="57234" x="9020175" y="1133475"/>
          <p14:tracePt t="57236" x="9020175" y="1136650"/>
          <p14:tracePt t="57238" x="9024938" y="1136650"/>
          <p14:tracePt t="57243" x="9028113" y="1136650"/>
          <p14:tracePt t="57246" x="9032875" y="1136650"/>
          <p14:tracePt t="57248" x="9032875" y="1141413"/>
          <p14:tracePt t="57250" x="9037638" y="1141413"/>
          <p14:tracePt t="57254" x="9040813" y="1141413"/>
          <p14:tracePt t="57258" x="9045575" y="1141413"/>
          <p14:tracePt t="57259" x="9045575" y="1144588"/>
          <p14:tracePt t="57261" x="9048750" y="1144588"/>
          <p14:tracePt t="57266" x="9053513" y="1144588"/>
          <p14:tracePt t="57269" x="9056688" y="1144588"/>
          <p14:tracePt t="57272" x="9061450" y="1144588"/>
          <p14:tracePt t="57275" x="9061450" y="1149350"/>
          <p14:tracePt t="57278" x="9064625" y="1149350"/>
          <p14:tracePt t="57281" x="9069388" y="1149350"/>
          <p14:tracePt t="57283" x="9069388" y="1152525"/>
          <p14:tracePt t="57284" x="9072563" y="1152525"/>
          <p14:tracePt t="57289" x="9077325" y="1157288"/>
          <p14:tracePt t="57292" x="9080500" y="1157288"/>
          <p14:tracePt t="57293" x="9085263" y="1157288"/>
          <p14:tracePt t="57297" x="9088438" y="1157288"/>
          <p14:tracePt t="57298" x="9093200" y="1157288"/>
          <p14:tracePt t="57301" x="9096375" y="1157288"/>
          <p14:tracePt t="57303" x="9101138" y="1157288"/>
          <p14:tracePt t="57304" x="9104313" y="1157288"/>
          <p14:tracePt t="57308" x="9104313" y="1160463"/>
          <p14:tracePt t="57310" x="9109075" y="1160463"/>
          <p14:tracePt t="57313" x="9112250" y="1160463"/>
          <p14:tracePt t="57316" x="9117013" y="1160463"/>
          <p14:tracePt t="57322" x="9120188" y="1160463"/>
          <p14:tracePt t="57324" x="9120188" y="1165225"/>
          <p14:tracePt t="57398" x="9120188" y="1168400"/>
          <p14:tracePt t="57432" x="9120188" y="1173163"/>
          <p14:tracePt t="57451" x="9120188" y="1176338"/>
          <p14:tracePt t="57463" x="9120188" y="1181100"/>
          <p14:tracePt t="57476" x="9120188" y="1184275"/>
          <p14:tracePt t="57523" x="9120188" y="1189038"/>
          <p14:tracePt t="57527" x="9120188" y="1193800"/>
          <p14:tracePt t="57532" x="9117013" y="1196975"/>
          <p14:tracePt t="57537" x="9117013" y="1201738"/>
          <p14:tracePt t="57540" x="9117013" y="1204913"/>
          <p14:tracePt t="57543" x="9117013" y="1209675"/>
          <p14:tracePt t="57544" x="9112250" y="1209675"/>
          <p14:tracePt t="57546" x="9112250" y="1212850"/>
          <p14:tracePt t="57553" x="9112250" y="1217613"/>
          <p14:tracePt t="57558" x="9109075" y="1225550"/>
          <p14:tracePt t="57560" x="9109075" y="1228725"/>
          <p14:tracePt t="57565" x="9109075" y="1233488"/>
          <p14:tracePt t="57566" x="9109075" y="1236663"/>
          <p14:tracePt t="57570" x="9109075" y="1241425"/>
          <p14:tracePt t="57573" x="9109075" y="1244600"/>
          <p14:tracePt t="57577" x="9109075" y="1249363"/>
          <p14:tracePt t="57578" x="9104313" y="1249363"/>
          <p14:tracePt t="57581" x="9104313" y="1252538"/>
          <p14:tracePt t="57590" x="9101138" y="1257300"/>
          <p14:tracePt t="57595" x="9101138" y="1260475"/>
          <p14:tracePt t="57599" x="9101138" y="1265238"/>
          <p14:tracePt t="57610" x="9101138" y="1268413"/>
          <p14:tracePt t="57615" x="9096375" y="1268413"/>
          <p14:tracePt t="57625" x="9096375" y="1273175"/>
          <p14:tracePt t="58121" x="9096375" y="1276350"/>
          <p14:tracePt t="58124" x="9093200" y="1276350"/>
          <p14:tracePt t="58128" x="9093200" y="1281113"/>
          <p14:tracePt t="58130" x="9088438" y="1285875"/>
          <p14:tracePt t="58132" x="9088438" y="1289050"/>
          <p14:tracePt t="58135" x="9085263" y="1289050"/>
          <p14:tracePt t="58136" x="9085263" y="1293813"/>
          <p14:tracePt t="58140" x="9080500" y="1293813"/>
          <p14:tracePt t="58143" x="9080500" y="1296988"/>
          <p14:tracePt t="58147" x="9077325" y="1301750"/>
          <p14:tracePt t="58149" x="9072563" y="1304925"/>
          <p14:tracePt t="58154" x="9069388" y="1309688"/>
          <p14:tracePt t="58158" x="9069388" y="1312863"/>
          <p14:tracePt t="58163" x="9064625" y="1317625"/>
          <p14:tracePt t="58166" x="9064625" y="1320800"/>
          <p14:tracePt t="58169" x="9061450" y="1320800"/>
          <p14:tracePt t="58172" x="9056688" y="1325563"/>
          <p14:tracePt t="58177" x="9053513" y="1325563"/>
          <p14:tracePt t="58183" x="9048750" y="1325563"/>
          <p14:tracePt t="58879" x="9048750" y="1328738"/>
          <p14:tracePt t="59554" x="9048750" y="1333500"/>
          <p14:tracePt t="59718" x="9048750" y="1328738"/>
          <p14:tracePt t="59764" x="9048750" y="1325563"/>
          <p14:tracePt t="59799" x="9045575" y="1325563"/>
          <p14:tracePt t="59832" x="9040813" y="1325563"/>
          <p14:tracePt t="59836" x="9032875" y="1333500"/>
          <p14:tracePt t="59839" x="9028113" y="1336675"/>
          <p14:tracePt t="59841" x="9028113" y="1341438"/>
          <p14:tracePt t="59842" x="9024938" y="1341438"/>
          <p14:tracePt t="59843" x="9020175" y="1344613"/>
          <p14:tracePt t="59844" x="9017000" y="1349375"/>
          <p14:tracePt t="59845" x="9012238" y="1349375"/>
          <p14:tracePt t="59846" x="9009063" y="1357313"/>
          <p14:tracePt t="59848" x="9001125" y="1360488"/>
          <p14:tracePt t="59850" x="8996363" y="1365250"/>
          <p14:tracePt t="59852" x="8988425" y="1377950"/>
          <p14:tracePt t="59855" x="8980488" y="1381125"/>
          <p14:tracePt t="59857" x="8977313" y="1385888"/>
          <p14:tracePt t="59858" x="8969375" y="1393825"/>
          <p14:tracePt t="59859" x="8964613" y="1397000"/>
          <p14:tracePt t="59860" x="8964613" y="1401763"/>
          <p14:tracePt t="59861" x="8961438" y="1404938"/>
          <p14:tracePt t="59864" x="8953500" y="1412875"/>
          <p14:tracePt t="59865" x="8945563" y="1417638"/>
          <p14:tracePt t="59867" x="8936038" y="1420813"/>
          <p14:tracePt t="59869" x="8932863" y="1428750"/>
          <p14:tracePt t="59870" x="8928100" y="1433513"/>
          <p14:tracePt t="59871" x="8928100" y="1436688"/>
          <p14:tracePt t="59880" x="8896350" y="1465263"/>
          <p14:tracePt t="59883" x="8893175" y="1470025"/>
          <p14:tracePt t="59883" x="8888413" y="1470025"/>
          <p14:tracePt t="59885" x="8888413" y="1477963"/>
          <p14:tracePt t="59886" x="8885238" y="1477963"/>
          <p14:tracePt t="59887" x="8885238" y="1481138"/>
          <p14:tracePt t="59888" x="8880475" y="1485900"/>
          <p14:tracePt t="59890" x="8877300" y="1485900"/>
          <p14:tracePt t="59891" x="8877300" y="1489075"/>
          <p14:tracePt t="59892" x="8872538" y="1489075"/>
          <p14:tracePt t="59893" x="8872538" y="1493838"/>
          <p14:tracePt t="59894" x="8869363" y="1497013"/>
          <p14:tracePt t="59898" x="8869363" y="1501775"/>
          <p14:tracePt t="59899" x="8864600" y="1501775"/>
          <p14:tracePt t="59900" x="8864600" y="1504950"/>
          <p14:tracePt t="59906" x="8861425" y="1509713"/>
          <p14:tracePt t="59910" x="8861425" y="1512888"/>
          <p14:tracePt t="59914" x="8856663" y="1512888"/>
          <p14:tracePt t="59916" x="8856663" y="1517650"/>
          <p14:tracePt t="60099" x="8856663" y="1512888"/>
          <p14:tracePt t="60107" x="8856663" y="1509713"/>
          <p14:tracePt t="60116" x="8856663" y="1504950"/>
          <p14:tracePt t="60121" x="8856663" y="1501775"/>
          <p14:tracePt t="60123" x="8856663" y="1497013"/>
          <p14:tracePt t="60127" x="8856663" y="1493838"/>
          <p14:tracePt t="60131" x="8856663" y="1489075"/>
          <p14:tracePt t="60137" x="8856663" y="1485900"/>
          <p14:tracePt t="60139" x="8856663" y="1481138"/>
          <p14:tracePt t="60143" x="8856663" y="1477963"/>
          <p14:tracePt t="60148" x="8856663" y="1473200"/>
          <p14:tracePt t="60151" x="8853488" y="1470025"/>
          <p14:tracePt t="60563" x="8856663" y="1470025"/>
          <p14:tracePt t="60593" x="8856663" y="1465263"/>
          <p14:tracePt t="60618" x="8861425" y="1460500"/>
          <p14:tracePt t="60630" x="8864600" y="1460500"/>
          <p14:tracePt t="60641" x="8864600" y="1457325"/>
          <p14:tracePt t="60671" x="8869363" y="1457325"/>
          <p14:tracePt t="60949" x="8869363" y="1460500"/>
          <p14:tracePt t="60972" x="8864600" y="1460500"/>
          <p14:tracePt t="60978" x="8864600" y="1465263"/>
          <p14:tracePt t="60984" x="8861425" y="1465263"/>
          <p14:tracePt t="60995" x="8856663" y="1465263"/>
          <p14:tracePt t="60998" x="8856663" y="1470025"/>
          <p14:tracePt t="61363" x="8856663" y="1473200"/>
          <p14:tracePt t="61367" x="8856663" y="1477963"/>
          <p14:tracePt t="61370" x="8856663" y="1481138"/>
          <p14:tracePt t="61373" x="8856663" y="1485900"/>
          <p14:tracePt t="61375" x="8853488" y="1489075"/>
          <p14:tracePt t="61376" x="8848725" y="1493838"/>
          <p14:tracePt t="61379" x="8848725" y="1497013"/>
          <p14:tracePt t="61381" x="8848725" y="1501775"/>
          <p14:tracePt t="61382" x="8848725" y="1504950"/>
          <p14:tracePt t="61385" x="8843963" y="1504950"/>
          <p14:tracePt t="61386" x="8843963" y="1509713"/>
          <p14:tracePt t="61387" x="8843963" y="1512888"/>
          <p14:tracePt t="61389" x="8843963" y="1517650"/>
          <p14:tracePt t="61390" x="8840788" y="1525588"/>
          <p14:tracePt t="61392" x="8836025" y="1528763"/>
          <p14:tracePt t="61393" x="8836025" y="1533525"/>
          <p14:tracePt t="61394" x="8832850" y="1536700"/>
          <p14:tracePt t="61396" x="8832850" y="1541463"/>
          <p14:tracePt t="61397" x="8828088" y="1544638"/>
          <p14:tracePt t="61398" x="8828088" y="1549400"/>
          <p14:tracePt t="61399" x="8828088" y="1552575"/>
          <p14:tracePt t="61400" x="8828088" y="1557338"/>
          <p14:tracePt t="61402" x="8824913" y="1565275"/>
          <p14:tracePt t="61403" x="8824913" y="1570038"/>
          <p14:tracePt t="61404" x="8820150" y="1573213"/>
          <p14:tracePt t="61405" x="8820150" y="1577975"/>
          <p14:tracePt t="61406" x="8816975" y="1581150"/>
          <p14:tracePt t="61407" x="8816975" y="1585913"/>
          <p14:tracePt t="61409" x="8812213" y="1589088"/>
          <p14:tracePt t="61410" x="8812213" y="1593850"/>
          <p14:tracePt t="61411" x="8809038" y="1597025"/>
          <p14:tracePt t="61412" x="8809038" y="1601788"/>
          <p14:tracePt t="61413" x="8809038" y="1604963"/>
          <p14:tracePt t="61414" x="8809038" y="1612900"/>
          <p14:tracePt t="61417" x="8809038" y="1625600"/>
          <p14:tracePt t="61418" x="8804275" y="1628775"/>
          <p14:tracePt t="61419" x="8804275" y="1633538"/>
          <p14:tracePt t="61420" x="8804275" y="1636713"/>
          <p14:tracePt t="61421" x="8804275" y="1641475"/>
          <p14:tracePt t="61422" x="8801100" y="1644650"/>
          <p14:tracePt t="61423" x="8801100" y="1649413"/>
          <p14:tracePt t="61424" x="8796338" y="1654175"/>
          <p14:tracePt t="61425" x="8796338" y="1657350"/>
          <p14:tracePt t="61426" x="8796338" y="1662113"/>
          <p14:tracePt t="61427" x="8793163" y="1665288"/>
          <p14:tracePt t="61428" x="8793163" y="1670050"/>
          <p14:tracePt t="61430" x="8793163" y="1681163"/>
          <p14:tracePt t="61433" x="8788400" y="1689100"/>
          <p14:tracePt t="61434" x="8788400" y="1693863"/>
          <p14:tracePt t="61435" x="8788400" y="1697038"/>
          <p14:tracePt t="61436" x="8785225" y="1701800"/>
          <p14:tracePt t="61437" x="8785225" y="1704975"/>
          <p14:tracePt t="61438" x="8785225" y="1709738"/>
          <p14:tracePt t="61439" x="8785225" y="1712913"/>
          <p14:tracePt t="61440" x="8785225" y="1717675"/>
          <p14:tracePt t="61441" x="8785225" y="1720850"/>
          <p14:tracePt t="61442" x="8785225" y="1725613"/>
          <p14:tracePt t="61444" x="8785225" y="1728788"/>
          <p14:tracePt t="61445" x="8785225" y="1733550"/>
          <p14:tracePt t="61446" x="8785225" y="1738313"/>
          <p14:tracePt t="61448" x="8785225" y="1741488"/>
          <p14:tracePt t="61449" x="8785225" y="1746250"/>
          <p14:tracePt t="61450" x="8785225" y="1749425"/>
          <p14:tracePt t="61451" x="8785225" y="1754188"/>
          <p14:tracePt t="61452" x="8785225" y="1757363"/>
          <p14:tracePt t="61453" x="8785225" y="1762125"/>
          <p14:tracePt t="61455" x="8785225" y="1765300"/>
          <p14:tracePt t="61457" x="8785225" y="1770063"/>
          <p14:tracePt t="61458" x="8785225" y="1773238"/>
          <p14:tracePt t="61460" x="8785225" y="1778000"/>
          <p14:tracePt t="61461" x="8785225" y="1781175"/>
          <p14:tracePt t="61463" x="8785225" y="1785938"/>
          <p14:tracePt t="61465" x="8785225" y="1789113"/>
          <p14:tracePt t="61467" x="8785225" y="1793875"/>
          <p14:tracePt t="61469" x="8785225" y="1797050"/>
          <p14:tracePt t="61471" x="8785225" y="1801813"/>
          <p14:tracePt t="61475" x="8785225" y="1804988"/>
          <p14:tracePt t="61490" x="8785225" y="1809750"/>
          <p14:tracePt t="61494" x="8785225" y="1812925"/>
          <p14:tracePt t="61498" x="8785225" y="1817688"/>
          <p14:tracePt t="61502" x="8788400" y="1817688"/>
          <p14:tracePt t="61508" x="8788400" y="1820863"/>
          <p14:tracePt t="61526" x="8793163" y="1820863"/>
          <p14:tracePt t="61544" x="8793163" y="1825625"/>
          <p14:tracePt t="61704" x="8793163" y="1820863"/>
          <p14:tracePt t="61734" x="8796338" y="1820863"/>
          <p14:tracePt t="61737" x="8796338" y="1817688"/>
          <p14:tracePt t="61903" x="8801100" y="1817688"/>
          <p14:tracePt t="61907" x="8804275" y="1817688"/>
          <p14:tracePt t="61941" x="8801100" y="1817688"/>
          <p14:tracePt t="61944" x="8796338" y="1817688"/>
          <p14:tracePt t="61946" x="8793163" y="1817688"/>
          <p14:tracePt t="61951" x="8788400" y="1817688"/>
          <p14:tracePt t="61956" x="8788400" y="1812925"/>
          <p14:tracePt t="62266" x="8785225" y="1812925"/>
          <p14:tracePt t="62269" x="8780463" y="1812925"/>
          <p14:tracePt t="62285" x="8777288" y="1812925"/>
          <p14:tracePt t="62313" x="8772525" y="1812925"/>
          <p14:tracePt t="62318" x="8772525" y="1817688"/>
          <p14:tracePt t="62320" x="8772525" y="1820863"/>
          <p14:tracePt t="62322" x="8772525" y="1825625"/>
          <p14:tracePt t="62325" x="8769350" y="1830388"/>
          <p14:tracePt t="62326" x="8769350" y="1833563"/>
          <p14:tracePt t="62328" x="8769350" y="1838325"/>
          <p14:tracePt t="62331" x="8764588" y="1846263"/>
          <p14:tracePt t="62332" x="8761413" y="1846263"/>
          <p14:tracePt t="62333" x="8756650" y="1854200"/>
          <p14:tracePt t="62334" x="8756650" y="1857375"/>
          <p14:tracePt t="62335" x="8756650" y="1862138"/>
          <p14:tracePt t="62336" x="8751888" y="1865313"/>
          <p14:tracePt t="62337" x="8751888" y="1870075"/>
          <p14:tracePt t="62339" x="8748713" y="1878013"/>
          <p14:tracePt t="62340" x="8748713" y="1885950"/>
          <p14:tracePt t="62341" x="8743950" y="1889125"/>
          <p14:tracePt t="62343" x="8740775" y="1893888"/>
          <p14:tracePt t="62344" x="8740775" y="1897063"/>
          <p14:tracePt t="62345" x="8736013" y="1905000"/>
          <p14:tracePt t="62347" x="8732838" y="1912938"/>
          <p14:tracePt t="62350" x="8728075" y="1925638"/>
          <p14:tracePt t="62351" x="8724900" y="1933575"/>
          <p14:tracePt t="62352" x="8720138" y="1938338"/>
          <p14:tracePt t="62353" x="8720138" y="1946275"/>
          <p14:tracePt t="62354" x="8720138" y="1949450"/>
          <p14:tracePt t="62355" x="8716963" y="1954213"/>
          <p14:tracePt t="62357" x="8716963" y="1957388"/>
          <p14:tracePt t="62358" x="8712200" y="1965325"/>
          <p14:tracePt t="62359" x="8709025" y="1970088"/>
          <p14:tracePt t="62360" x="8709025" y="1973263"/>
          <p14:tracePt t="62361" x="8704263" y="1978025"/>
          <p14:tracePt t="62362" x="8704263" y="1981200"/>
          <p14:tracePt t="62363" x="8704263" y="1985963"/>
          <p14:tracePt t="62364" x="8701088" y="1989138"/>
          <p14:tracePt t="62367" x="8696325" y="2001838"/>
          <p14:tracePt t="62369" x="8693150" y="2009775"/>
          <p14:tracePt t="62370" x="8693150" y="2014538"/>
          <p14:tracePt t="62371" x="8693150" y="2017713"/>
          <p14:tracePt t="62372" x="8688388" y="2022475"/>
          <p14:tracePt t="62373" x="8688388" y="2025650"/>
          <p14:tracePt t="62374" x="8688388" y="2030413"/>
          <p14:tracePt t="62375" x="8685213" y="2033588"/>
          <p14:tracePt t="62376" x="8685213" y="2038350"/>
          <p14:tracePt t="62377" x="8685213" y="2041525"/>
          <p14:tracePt t="62378" x="8680450" y="2046288"/>
          <p14:tracePt t="62380" x="8680450" y="2049463"/>
          <p14:tracePt t="62381" x="8677275" y="2054225"/>
          <p14:tracePt t="62383" x="8677275" y="2057400"/>
          <p14:tracePt t="62385" x="8672513" y="2062163"/>
          <p14:tracePt t="62385" x="8672513" y="2065338"/>
          <p14:tracePt t="62386" x="8672513" y="2070100"/>
          <p14:tracePt t="62387" x="8667750" y="2073275"/>
          <p14:tracePt t="62388" x="8667750" y="2078038"/>
          <p14:tracePt t="62389" x="8667750" y="2081213"/>
          <p14:tracePt t="62391" x="8667750" y="2085975"/>
          <p14:tracePt t="62392" x="8664575" y="2089150"/>
          <p14:tracePt t="62394" x="8664575" y="2093913"/>
          <p14:tracePt t="62395" x="8659813" y="2093913"/>
          <p14:tracePt t="62396" x="8659813" y="2097088"/>
          <p14:tracePt t="62398" x="8659813" y="2106613"/>
          <p14:tracePt t="62399" x="8656638" y="2109788"/>
          <p14:tracePt t="62401" x="8656638" y="2114550"/>
          <p14:tracePt t="62401" x="8656638" y="2117725"/>
          <p14:tracePt t="62402" x="8651875" y="2117725"/>
          <p14:tracePt t="62403" x="8651875" y="2122488"/>
          <p14:tracePt t="62404" x="8651875" y="2125663"/>
          <p14:tracePt t="62405" x="8648700" y="2130425"/>
          <p14:tracePt t="62407" x="8648700" y="2133600"/>
          <p14:tracePt t="62408" x="8643938" y="2133600"/>
          <p14:tracePt t="62409" x="8643938" y="2138363"/>
          <p14:tracePt t="62411" x="8643938" y="2141538"/>
          <p14:tracePt t="62413" x="8640763" y="2146300"/>
          <p14:tracePt t="62414" x="8640763" y="2149475"/>
          <p14:tracePt t="62415" x="8636000" y="2154238"/>
          <p14:tracePt t="62417" x="8636000" y="2157413"/>
          <p14:tracePt t="62418" x="8632825" y="2162175"/>
          <p14:tracePt t="62419" x="8632825" y="2165350"/>
          <p14:tracePt t="62420" x="8628063" y="2170113"/>
          <p14:tracePt t="62422" x="8628063" y="2173288"/>
          <p14:tracePt t="62425" x="8628063" y="2178050"/>
          <p14:tracePt t="62426" x="8624888" y="2178050"/>
          <p14:tracePt t="62427" x="8624888" y="2181225"/>
          <p14:tracePt t="62428" x="8624888" y="2185988"/>
          <p14:tracePt t="62430" x="8620125" y="2189163"/>
          <p14:tracePt t="62431" x="8620125" y="2193925"/>
          <p14:tracePt t="62433" x="8616950" y="2193925"/>
          <p14:tracePt t="62434" x="8612188" y="2198688"/>
          <p14:tracePt t="62435" x="8612188" y="2201863"/>
          <p14:tracePt t="62437" x="8609013" y="2206625"/>
          <p14:tracePt t="62438" x="8609013" y="2209800"/>
          <p14:tracePt t="62439" x="8604250" y="2214563"/>
          <p14:tracePt t="62442" x="8601075" y="2217738"/>
          <p14:tracePt t="62444" x="8601075" y="2222500"/>
          <p14:tracePt t="62445" x="8596313" y="2225675"/>
          <p14:tracePt t="62446" x="8596313" y="2230438"/>
          <p14:tracePt t="62448" x="8593138" y="2233613"/>
          <p14:tracePt t="62449" x="8588375" y="2233613"/>
          <p14:tracePt t="62450" x="8588375" y="2238375"/>
          <p14:tracePt t="62452" x="8588375" y="2241550"/>
          <p14:tracePt t="62454" x="8585200" y="2246313"/>
          <p14:tracePt t="62455" x="8585200" y="2249488"/>
          <p14:tracePt t="62456" x="8580438" y="2249488"/>
          <p14:tracePt t="62457" x="8580438" y="2254250"/>
          <p14:tracePt t="62458" x="8575675" y="2254250"/>
          <p14:tracePt t="62459" x="8572500" y="2254250"/>
          <p14:tracePt t="62460" x="8572500" y="2257425"/>
          <p14:tracePt t="62461" x="8567738" y="2257425"/>
          <p14:tracePt t="62462" x="8567738" y="2262188"/>
          <p14:tracePt t="62465" x="8564563" y="2265363"/>
          <p14:tracePt t="62466" x="8559800" y="2270125"/>
          <p14:tracePt t="62468" x="8556625" y="2273300"/>
          <p14:tracePt t="62470" x="8551863" y="2278063"/>
          <p14:tracePt t="62472" x="8548688" y="2278063"/>
          <p14:tracePt t="62473" x="8548688" y="2281238"/>
          <p14:tracePt t="62476" x="8543925" y="2286000"/>
          <p14:tracePt t="62478" x="8540750" y="2290763"/>
          <p14:tracePt t="62480" x="8535988" y="2293938"/>
          <p14:tracePt t="62483" x="8532813" y="2293938"/>
          <p14:tracePt t="62487" x="8528050" y="2293938"/>
          <p14:tracePt t="62487" x="8528050" y="2298700"/>
          <p14:tracePt t="62490" x="8524875" y="2301875"/>
          <p14:tracePt t="62493" x="8520113" y="2301875"/>
          <p14:tracePt t="62494" x="8520113" y="2306638"/>
          <p14:tracePt t="62496" x="8516938" y="2306638"/>
          <p14:tracePt t="62499" x="8516938" y="2309813"/>
          <p14:tracePt t="62501" x="8512175" y="2309813"/>
          <p14:tracePt t="62503" x="8512175" y="2314575"/>
          <p14:tracePt t="62505" x="8509000" y="2314575"/>
          <p14:tracePt t="62510" x="8509000" y="2317750"/>
          <p14:tracePt t="62514" x="8504238" y="2322513"/>
          <p14:tracePt t="62517" x="8501063" y="2322513"/>
          <p14:tracePt t="62521" x="8496300" y="2322513"/>
          <p14:tracePt t="62522" x="8496300" y="2325688"/>
          <p14:tracePt t="62523" x="8493125" y="2325688"/>
          <p14:tracePt t="62525" x="8493125" y="2330450"/>
          <p14:tracePt t="62527" x="8488363" y="2330450"/>
          <p14:tracePt t="62528" x="8483600" y="2330450"/>
          <p14:tracePt t="62530" x="8483600" y="2333625"/>
          <p14:tracePt t="62531" x="8480425" y="2333625"/>
          <p14:tracePt t="62533" x="8475663" y="2338388"/>
          <p14:tracePt t="62536" x="8472488" y="2341563"/>
          <p14:tracePt t="62537" x="8467725" y="2341563"/>
          <p14:tracePt t="62538" x="8467725" y="2346325"/>
          <p14:tracePt t="62541" x="8467725" y="2349500"/>
          <p14:tracePt t="62543" x="8464550" y="2354263"/>
          <p14:tracePt t="62545" x="8459788" y="2354263"/>
          <p14:tracePt t="62547" x="8456613" y="2357438"/>
          <p14:tracePt t="62548" x="8451850" y="2357438"/>
          <p14:tracePt t="62550" x="8448675" y="2362200"/>
          <p14:tracePt t="62551" x="8443913" y="2365375"/>
          <p14:tracePt t="62552" x="8440738" y="2370138"/>
          <p14:tracePt t="62554" x="8435975" y="2373313"/>
          <p14:tracePt t="62555" x="8432800" y="2373313"/>
          <p14:tracePt t="62557" x="8428038" y="2373313"/>
          <p14:tracePt t="62558" x="8428038" y="2378075"/>
          <p14:tracePt t="62559" x="8424863" y="2382838"/>
          <p14:tracePt t="62560" x="8420100" y="2386013"/>
          <p14:tracePt t="62561" x="8416925" y="2386013"/>
          <p14:tracePt t="62562" x="8412163" y="2390775"/>
          <p14:tracePt t="62563" x="8408988" y="2393950"/>
          <p14:tracePt t="62565" x="8404225" y="2398713"/>
          <p14:tracePt t="62566" x="8401050" y="2401888"/>
          <p14:tracePt t="62567" x="8396288" y="2406650"/>
          <p14:tracePt t="62568" x="8391525" y="2406650"/>
          <p14:tracePt t="62569" x="8391525" y="2409825"/>
          <p14:tracePt t="62570" x="8388350" y="2409825"/>
          <p14:tracePt t="62571" x="8388350" y="2414588"/>
          <p14:tracePt t="62572" x="8383588" y="2414588"/>
          <p14:tracePt t="62573" x="8380413" y="2414588"/>
          <p14:tracePt t="62574" x="8380413" y="2417763"/>
          <p14:tracePt t="62575" x="8375650" y="2422525"/>
          <p14:tracePt t="62576" x="8372475" y="2425700"/>
          <p14:tracePt t="62577" x="8367713" y="2430463"/>
          <p14:tracePt t="62578" x="8364538" y="2430463"/>
          <p14:tracePt t="62579" x="8364538" y="2433638"/>
          <p14:tracePt t="62580" x="8359775" y="2438400"/>
          <p14:tracePt t="62582" x="8356600" y="2446338"/>
          <p14:tracePt t="62583" x="8351838" y="2446338"/>
          <p14:tracePt t="62584" x="8348663" y="2449513"/>
          <p14:tracePt t="62585" x="8348663" y="2454275"/>
          <p14:tracePt t="62586" x="8343900" y="2454275"/>
          <p14:tracePt t="62587" x="8340725" y="2462213"/>
          <p14:tracePt t="62588" x="8340725" y="2465388"/>
          <p14:tracePt t="62589" x="8335963" y="2470150"/>
          <p14:tracePt t="62591" x="8335963" y="2474913"/>
          <p14:tracePt t="62592" x="8332788" y="2474913"/>
          <p14:tracePt t="62593" x="8328025" y="2478088"/>
          <p14:tracePt t="62594" x="8324850" y="2482850"/>
          <p14:tracePt t="62595" x="8324850" y="2486025"/>
          <p14:tracePt t="62596" x="8320088" y="2490788"/>
          <p14:tracePt t="62597" x="8320088" y="2493963"/>
          <p14:tracePt t="62599" x="8316913" y="2498725"/>
          <p14:tracePt t="62600" x="8312150" y="2501900"/>
          <p14:tracePt t="62601" x="8307388" y="2506663"/>
          <p14:tracePt t="62602" x="8307388" y="2509838"/>
          <p14:tracePt t="62603" x="8304213" y="2514600"/>
          <p14:tracePt t="62604" x="8299450" y="2514600"/>
          <p14:tracePt t="62605" x="8299450" y="2517775"/>
          <p14:tracePt t="62606" x="8296275" y="2522538"/>
          <p14:tracePt t="62607" x="8296275" y="2525713"/>
          <p14:tracePt t="62608" x="8296275" y="2530475"/>
          <p14:tracePt t="62609" x="8296275" y="2533650"/>
          <p14:tracePt t="62611" x="8296275" y="2538413"/>
          <p14:tracePt t="62612" x="8291513" y="2541588"/>
          <p14:tracePt t="62613" x="8291513" y="2546350"/>
          <p14:tracePt t="62614" x="8288338" y="2549525"/>
          <p14:tracePt t="62616" x="8283575" y="2554288"/>
          <p14:tracePt t="62617" x="8283575" y="2562225"/>
          <p14:tracePt t="62618" x="8283575" y="2566988"/>
          <p14:tracePt t="62619" x="8280400" y="2570163"/>
          <p14:tracePt t="62620" x="8280400" y="2574925"/>
          <p14:tracePt t="62622" x="8275638" y="2582863"/>
          <p14:tracePt t="62623" x="8275638" y="2586038"/>
          <p14:tracePt t="62624" x="8275638" y="2590800"/>
          <p14:tracePt t="62625" x="8272463" y="2593975"/>
          <p14:tracePt t="62626" x="8272463" y="2598738"/>
          <p14:tracePt t="62627" x="8267700" y="2601913"/>
          <p14:tracePt t="62628" x="8267700" y="2609850"/>
          <p14:tracePt t="62630" x="8264525" y="2614613"/>
          <p14:tracePt t="62632" x="8264525" y="2622550"/>
          <p14:tracePt t="62633" x="8259763" y="2625725"/>
          <p14:tracePt t="62634" x="8259763" y="2630488"/>
          <p14:tracePt t="62635" x="8259763" y="2633663"/>
          <p14:tracePt t="62636" x="8259763" y="2638425"/>
          <p14:tracePt t="62637" x="8259763" y="2641600"/>
          <p14:tracePt t="62638" x="8256588" y="2649538"/>
          <p14:tracePt t="62639" x="8256588" y="2654300"/>
          <p14:tracePt t="62640" x="8251825" y="2659063"/>
          <p14:tracePt t="62641" x="8251825" y="2662238"/>
          <p14:tracePt t="62642" x="8248650" y="2662238"/>
          <p14:tracePt t="62643" x="8248650" y="2667000"/>
          <p14:tracePt t="62644" x="8248650" y="2670175"/>
          <p14:tracePt t="62645" x="8248650" y="2674938"/>
          <p14:tracePt t="62646" x="8243888" y="2678113"/>
          <p14:tracePt t="62648" x="8243888" y="2686050"/>
          <p14:tracePt t="62649" x="8240713" y="2690813"/>
          <p14:tracePt t="62650" x="8240713" y="2693988"/>
          <p14:tracePt t="62651" x="8235950" y="2698750"/>
          <p14:tracePt t="62652" x="8235950" y="2701925"/>
          <p14:tracePt t="62653" x="8232775" y="2701925"/>
          <p14:tracePt t="62654" x="8232775" y="2706688"/>
          <p14:tracePt t="62655" x="8232775" y="2709863"/>
          <p14:tracePt t="62656" x="8228013" y="2714625"/>
          <p14:tracePt t="62657" x="8228013" y="2717800"/>
          <p14:tracePt t="62658" x="8224838" y="2722563"/>
          <p14:tracePt t="62659" x="8224838" y="2725738"/>
          <p14:tracePt t="62660" x="8224838" y="2730500"/>
          <p14:tracePt t="62661" x="8220075" y="2733675"/>
          <p14:tracePt t="62662" x="8220075" y="2738438"/>
          <p14:tracePt t="62663" x="8215313" y="2741613"/>
          <p14:tracePt t="62665" x="8215313" y="2746375"/>
          <p14:tracePt t="62666" x="8212138" y="2751138"/>
          <p14:tracePt t="62667" x="8212138" y="2754313"/>
          <p14:tracePt t="62668" x="8212138" y="2759075"/>
          <p14:tracePt t="62669" x="8212138" y="2762250"/>
          <p14:tracePt t="62670" x="8207375" y="2762250"/>
          <p14:tracePt t="62671" x="8207375" y="2767013"/>
          <p14:tracePt t="62672" x="8207375" y="2770188"/>
          <p14:tracePt t="62673" x="8207375" y="2774950"/>
          <p14:tracePt t="62674" x="8207375" y="2778125"/>
          <p14:tracePt t="62676" x="8207375" y="2782888"/>
          <p14:tracePt t="62677" x="8204200" y="2782888"/>
          <p14:tracePt t="62678" x="8204200" y="2786063"/>
          <p14:tracePt t="62680" x="8199438" y="2790825"/>
          <p14:tracePt t="62681" x="8199438" y="2794000"/>
          <p14:tracePt t="62683" x="8199438" y="2801938"/>
          <p14:tracePt t="62684" x="8196263" y="2806700"/>
          <p14:tracePt t="62686" x="8196263" y="2809875"/>
          <p14:tracePt t="62687" x="8191500" y="2814638"/>
          <p14:tracePt t="62688" x="8191500" y="2817813"/>
          <p14:tracePt t="62689" x="8191500" y="2822575"/>
          <p14:tracePt t="62691" x="8188325" y="2822575"/>
          <p14:tracePt t="62692" x="8188325" y="2825750"/>
          <p14:tracePt t="62694" x="8188325" y="2830513"/>
          <p14:tracePt t="62695" x="8183563" y="2833688"/>
          <p14:tracePt t="62696" x="8183563" y="2838450"/>
          <p14:tracePt t="62698" x="8180388" y="2843213"/>
          <p14:tracePt t="62699" x="8180388" y="2846388"/>
          <p14:tracePt t="62701" x="8180388" y="2851150"/>
          <p14:tracePt t="62703" x="8180388" y="2854325"/>
          <p14:tracePt t="62704" x="8175625" y="2854325"/>
          <p14:tracePt t="62705" x="8175625" y="2859088"/>
          <p14:tracePt t="62707" x="8175625" y="2862263"/>
          <p14:tracePt t="62708" x="8172450" y="2862263"/>
          <p14:tracePt t="62709" x="8172450" y="2867025"/>
          <p14:tracePt t="62712" x="8167688" y="2867025"/>
          <p14:tracePt t="62715" x="8167688" y="2870200"/>
          <p14:tracePt t="62716" x="8167688" y="2874963"/>
          <p14:tracePt t="62719" x="8167688" y="2878138"/>
          <p14:tracePt t="62721" x="8164513" y="2878138"/>
          <p14:tracePt t="62723" x="8164513" y="2882900"/>
          <p14:tracePt t="62724" x="8159750" y="2882900"/>
          <p14:tracePt t="62726" x="8159750" y="2886075"/>
          <p14:tracePt t="62728" x="8156575" y="2886075"/>
          <p14:tracePt t="62730" x="8156575" y="2890838"/>
          <p14:tracePt t="62733" x="8151813" y="2890838"/>
          <p14:tracePt t="62735" x="8151813" y="2894013"/>
          <p14:tracePt t="62736" x="8148638" y="2894013"/>
          <p14:tracePt t="62740" x="8143875" y="2894013"/>
          <p14:tracePt t="62743" x="8140700" y="2894013"/>
          <p14:tracePt t="62744" x="8135938" y="2894013"/>
          <p14:tracePt t="62746" x="8132763" y="2894013"/>
          <p14:tracePt t="62747" x="8132763" y="2898775"/>
          <p14:tracePt t="62748" x="8128000" y="2898775"/>
          <p14:tracePt t="62751" x="8123238" y="2898775"/>
          <p14:tracePt t="62752" x="8120063" y="2898775"/>
          <p14:tracePt t="62753" x="8115300" y="2898775"/>
          <p14:tracePt t="62754" x="8112125" y="2898775"/>
          <p14:tracePt t="62755" x="8107363" y="2898775"/>
          <p14:tracePt t="62756" x="8104188" y="2898775"/>
          <p14:tracePt t="62757" x="8099425" y="2898775"/>
          <p14:tracePt t="62759" x="8091488" y="2898775"/>
          <p14:tracePt t="62760" x="8088313" y="2898775"/>
          <p14:tracePt t="62761" x="8083550" y="2898775"/>
          <p14:tracePt t="62762" x="8075613" y="2898775"/>
          <p14:tracePt t="62764" x="8067675" y="2894013"/>
          <p14:tracePt t="62765" x="8064500" y="2894013"/>
          <p14:tracePt t="62766" x="8056563" y="2890838"/>
          <p14:tracePt t="62767" x="8051800" y="2890838"/>
          <p14:tracePt t="62768" x="8043863" y="2890838"/>
          <p14:tracePt t="62769" x="8035925" y="2890838"/>
          <p14:tracePt t="62770" x="8027988" y="2886075"/>
          <p14:tracePt t="62771" x="8020050" y="2886075"/>
          <p14:tracePt t="62772" x="8007350" y="2882900"/>
          <p14:tracePt t="62773" x="7999413" y="2882900"/>
          <p14:tracePt t="62774" x="7991475" y="2874963"/>
          <p14:tracePt t="62776" x="7975600" y="2870200"/>
          <p14:tracePt t="62777" x="7967663" y="2870200"/>
          <p14:tracePt t="62778" x="7959725" y="2867025"/>
          <p14:tracePt t="62780" x="7935913" y="2862263"/>
          <p14:tracePt t="62781" x="7927975" y="2859088"/>
          <p14:tracePt t="62782" x="7920038" y="2859088"/>
          <p14:tracePt t="62783" x="7912100" y="2854325"/>
          <p14:tracePt t="62784" x="7899400" y="2851150"/>
          <p14:tracePt t="62785" x="7888288" y="2851150"/>
          <p14:tracePt t="62786" x="7875588" y="2846388"/>
          <p14:tracePt t="62787" x="7864475" y="2846388"/>
          <p14:tracePt t="62788" x="7854950" y="2843213"/>
          <p14:tracePt t="62789" x="7843838" y="2843213"/>
          <p14:tracePt t="62790" x="7827963" y="2833688"/>
          <p14:tracePt t="62791" x="7820025" y="2830513"/>
          <p14:tracePt t="62792" x="7807325" y="2830513"/>
          <p14:tracePt t="62793" x="7799388" y="2825750"/>
          <p14:tracePt t="62794" x="7783513" y="2822575"/>
          <p14:tracePt t="62795" x="7772400" y="2817813"/>
          <p14:tracePt t="62796" x="7759700" y="2817813"/>
          <p14:tracePt t="62797" x="7747000" y="2814638"/>
          <p14:tracePt t="62799" x="7739063" y="2814638"/>
          <p14:tracePt t="62799" x="7723188" y="2809875"/>
          <p14:tracePt t="62800" x="7712075" y="2801938"/>
          <p14:tracePt t="62801" x="7704138" y="2801938"/>
          <p14:tracePt t="62802" x="7688263" y="2798763"/>
          <p14:tracePt t="62803" x="7680325" y="2798763"/>
          <p14:tracePt t="62804" x="7670800" y="2794000"/>
          <p14:tracePt t="62805" x="7659688" y="2794000"/>
          <p14:tracePt t="62806" x="7646988" y="2790825"/>
          <p14:tracePt t="62807" x="7639050" y="2790825"/>
          <p14:tracePt t="62808" x="7627938" y="2786063"/>
          <p14:tracePt t="62809" x="7620000" y="2786063"/>
          <p14:tracePt t="62810" x="7604125" y="2782888"/>
          <p14:tracePt t="62811" x="7599363" y="2782888"/>
          <p14:tracePt t="62812" x="7591425" y="2778125"/>
          <p14:tracePt t="62813" x="7583488" y="2778125"/>
          <p14:tracePt t="62814" x="7575550" y="2774950"/>
          <p14:tracePt t="62816" x="7559675" y="2770188"/>
          <p14:tracePt t="62817" x="7551738" y="2770188"/>
          <p14:tracePt t="62818" x="7543800" y="2770188"/>
          <p14:tracePt t="62819" x="7535863" y="2767013"/>
          <p14:tracePt t="62820" x="7527925" y="2767013"/>
          <p14:tracePt t="62821" x="7515225" y="2759075"/>
          <p14:tracePt t="62822" x="7507288" y="2759075"/>
          <p14:tracePt t="62824" x="7499350" y="2754313"/>
          <p14:tracePt t="62825" x="7486650" y="2754313"/>
          <p14:tracePt t="62827" x="7478713" y="2754313"/>
          <p14:tracePt t="62828" x="7475538" y="2754313"/>
          <p14:tracePt t="62830" x="7462838" y="2754313"/>
          <p14:tracePt t="62832" x="7454900" y="2754313"/>
          <p14:tracePt t="62833" x="7451725" y="2751138"/>
          <p14:tracePt t="62834" x="7443788" y="2751138"/>
          <p14:tracePt t="62835" x="7439025" y="2751138"/>
          <p14:tracePt t="62836" x="7435850" y="2751138"/>
          <p14:tracePt t="62837" x="7431088" y="2751138"/>
          <p14:tracePt t="62840" x="7427913" y="2751138"/>
          <p14:tracePt t="62841" x="7423150" y="2751138"/>
          <p14:tracePt t="62842" x="7419975" y="2751138"/>
          <p14:tracePt t="62844" x="7415213" y="2751138"/>
          <p14:tracePt t="62846" x="7412038" y="2751138"/>
          <p14:tracePt t="62848" x="7407275" y="2751138"/>
          <p14:tracePt t="62864" x="7402513" y="2751138"/>
          <p14:tracePt t="62908" x="7399338" y="2751138"/>
          <p14:tracePt t="62913" x="7394575" y="2751138"/>
          <p14:tracePt t="62914" x="7394575" y="2754313"/>
          <p14:tracePt t="62921" x="7391400" y="2759075"/>
          <p14:tracePt t="62925" x="7391400" y="2762250"/>
          <p14:tracePt t="62939" x="7386638" y="2762250"/>
          <p14:tracePt t="62940" x="7386638" y="2767013"/>
          <p14:tracePt t="63017" x="7386638" y="2762250"/>
          <p14:tracePt t="63026" x="7386638" y="2759075"/>
          <p14:tracePt t="63030" x="7386638" y="2754313"/>
          <p14:tracePt t="63035" x="7386638" y="2751138"/>
          <p14:tracePt t="63036" x="7386638" y="2746375"/>
          <p14:tracePt t="63037" x="7386638" y="2741613"/>
          <p14:tracePt t="63039" x="7386638" y="2738438"/>
          <p14:tracePt t="63040" x="7386638" y="2733675"/>
          <p14:tracePt t="63042" x="7386638" y="2730500"/>
          <p14:tracePt t="63043" x="7386638" y="2725738"/>
          <p14:tracePt t="63044" x="7386638" y="2717800"/>
          <p14:tracePt t="63047" x="7386638" y="2709863"/>
          <p14:tracePt t="63048" x="7391400" y="2701925"/>
          <p14:tracePt t="63050" x="7391400" y="2698750"/>
          <p14:tracePt t="63051" x="7391400" y="2693988"/>
          <p14:tracePt t="63052" x="7391400" y="2690813"/>
          <p14:tracePt t="63053" x="7391400" y="2686050"/>
          <p14:tracePt t="63054" x="7391400" y="2682875"/>
          <p14:tracePt t="63055" x="7391400" y="2674938"/>
          <p14:tracePt t="63056" x="7391400" y="2670175"/>
          <p14:tracePt t="63059" x="7391400" y="2654300"/>
          <p14:tracePt t="63060" x="7391400" y="2649538"/>
          <p14:tracePt t="63062" x="7391400" y="2641600"/>
          <p14:tracePt t="63063" x="7391400" y="2638425"/>
          <p14:tracePt t="63064" x="7391400" y="2630488"/>
          <p14:tracePt t="63065" x="7391400" y="2625725"/>
          <p14:tracePt t="63066" x="7391400" y="2622550"/>
          <p14:tracePt t="63067" x="7391400" y="2614613"/>
          <p14:tracePt t="63068" x="7391400" y="2609850"/>
          <p14:tracePt t="63069" x="7391400" y="2601913"/>
          <p14:tracePt t="63070" x="7391400" y="2593975"/>
          <p14:tracePt t="63071" x="7391400" y="2590800"/>
          <p14:tracePt t="63072" x="7391400" y="2582863"/>
          <p14:tracePt t="63073" x="7391400" y="2578100"/>
          <p14:tracePt t="63074" x="7391400" y="2570163"/>
          <p14:tracePt t="63075" x="7391400" y="2562225"/>
          <p14:tracePt t="63076" x="7391400" y="2554288"/>
          <p14:tracePt t="63077" x="7394575" y="2549525"/>
          <p14:tracePt t="63078" x="7394575" y="2546350"/>
          <p14:tracePt t="63079" x="7394575" y="2533650"/>
          <p14:tracePt t="63081" x="7399338" y="2525713"/>
          <p14:tracePt t="63081" x="7399338" y="2517775"/>
          <p14:tracePt t="63082" x="7399338" y="2509838"/>
          <p14:tracePt t="63083" x="7399338" y="2501900"/>
          <p14:tracePt t="63084" x="7407275" y="2490788"/>
          <p14:tracePt t="63085" x="7407275" y="2482850"/>
          <p14:tracePt t="63086" x="7407275" y="2474913"/>
          <p14:tracePt t="63087" x="7407275" y="2462213"/>
          <p14:tracePt t="63089" x="7412038" y="2438400"/>
          <p14:tracePt t="63090" x="7412038" y="2425700"/>
          <p14:tracePt t="63091" x="7415213" y="2417763"/>
          <p14:tracePt t="63092" x="7415213" y="2406650"/>
          <p14:tracePt t="63093" x="7415213" y="2398713"/>
          <p14:tracePt t="63094" x="7415213" y="2382838"/>
          <p14:tracePt t="63095" x="7419975" y="2373313"/>
          <p14:tracePt t="63096" x="7419975" y="2365375"/>
          <p14:tracePt t="63098" x="7419975" y="2354263"/>
          <p14:tracePt t="63098" x="7423150" y="2346325"/>
          <p14:tracePt t="63099" x="7423150" y="2338388"/>
          <p14:tracePt t="63100" x="7423150" y="2322513"/>
          <p14:tracePt t="63101" x="7427913" y="2314575"/>
          <p14:tracePt t="63102" x="7427913" y="2301875"/>
          <p14:tracePt t="63104" x="7431088" y="2278063"/>
          <p14:tracePt t="63105" x="7435850" y="2270125"/>
          <p14:tracePt t="63106" x="7435850" y="2254250"/>
          <p14:tracePt t="63107" x="7439025" y="2246313"/>
          <p14:tracePt t="63108" x="7439025" y="2238375"/>
          <p14:tracePt t="63109" x="7446963" y="2225675"/>
          <p14:tracePt t="63110" x="7451725" y="2214563"/>
          <p14:tracePt t="63111" x="7451725" y="2201863"/>
          <p14:tracePt t="63112" x="7454900" y="2193925"/>
          <p14:tracePt t="63113" x="7459663" y="2185988"/>
          <p14:tracePt t="63115" x="7462838" y="2170113"/>
          <p14:tracePt t="63115" x="7462838" y="2162175"/>
          <p14:tracePt t="63116" x="7467600" y="2154238"/>
          <p14:tracePt t="63117" x="7467600" y="2146300"/>
          <p14:tracePt t="63118" x="7470775" y="2130425"/>
          <p14:tracePt t="63119" x="7475538" y="2122488"/>
          <p14:tracePt t="63120" x="7483475" y="2109788"/>
          <p14:tracePt t="63121" x="7483475" y="2101850"/>
          <p14:tracePt t="63122" x="7486650" y="2089150"/>
          <p14:tracePt t="63123" x="7486650" y="2081213"/>
          <p14:tracePt t="63124" x="7491413" y="2073275"/>
          <p14:tracePt t="63125" x="7494588" y="2062163"/>
          <p14:tracePt t="63126" x="7499350" y="2049463"/>
          <p14:tracePt t="63127" x="7499350" y="2041525"/>
          <p14:tracePt t="63128" x="7504113" y="2033588"/>
          <p14:tracePt t="63129" x="7504113" y="2025650"/>
          <p14:tracePt t="63130" x="7507288" y="2017713"/>
          <p14:tracePt t="63131" x="7512050" y="2009775"/>
          <p14:tracePt t="63133" x="7512050" y="2001838"/>
          <p14:tracePt t="63133" x="7515225" y="1993900"/>
          <p14:tracePt t="63134" x="7523163" y="1981200"/>
          <p14:tracePt t="63136" x="7527925" y="1970088"/>
          <p14:tracePt t="63137" x="7531100" y="1962150"/>
          <p14:tracePt t="63138" x="7531100" y="1954213"/>
          <p14:tracePt t="63139" x="7535863" y="1949450"/>
          <p14:tracePt t="63140" x="7535863" y="1941513"/>
          <p14:tracePt t="63141" x="7539038" y="1933575"/>
          <p14:tracePt t="63142" x="7539038" y="1930400"/>
          <p14:tracePt t="63143" x="7543800" y="1925638"/>
          <p14:tracePt t="63144" x="7543800" y="1917700"/>
          <p14:tracePt t="63145" x="7546975" y="1909763"/>
          <p14:tracePt t="63146" x="7546975" y="1905000"/>
          <p14:tracePt t="63147" x="7546975" y="1897063"/>
          <p14:tracePt t="63148" x="7551738" y="1893888"/>
          <p14:tracePt t="63150" x="7554913" y="1885950"/>
          <p14:tracePt t="63152" x="7554913" y="1878013"/>
          <p14:tracePt t="63153" x="7559675" y="1870075"/>
          <p14:tracePt t="63154" x="7559675" y="1865313"/>
          <p14:tracePt t="63155" x="7559675" y="1862138"/>
          <p14:tracePt t="63156" x="7559675" y="1857375"/>
          <p14:tracePt t="63157" x="7559675" y="1854200"/>
          <p14:tracePt t="63158" x="7559675" y="1849438"/>
          <p14:tracePt t="63159" x="7562850" y="1846263"/>
          <p14:tracePt t="63160" x="7562850" y="1838325"/>
          <p14:tracePt t="63162" x="7562850" y="1833563"/>
          <p14:tracePt t="63163" x="7567613" y="1833563"/>
          <p14:tracePt t="63164" x="7567613" y="1830388"/>
          <p14:tracePt t="63165" x="7567613" y="1825625"/>
          <p14:tracePt t="63166" x="7567613" y="1820863"/>
          <p14:tracePt t="63168" x="7570788" y="1817688"/>
          <p14:tracePt t="63169" x="7570788" y="1812925"/>
          <p14:tracePt t="63170" x="7570788" y="1809750"/>
          <p14:tracePt t="63172" x="7570788" y="1804988"/>
          <p14:tracePt t="63174" x="7570788" y="1801813"/>
          <p14:tracePt t="63177" x="7570788" y="1797050"/>
          <p14:tracePt t="63180" x="7570788" y="1793875"/>
          <p14:tracePt t="63185" x="7570788" y="1789113"/>
          <p14:tracePt t="63225" x="7575550" y="1789113"/>
          <p14:tracePt t="63301" x="7578725" y="1789113"/>
          <p14:tracePt t="63309" x="7583488" y="1789113"/>
          <p14:tracePt t="63312" x="7588250" y="1789113"/>
          <p14:tracePt t="63314" x="7591425" y="1789113"/>
          <p14:tracePt t="63316" x="7596188" y="1789113"/>
          <p14:tracePt t="63318" x="7599363" y="1789113"/>
          <p14:tracePt t="63320" x="7604125" y="1789113"/>
          <p14:tracePt t="63321" x="7607300" y="1789113"/>
          <p14:tracePt t="63322" x="7612063" y="1789113"/>
          <p14:tracePt t="63323" x="7615238" y="1789113"/>
          <p14:tracePt t="63324" x="7620000" y="1789113"/>
          <p14:tracePt t="63325" x="7623175" y="1789113"/>
          <p14:tracePt t="63326" x="7627938" y="1789113"/>
          <p14:tracePt t="63327" x="7631113" y="1789113"/>
          <p14:tracePt t="63328" x="7639050" y="1789113"/>
          <p14:tracePt t="63330" x="7646988" y="1789113"/>
          <p14:tracePt t="63332" x="7654925" y="1789113"/>
          <p14:tracePt t="63333" x="7662863" y="1789113"/>
          <p14:tracePt t="63334" x="7667625" y="1789113"/>
          <p14:tracePt t="63335" x="7675563" y="1789113"/>
          <p14:tracePt t="63336" x="7680325" y="1789113"/>
          <p14:tracePt t="63337" x="7688263" y="1789113"/>
          <p14:tracePt t="63338" x="7696200" y="1789113"/>
          <p14:tracePt t="63339" x="7699375" y="1789113"/>
          <p14:tracePt t="63340" x="7707313" y="1789113"/>
          <p14:tracePt t="63341" x="7712075" y="1789113"/>
          <p14:tracePt t="63342" x="7720013" y="1785938"/>
          <p14:tracePt t="63343" x="7727950" y="1785938"/>
          <p14:tracePt t="63344" x="7735888" y="1785938"/>
          <p14:tracePt t="63345" x="7739063" y="1785938"/>
          <p14:tracePt t="63346" x="7747000" y="1785938"/>
          <p14:tracePt t="63347" x="7751763" y="1785938"/>
          <p14:tracePt t="63348" x="7762875" y="1785938"/>
          <p14:tracePt t="63349" x="7767638" y="1785938"/>
          <p14:tracePt t="63350" x="7775575" y="1785938"/>
          <p14:tracePt t="63351" x="7780338" y="1785938"/>
          <p14:tracePt t="63352" x="7788275" y="1785938"/>
          <p14:tracePt t="63354" x="7804150" y="1785938"/>
          <p14:tracePt t="63355" x="7807325" y="1785938"/>
          <p14:tracePt t="63356" x="7812088" y="1785938"/>
          <p14:tracePt t="63357" x="7815263" y="1781175"/>
          <p14:tracePt t="63358" x="7823200" y="1781175"/>
          <p14:tracePt t="63359" x="7831138" y="1781175"/>
          <p14:tracePt t="63360" x="7835900" y="1781175"/>
          <p14:tracePt t="63361" x="7843838" y="1781175"/>
          <p14:tracePt t="63362" x="7847013" y="1781175"/>
          <p14:tracePt t="63363" x="7854950" y="1781175"/>
          <p14:tracePt t="63364" x="7864475" y="1781175"/>
          <p14:tracePt t="63365" x="7867650" y="1781175"/>
          <p14:tracePt t="63366" x="7872413" y="1781175"/>
          <p14:tracePt t="63367" x="7880350" y="1781175"/>
          <p14:tracePt t="63368" x="7883525" y="1781175"/>
          <p14:tracePt t="63370" x="7896225" y="1781175"/>
          <p14:tracePt t="63372" x="7904163" y="1781175"/>
          <p14:tracePt t="63373" x="7907338" y="1781175"/>
          <p14:tracePt t="63374" x="7912100" y="1781175"/>
          <p14:tracePt t="63375" x="7915275" y="1781175"/>
          <p14:tracePt t="63376" x="7923213" y="1781175"/>
          <p14:tracePt t="63377" x="7927975" y="1781175"/>
          <p14:tracePt t="63378" x="7931150" y="1781175"/>
          <p14:tracePt t="63380" x="7939088" y="1781175"/>
          <p14:tracePt t="63381" x="7943850" y="1781175"/>
          <p14:tracePt t="63382" x="7948613" y="1781175"/>
          <p14:tracePt t="63384" x="7956550" y="1781175"/>
          <p14:tracePt t="63386" x="7959725" y="1781175"/>
          <p14:tracePt t="63387" x="7964488" y="1781175"/>
          <p14:tracePt t="63388" x="7972425" y="1781175"/>
          <p14:tracePt t="63389" x="7975600" y="1781175"/>
          <p14:tracePt t="63391" x="7980363" y="1781175"/>
          <p14:tracePt t="63392" x="7983538" y="1785938"/>
          <p14:tracePt t="63393" x="7988300" y="1785938"/>
          <p14:tracePt t="63394" x="7991475" y="1785938"/>
          <p14:tracePt t="63395" x="7996238" y="1785938"/>
          <p14:tracePt t="63396" x="7999413" y="1785938"/>
          <p14:tracePt t="63399" x="8004175" y="1785938"/>
          <p14:tracePt t="63400" x="8007350" y="1785938"/>
          <p14:tracePt t="63402" x="8015288" y="1785938"/>
          <p14:tracePt t="63404" x="8023225" y="1789113"/>
          <p14:tracePt t="63405" x="8027988" y="1789113"/>
          <p14:tracePt t="63406" x="8031163" y="1793875"/>
          <p14:tracePt t="63407" x="8035925" y="1793875"/>
          <p14:tracePt t="63408" x="8040688" y="1793875"/>
          <p14:tracePt t="63409" x="8043863" y="1797050"/>
          <p14:tracePt t="63410" x="8048625" y="1797050"/>
          <p14:tracePt t="63411" x="8048625" y="1801813"/>
          <p14:tracePt t="63412" x="8051800" y="1801813"/>
          <p14:tracePt t="63414" x="8056563" y="1801813"/>
          <p14:tracePt t="63415" x="8059738" y="1801813"/>
          <p14:tracePt t="63417" x="8067675" y="1804988"/>
          <p14:tracePt t="63419" x="8072438" y="1804988"/>
          <p14:tracePt t="63420" x="8075613" y="1809750"/>
          <p14:tracePt t="63421" x="8080375" y="1809750"/>
          <p14:tracePt t="63423" x="8083550" y="1812925"/>
          <p14:tracePt t="63424" x="8088313" y="1812925"/>
          <p14:tracePt t="63425" x="8088313" y="1817688"/>
          <p14:tracePt t="63426" x="8091488" y="1817688"/>
          <p14:tracePt t="63427" x="8096250" y="1817688"/>
          <p14:tracePt t="63428" x="8096250" y="1820863"/>
          <p14:tracePt t="63430" x="8104188" y="1820863"/>
          <p14:tracePt t="63432" x="8107363" y="1825625"/>
          <p14:tracePt t="63434" x="8112125" y="1825625"/>
          <p14:tracePt t="63436" x="8115300" y="1825625"/>
          <p14:tracePt t="63438" x="8120063" y="1825625"/>
          <p14:tracePt t="63440" x="8123238" y="1830388"/>
          <p14:tracePt t="63442" x="8128000" y="1830388"/>
          <p14:tracePt t="63445" x="8128000" y="1833563"/>
          <p14:tracePt t="63447" x="8132763" y="1833563"/>
          <p14:tracePt t="63448" x="8135938" y="1833563"/>
          <p14:tracePt t="63451" x="8140700" y="1833563"/>
          <p14:tracePt t="63455" x="8140700" y="1838325"/>
          <p14:tracePt t="63458" x="8143875" y="1838325"/>
          <p14:tracePt t="63518" x="8143875" y="1841500"/>
          <p14:tracePt t="63530" x="8143875" y="1846263"/>
          <p14:tracePt t="63532" x="8148638" y="1849438"/>
          <p14:tracePt t="63535" x="8148638" y="1854200"/>
          <p14:tracePt t="63539" x="8151813" y="1857375"/>
          <p14:tracePt t="63542" x="8151813" y="1862138"/>
          <p14:tracePt t="63544" x="8156575" y="1862138"/>
          <p14:tracePt t="63545" x="8156575" y="1865313"/>
          <p14:tracePt t="63548" x="8159750" y="1870075"/>
          <p14:tracePt t="63553" x="8159750" y="1873250"/>
          <p14:tracePt t="63553" x="8164513" y="1873250"/>
          <p14:tracePt t="63556" x="8164513" y="1878013"/>
          <p14:tracePt t="63559" x="8167688" y="1885950"/>
          <p14:tracePt t="63561" x="8167688" y="1889125"/>
          <p14:tracePt t="63562" x="8167688" y="1893888"/>
          <p14:tracePt t="63565" x="8172450" y="1897063"/>
          <p14:tracePt t="63567" x="8175625" y="1901825"/>
          <p14:tracePt t="63568" x="8175625" y="1905000"/>
          <p14:tracePt t="63569" x="8175625" y="1909763"/>
          <p14:tracePt t="63570" x="8180388" y="1909763"/>
          <p14:tracePt t="63572" x="8180388" y="1912938"/>
          <p14:tracePt t="63573" x="8183563" y="1912938"/>
          <p14:tracePt t="63574" x="8183563" y="1917700"/>
          <p14:tracePt t="63575" x="8188325" y="1922463"/>
          <p14:tracePt t="63576" x="8188325" y="1925638"/>
          <p14:tracePt t="63577" x="8191500" y="1930400"/>
          <p14:tracePt t="63578" x="8196263" y="1933575"/>
          <p14:tracePt t="63579" x="8196263" y="1938338"/>
          <p14:tracePt t="63580" x="8199438" y="1941513"/>
          <p14:tracePt t="63582" x="8204200" y="1946275"/>
          <p14:tracePt t="63582" x="8204200" y="1949450"/>
          <p14:tracePt t="63583" x="8207375" y="1949450"/>
          <p14:tracePt t="63584" x="8207375" y="1954213"/>
          <p14:tracePt t="63585" x="8207375" y="1957388"/>
          <p14:tracePt t="63586" x="8212138" y="1962150"/>
          <p14:tracePt t="63587" x="8215313" y="1965325"/>
          <p14:tracePt t="63589" x="8224838" y="1978025"/>
          <p14:tracePt t="63590" x="8228013" y="1981200"/>
          <p14:tracePt t="63591" x="8232775" y="1985963"/>
          <p14:tracePt t="63592" x="8235950" y="1993900"/>
          <p14:tracePt t="63593" x="8240713" y="1997075"/>
          <p14:tracePt t="63594" x="8243888" y="2005013"/>
          <p14:tracePt t="63595" x="8248650" y="2009775"/>
          <p14:tracePt t="63597" x="8259763" y="2022475"/>
          <p14:tracePt t="63598" x="8264525" y="2025650"/>
          <p14:tracePt t="63599" x="8267700" y="2033588"/>
          <p14:tracePt t="63600" x="8272463" y="2033588"/>
          <p14:tracePt t="63601" x="8275638" y="2038350"/>
          <p14:tracePt t="63602" x="8280400" y="2046288"/>
          <p14:tracePt t="63603" x="8288338" y="2049463"/>
          <p14:tracePt t="63605" x="8296275" y="2065338"/>
          <p14:tracePt t="63606" x="8304213" y="2073275"/>
          <p14:tracePt t="63607" x="8307388" y="2081213"/>
          <p14:tracePt t="63608" x="8312150" y="2085975"/>
          <p14:tracePt t="63609" x="8316913" y="2089150"/>
          <p14:tracePt t="63610" x="8320088" y="2097088"/>
          <p14:tracePt t="63611" x="8328025" y="2101850"/>
          <p14:tracePt t="63612" x="8332788" y="2109788"/>
          <p14:tracePt t="63613" x="8340725" y="2114550"/>
          <p14:tracePt t="63614" x="8343900" y="2122488"/>
          <p14:tracePt t="63615" x="8348663" y="2125663"/>
          <p14:tracePt t="63617" x="8359775" y="2141538"/>
          <p14:tracePt t="63619" x="8372475" y="2154238"/>
          <p14:tracePt t="63620" x="8375650" y="2157413"/>
          <p14:tracePt t="63621" x="8380413" y="2165350"/>
          <p14:tracePt t="63622" x="8383588" y="2173288"/>
          <p14:tracePt t="63623" x="8396288" y="2181225"/>
          <p14:tracePt t="63624" x="8401050" y="2181225"/>
          <p14:tracePt t="63625" x="8404225" y="2189163"/>
          <p14:tracePt t="63626" x="8404225" y="2193925"/>
          <p14:tracePt t="63627" x="8412163" y="2201863"/>
          <p14:tracePt t="63628" x="8416925" y="2206625"/>
          <p14:tracePt t="63629" x="8420100" y="2209800"/>
          <p14:tracePt t="63630" x="8424863" y="2214563"/>
          <p14:tracePt t="63631" x="8428038" y="2217738"/>
          <p14:tracePt t="63633" x="8440738" y="2230438"/>
          <p14:tracePt t="63634" x="8443913" y="2233613"/>
          <p14:tracePt t="63636" x="8451850" y="2241550"/>
          <p14:tracePt t="63637" x="8456613" y="2246313"/>
          <p14:tracePt t="63638" x="8459788" y="2249488"/>
          <p14:tracePt t="63639" x="8464550" y="2249488"/>
          <p14:tracePt t="63640" x="8464550" y="2254250"/>
          <p14:tracePt t="63641" x="8467725" y="2257425"/>
          <p14:tracePt t="63642" x="8472488" y="2262188"/>
          <p14:tracePt t="63643" x="8475663" y="2265363"/>
          <p14:tracePt t="63644" x="8480425" y="2270125"/>
          <p14:tracePt t="63645" x="8483600" y="2273300"/>
          <p14:tracePt t="63646" x="8483600" y="2278063"/>
          <p14:tracePt t="63647" x="8488363" y="2278063"/>
          <p14:tracePt t="63648" x="8493125" y="2281238"/>
          <p14:tracePt t="63650" x="8496300" y="2290763"/>
          <p14:tracePt t="63652" x="8504238" y="2290763"/>
          <p14:tracePt t="63653" x="8504238" y="2293938"/>
          <p14:tracePt t="63655" x="8509000" y="2298700"/>
          <p14:tracePt t="63656" x="8512175" y="2298700"/>
          <p14:tracePt t="63657" x="8512175" y="2301875"/>
          <p14:tracePt t="63658" x="8516938" y="2306638"/>
          <p14:tracePt t="63659" x="8520113" y="2306638"/>
          <p14:tracePt t="63660" x="8520113" y="2309813"/>
          <p14:tracePt t="63661" x="8524875" y="2309813"/>
          <p14:tracePt t="63662" x="8524875" y="2314575"/>
          <p14:tracePt t="63663" x="8528050" y="2314575"/>
          <p14:tracePt t="63664" x="8528050" y="2317750"/>
          <p14:tracePt t="63666" x="8532813" y="2317750"/>
          <p14:tracePt t="63668" x="8535988" y="2322513"/>
          <p14:tracePt t="63669" x="8535988" y="2325688"/>
          <p14:tracePt t="63670" x="8540750" y="2325688"/>
          <p14:tracePt t="63672" x="8540750" y="2330450"/>
          <p14:tracePt t="63674" x="8543925" y="2330450"/>
          <p14:tracePt t="63680" x="8543925" y="2333625"/>
          <p14:tracePt t="63681" x="8548688" y="2333625"/>
          <p14:tracePt t="63684" x="8548688" y="2338388"/>
          <p14:tracePt t="63873" x="8551863" y="2338388"/>
          <p14:tracePt t="63883" x="8551863" y="2341563"/>
          <p14:tracePt t="63887" x="8551863" y="2346325"/>
          <p14:tracePt t="63889" x="8556625" y="2346325"/>
          <p14:tracePt t="63893" x="8556625" y="2349500"/>
          <p14:tracePt t="63895" x="8559800" y="2354263"/>
          <p14:tracePt t="63898" x="8559800" y="2357438"/>
          <p14:tracePt t="63900" x="8559800" y="2362200"/>
          <p14:tracePt t="63902" x="8564563" y="2362200"/>
          <p14:tracePt t="63903" x="8564563" y="2365375"/>
          <p14:tracePt t="63905" x="8567738" y="2370138"/>
          <p14:tracePt t="63909" x="8572500" y="2373313"/>
          <p14:tracePt t="63911" x="8572500" y="2378075"/>
          <p14:tracePt t="63913" x="8575675" y="2382838"/>
          <p14:tracePt t="63915" x="8575675" y="2386013"/>
          <p14:tracePt t="63916" x="8580438" y="2390775"/>
          <p14:tracePt t="63918" x="8585200" y="2393950"/>
          <p14:tracePt t="63920" x="8585200" y="2398713"/>
          <p14:tracePt t="63922" x="8585200" y="2401888"/>
          <p14:tracePt t="63924" x="8588375" y="2406650"/>
          <p14:tracePt t="63926" x="8593138" y="2409825"/>
          <p14:tracePt t="63927" x="8596313" y="2409825"/>
          <p14:tracePt t="63929" x="8601075" y="2409825"/>
          <p14:tracePt t="63931" x="8601075" y="2414588"/>
          <p14:tracePt t="63932" x="8604250" y="2417763"/>
          <p14:tracePt t="63934" x="8609013" y="2417763"/>
          <p14:tracePt t="63935" x="8612188" y="2422525"/>
          <p14:tracePt t="63936" x="8612188" y="2425700"/>
          <p14:tracePt t="63937" x="8616950" y="2425700"/>
          <p14:tracePt t="63939" x="8620125" y="2430463"/>
          <p14:tracePt t="63941" x="8624888" y="2433638"/>
          <p14:tracePt t="63944" x="8628063" y="2438400"/>
          <p14:tracePt t="63947" x="8628063" y="2441575"/>
          <p14:tracePt t="63948" x="8632825" y="2441575"/>
          <p14:tracePt t="63949" x="8632825" y="2446338"/>
          <p14:tracePt t="63951" x="8636000" y="2446338"/>
          <p14:tracePt t="63953" x="8640763" y="2449513"/>
          <p14:tracePt t="63956" x="8643938" y="2449513"/>
          <p14:tracePt t="63957" x="8643938" y="2454275"/>
          <p14:tracePt t="63960" x="8648700" y="2454275"/>
          <p14:tracePt t="63981" x="8651875" y="2454275"/>
          <p14:tracePt t="63996" x="8656638" y="2454275"/>
          <p14:tracePt t="63998" x="8659813" y="2454275"/>
          <p14:tracePt t="64001" x="8664575" y="2454275"/>
          <p14:tracePt t="64003" x="8667750" y="2454275"/>
          <p14:tracePt t="64007" x="8672513" y="2454275"/>
          <p14:tracePt t="64010" x="8677275" y="2449513"/>
          <p14:tracePt t="64012" x="8680450" y="2449513"/>
          <p14:tracePt t="64016" x="8685213" y="2446338"/>
          <p14:tracePt t="64018" x="8688388" y="2446338"/>
          <p14:tracePt t="64021" x="8693150" y="2441575"/>
          <p14:tracePt t="64023" x="8696325" y="2441575"/>
          <p14:tracePt t="64027" x="8701088" y="2441575"/>
          <p14:tracePt t="64029" x="8701088" y="2438400"/>
          <p14:tracePt t="64031" x="8704263" y="2438400"/>
          <p14:tracePt t="64038" x="8704263" y="2433638"/>
          <p14:tracePt t="64111" x="8704263" y="2438400"/>
          <p14:tracePt t="64124" x="8704263" y="2441575"/>
          <p14:tracePt t="64129" x="8704263" y="2446338"/>
          <p14:tracePt t="64133" x="8704263" y="2449513"/>
          <p14:tracePt t="64135" x="8704263" y="2454275"/>
          <p14:tracePt t="64140" x="8704263" y="2457450"/>
          <p14:tracePt t="64142" x="8704263" y="2462213"/>
          <p14:tracePt t="64145" x="8704263" y="2465388"/>
          <p14:tracePt t="64147" x="8704263" y="2470150"/>
          <p14:tracePt t="64149" x="8704263" y="2474913"/>
          <p14:tracePt t="64151" x="8704263" y="2478088"/>
          <p14:tracePt t="64153" x="8704263" y="2482850"/>
          <p14:tracePt t="64154" x="8704263" y="2486025"/>
          <p14:tracePt t="64156" x="8704263" y="2490788"/>
          <p14:tracePt t="64158" x="8704263" y="2493963"/>
          <p14:tracePt t="64161" x="8704263" y="2498725"/>
          <p14:tracePt t="64163" x="8704263" y="2501900"/>
          <p14:tracePt t="64165" x="8704263" y="2506663"/>
          <p14:tracePt t="64167" x="8704263" y="2509838"/>
          <p14:tracePt t="64169" x="8704263" y="2514600"/>
          <p14:tracePt t="64171" x="8704263" y="2517775"/>
          <p14:tracePt t="64173" x="8704263" y="2522538"/>
          <p14:tracePt t="64176" x="8704263" y="2525713"/>
          <p14:tracePt t="64177" x="8704263" y="2530475"/>
          <p14:tracePt t="64179" x="8704263" y="2533650"/>
          <p14:tracePt t="64184" x="8704263" y="2538413"/>
          <p14:tracePt t="64188" x="8704263" y="2541588"/>
          <p14:tracePt t="64190" x="8701088" y="2546350"/>
          <p14:tracePt t="64194" x="8701088" y="2549525"/>
          <p14:tracePt t="64199" x="8701088" y="2554288"/>
          <p14:tracePt t="64247" x="8701088" y="2557463"/>
          <p14:tracePt t="64258" x="8701088" y="2562225"/>
          <p14:tracePt t="64261" x="8701088" y="2566988"/>
          <p14:tracePt t="64264" x="8701088" y="2570163"/>
          <p14:tracePt t="64266" x="8701088" y="2574925"/>
          <p14:tracePt t="64272" x="8701088" y="2578100"/>
          <p14:tracePt t="64274" x="8701088" y="2582863"/>
          <p14:tracePt t="64276" x="8701088" y="2586038"/>
          <p14:tracePt t="64278" x="8701088" y="2590800"/>
          <p14:tracePt t="64280" x="8701088" y="2593975"/>
          <p14:tracePt t="64281" x="8701088" y="2598738"/>
          <p14:tracePt t="64283" x="8701088" y="2601913"/>
          <p14:tracePt t="64285" x="8701088" y="2606675"/>
          <p14:tracePt t="64286" x="8701088" y="2609850"/>
          <p14:tracePt t="64287" x="8701088" y="2614613"/>
          <p14:tracePt t="64290" x="8701088" y="2617788"/>
          <p14:tracePt t="64291" x="8701088" y="2622550"/>
          <p14:tracePt t="64292" x="8701088" y="2625725"/>
          <p14:tracePt t="64294" x="8701088" y="2630488"/>
          <p14:tracePt t="64295" x="8701088" y="2633663"/>
          <p14:tracePt t="64297" x="8701088" y="2638425"/>
          <p14:tracePt t="64297" x="8701088" y="2641600"/>
          <p14:tracePt t="64299" x="8701088" y="2646363"/>
          <p14:tracePt t="64300" x="8701088" y="2649538"/>
          <p14:tracePt t="64301" x="8701088" y="2654300"/>
          <p14:tracePt t="64304" x="8701088" y="2659063"/>
          <p14:tracePt t="64305" x="8701088" y="2662238"/>
          <p14:tracePt t="64306" x="8701088" y="2667000"/>
          <p14:tracePt t="64308" x="8701088" y="2670175"/>
          <p14:tracePt t="64309" x="8701088" y="2674938"/>
          <p14:tracePt t="64310" x="8701088" y="2678113"/>
          <p14:tracePt t="64311" x="8701088" y="2682875"/>
          <p14:tracePt t="64312" x="8701088" y="2686050"/>
          <p14:tracePt t="64313" x="8701088" y="2690813"/>
          <p14:tracePt t="64314" x="8701088" y="2693988"/>
          <p14:tracePt t="64316" x="8696325" y="2701925"/>
          <p14:tracePt t="64319" x="8693150" y="2706688"/>
          <p14:tracePt t="64320" x="8693150" y="2709863"/>
          <p14:tracePt t="64321" x="8693150" y="2714625"/>
          <p14:tracePt t="64322" x="8693150" y="2722563"/>
          <p14:tracePt t="64323" x="8688388" y="2725738"/>
          <p14:tracePt t="64324" x="8688388" y="2730500"/>
          <p14:tracePt t="64325" x="8688388" y="2733675"/>
          <p14:tracePt t="64326" x="8685213" y="2741613"/>
          <p14:tracePt t="64327" x="8685213" y="2746375"/>
          <p14:tracePt t="64329" x="8685213" y="2751138"/>
          <p14:tracePt t="64330" x="8680450" y="2754313"/>
          <p14:tracePt t="64332" x="8680450" y="2759075"/>
          <p14:tracePt t="64333" x="8677275" y="2762250"/>
          <p14:tracePt t="64334" x="8677275" y="2767013"/>
          <p14:tracePt t="64336" x="8677275" y="2770188"/>
          <p14:tracePt t="64337" x="8672513" y="2774950"/>
          <p14:tracePt t="64338" x="8672513" y="2778125"/>
          <p14:tracePt t="64340" x="8672513" y="2782888"/>
          <p14:tracePt t="64341" x="8667750" y="2786063"/>
          <p14:tracePt t="64342" x="8667750" y="2790825"/>
          <p14:tracePt t="64343" x="8667750" y="2794000"/>
          <p14:tracePt t="64344" x="8664575" y="2798763"/>
          <p14:tracePt t="64347" x="8664575" y="2801938"/>
          <p14:tracePt t="64349" x="8659813" y="2809875"/>
          <p14:tracePt t="64351" x="8659813" y="2814638"/>
          <p14:tracePt t="64352" x="8656638" y="2817813"/>
          <p14:tracePt t="64353" x="8656638" y="2822575"/>
          <p14:tracePt t="64354" x="8656638" y="2825750"/>
          <p14:tracePt t="64355" x="8651875" y="2830513"/>
          <p14:tracePt t="64356" x="8651875" y="2833688"/>
          <p14:tracePt t="64357" x="8648700" y="2838450"/>
          <p14:tracePt t="64359" x="8643938" y="2843213"/>
          <p14:tracePt t="64360" x="8643938" y="2846388"/>
          <p14:tracePt t="64361" x="8643938" y="2851150"/>
          <p14:tracePt t="64362" x="8640763" y="2854325"/>
          <p14:tracePt t="64363" x="8640763" y="2859088"/>
          <p14:tracePt t="64365" x="8636000" y="2867025"/>
          <p14:tracePt t="64366" x="8636000" y="2870200"/>
          <p14:tracePt t="64367" x="8632825" y="2874963"/>
          <p14:tracePt t="64368" x="8632825" y="2878138"/>
          <p14:tracePt t="64370" x="8628063" y="2882900"/>
          <p14:tracePt t="64372" x="8624888" y="2890838"/>
          <p14:tracePt t="64374" x="8624888" y="2894013"/>
          <p14:tracePt t="64375" x="8620125" y="2898775"/>
          <p14:tracePt t="64376" x="8620125" y="2901950"/>
          <p14:tracePt t="64377" x="8620125" y="2906713"/>
          <p14:tracePt t="64378" x="8620125" y="2909888"/>
          <p14:tracePt t="64379" x="8616950" y="2914650"/>
          <p14:tracePt t="64380" x="8616950" y="2917825"/>
          <p14:tracePt t="64382" x="8612188" y="2927350"/>
          <p14:tracePt t="64384" x="8609013" y="2927350"/>
          <p14:tracePt t="64385" x="8609013" y="2930525"/>
          <p14:tracePt t="64386" x="8604250" y="2935288"/>
          <p14:tracePt t="64387" x="8604250" y="2938463"/>
          <p14:tracePt t="64389" x="8604250" y="2943225"/>
          <p14:tracePt t="64390" x="8604250" y="2946400"/>
          <p14:tracePt t="64391" x="8601075" y="2946400"/>
          <p14:tracePt t="64392" x="8601075" y="2951163"/>
          <p14:tracePt t="64393" x="8596313" y="2951163"/>
          <p14:tracePt t="64394" x="8596313" y="2954338"/>
          <p14:tracePt t="64397" x="8596313" y="2959100"/>
          <p14:tracePt t="64398" x="8593138" y="2962275"/>
          <p14:tracePt t="64400" x="8593138" y="2967038"/>
          <p14:tracePt t="64403" x="8588375" y="2970213"/>
          <p14:tracePt t="64405" x="8585200" y="2970213"/>
          <p14:tracePt t="64408" x="8585200" y="2974975"/>
          <p14:tracePt t="64410" x="8585200" y="2978150"/>
          <p14:tracePt t="64411" x="8580438" y="2978150"/>
          <p14:tracePt t="64413" x="8580438" y="2982913"/>
          <p14:tracePt t="64416" x="8580438" y="2986088"/>
          <p14:tracePt t="64418" x="8575675" y="2986088"/>
          <p14:tracePt t="64420" x="8575675" y="2990850"/>
          <p14:tracePt t="64425" x="8572500" y="2990850"/>
          <p14:tracePt t="64429" x="8572500" y="2994025"/>
          <p14:tracePt t="64435" x="8567738" y="2998788"/>
          <p14:tracePt t="64441" x="8564563" y="2998788"/>
          <p14:tracePt t="64442" x="8564563" y="3001963"/>
          <p14:tracePt t="64451" x="8564563" y="3006725"/>
          <p14:tracePt t="64453" x="8559800" y="3006725"/>
          <p14:tracePt t="64462" x="8556625" y="3009900"/>
          <p14:tracePt t="64472" x="8551863" y="3009900"/>
          <p14:tracePt t="64477" x="8548688" y="3009900"/>
          <p14:tracePt t="64480" x="8543925" y="3009900"/>
          <p14:tracePt t="64483" x="8540750" y="3009900"/>
          <p14:tracePt t="64487" x="8535988" y="3009900"/>
          <p14:tracePt t="64489" x="8535988" y="3014663"/>
          <p14:tracePt t="64494" x="8535988" y="3019425"/>
          <p14:tracePt t="64496" x="8532813" y="3019425"/>
          <p14:tracePt t="64498" x="8528050" y="3019425"/>
          <p14:tracePt t="64499" x="8528050" y="3022600"/>
          <p14:tracePt t="64502" x="8524875" y="3022600"/>
          <p14:tracePt t="64505" x="8520113" y="3022600"/>
          <p14:tracePt t="64506" x="8520113" y="3027363"/>
          <p14:tracePt t="64511" x="8516938" y="3027363"/>
          <p14:tracePt t="64513" x="8516938" y="3030538"/>
          <p14:tracePt t="64514" x="8512175" y="3030538"/>
          <p14:tracePt t="64517" x="8509000" y="3030538"/>
          <p14:tracePt t="64520" x="8509000" y="3035300"/>
          <p14:tracePt t="64523" x="8504238" y="3035300"/>
          <p14:tracePt t="64525" x="8504238" y="3038475"/>
          <p14:tracePt t="64527" x="8501063" y="3038475"/>
          <p14:tracePt t="64532" x="8496300" y="3038475"/>
          <p14:tracePt t="64534" x="8496300" y="3043238"/>
          <p14:tracePt t="64542" x="8496300" y="3046413"/>
          <p14:tracePt t="64544" x="8493125" y="3046413"/>
          <p14:tracePt t="64550" x="8488363" y="3046413"/>
          <p14:tracePt t="64554" x="8488363" y="3051175"/>
          <p14:tracePt t="64556" x="8483600" y="3051175"/>
          <p14:tracePt t="64564" x="8480425" y="3051175"/>
          <p14:tracePt t="64570" x="8475663" y="3051175"/>
          <p14:tracePt t="64572" x="8472488" y="3051175"/>
          <p14:tracePt t="64576" x="8467725" y="3051175"/>
          <p14:tracePt t="64580" x="8464550" y="3051175"/>
          <p14:tracePt t="64583" x="8459788" y="3051175"/>
          <p14:tracePt t="64585" x="8456613" y="3051175"/>
          <p14:tracePt t="64588" x="8456613" y="3046413"/>
          <p14:tracePt t="64590" x="8451850" y="3046413"/>
          <p14:tracePt t="64592" x="8448675" y="3046413"/>
          <p14:tracePt t="64593" x="8448675" y="3043238"/>
          <p14:tracePt t="64594" x="8443913" y="3043238"/>
          <p14:tracePt t="64595" x="8440738" y="3043238"/>
          <p14:tracePt t="64597" x="8440738" y="3038475"/>
          <p14:tracePt t="64597" x="8435975" y="3038475"/>
          <p14:tracePt t="64599" x="8432800" y="3035300"/>
          <p14:tracePt t="64601" x="8428038" y="3035300"/>
          <p14:tracePt t="64604" x="8420100" y="3030538"/>
          <p14:tracePt t="64606" x="8416925" y="3027363"/>
          <p14:tracePt t="64609" x="8412163" y="3027363"/>
          <p14:tracePt t="64610" x="8408988" y="3022600"/>
          <p14:tracePt t="64612" x="8404225" y="3019425"/>
          <p14:tracePt t="64615" x="8401050" y="3014663"/>
          <p14:tracePt t="64616" x="8396288" y="3014663"/>
          <p14:tracePt t="64617" x="8391525" y="3014663"/>
          <p14:tracePt t="64619" x="8388350" y="3014663"/>
          <p14:tracePt t="64620" x="8383588" y="3009900"/>
          <p14:tracePt t="64622" x="8380413" y="3009900"/>
          <p14:tracePt t="64623" x="8380413" y="3006725"/>
          <p14:tracePt t="64624" x="8375650" y="3006725"/>
          <p14:tracePt t="64626" x="8375650" y="3001963"/>
          <p14:tracePt t="64628" x="8372475" y="2998788"/>
          <p14:tracePt t="64630" x="8367713" y="2994025"/>
          <p14:tracePt t="64632" x="8364538" y="2994025"/>
          <p14:tracePt t="64634" x="8359775" y="2990850"/>
          <p14:tracePt t="64636" x="8356600" y="2990850"/>
          <p14:tracePt t="64637" x="8356600" y="2986088"/>
          <p14:tracePt t="64639" x="8351838" y="2982913"/>
          <p14:tracePt t="64642" x="8348663" y="2978150"/>
          <p14:tracePt t="64645" x="8348663" y="2974975"/>
          <p14:tracePt t="64647" x="8343900" y="2974975"/>
          <p14:tracePt t="64649" x="8340725" y="2974975"/>
          <p14:tracePt t="64653" x="8340725" y="2970213"/>
          <p14:tracePt t="64655" x="8335963" y="2970213"/>
          <p14:tracePt t="64657" x="8335963" y="2967038"/>
          <p14:tracePt t="64664" x="8335963" y="2962275"/>
          <p14:tracePt t="64674" x="8335963" y="2959100"/>
          <p14:tracePt t="64676" x="8332788" y="2959100"/>
          <p14:tracePt t="64677" x="8332788" y="2954338"/>
          <p14:tracePt t="64697" x="8328025" y="2954338"/>
          <p14:tracePt t="64706" x="8328025" y="2951163"/>
          <p14:tracePt t="64799" x="8324850" y="2951163"/>
          <p14:tracePt t="64807" x="8320088" y="2951163"/>
          <p14:tracePt t="64809" x="8316913" y="2951163"/>
          <p14:tracePt t="64811" x="8312150" y="2951163"/>
          <p14:tracePt t="64812" x="8312150" y="2946400"/>
          <p14:tracePt t="64814" x="8307388" y="2946400"/>
          <p14:tracePt t="64817" x="8304213" y="2946400"/>
          <p14:tracePt t="64818" x="8304213" y="2943225"/>
          <p14:tracePt t="64819" x="8299450" y="2943225"/>
          <p14:tracePt t="64821" x="8296275" y="2943225"/>
          <p14:tracePt t="64822" x="8296275" y="2938463"/>
          <p14:tracePt t="64823" x="8291513" y="2938463"/>
          <p14:tracePt t="64825" x="8291513" y="2935288"/>
          <p14:tracePt t="64828" x="8291513" y="2930525"/>
          <p14:tracePt t="64830" x="8288338" y="2930525"/>
          <p14:tracePt t="64831" x="8283575" y="2930525"/>
          <p14:tracePt t="64833" x="8280400" y="2930525"/>
          <p14:tracePt t="64834" x="8280400" y="2927350"/>
          <p14:tracePt t="64835" x="8275638" y="2927350"/>
          <p14:tracePt t="64837" x="8272463" y="2922588"/>
          <p14:tracePt t="64839" x="8267700" y="2917825"/>
          <p14:tracePt t="64841" x="8264525" y="2914650"/>
          <p14:tracePt t="64844" x="8259763" y="2909888"/>
          <p14:tracePt t="64847" x="8256588" y="2906713"/>
          <p14:tracePt t="64849" x="8251825" y="2901950"/>
          <p14:tracePt t="64850" x="8251825" y="2898775"/>
          <p14:tracePt t="64852" x="8248650" y="2894013"/>
          <p14:tracePt t="64855" x="8243888" y="2890838"/>
          <p14:tracePt t="64856" x="8240713" y="2890838"/>
          <p14:tracePt t="64857" x="8240713" y="2886075"/>
          <p14:tracePt t="64858" x="8235950" y="2886075"/>
          <p14:tracePt t="64859" x="8232775" y="2882900"/>
          <p14:tracePt t="64861" x="8232775" y="2878138"/>
          <p14:tracePt t="64862" x="8228013" y="2874963"/>
          <p14:tracePt t="64864" x="8224838" y="2870200"/>
          <p14:tracePt t="64866" x="8220075" y="2867025"/>
          <p14:tracePt t="64867" x="8215313" y="2862263"/>
          <p14:tracePt t="64868" x="8212138" y="2859088"/>
          <p14:tracePt t="64870" x="8212138" y="2854325"/>
          <p14:tracePt t="64872" x="8207375" y="2851150"/>
          <p14:tracePt t="64873" x="8204200" y="2851150"/>
          <p14:tracePt t="64874" x="8199438" y="2851150"/>
          <p14:tracePt t="64875" x="8199438" y="2846388"/>
          <p14:tracePt t="64876" x="8196263" y="2843213"/>
          <p14:tracePt t="64877" x="8191500" y="2838450"/>
          <p14:tracePt t="64878" x="8188325" y="2833688"/>
          <p14:tracePt t="64879" x="8188325" y="2830513"/>
          <p14:tracePt t="64880" x="8183563" y="2825750"/>
          <p14:tracePt t="64881" x="8180388" y="2825750"/>
          <p14:tracePt t="64883" x="8172450" y="2817813"/>
          <p14:tracePt t="64884" x="8172450" y="2814638"/>
          <p14:tracePt t="64885" x="8172450" y="2809875"/>
          <p14:tracePt t="64886" x="8167688" y="2809875"/>
          <p14:tracePt t="64897" x="8140700" y="2778125"/>
          <p14:tracePt t="64899" x="8140700" y="2774950"/>
          <p14:tracePt t="64901" x="8135938" y="2770188"/>
          <p14:tracePt t="64903" x="8132763" y="2767013"/>
          <p14:tracePt t="64904" x="8132763" y="2762250"/>
          <p14:tracePt t="64905" x="8132763" y="2759075"/>
          <p14:tracePt t="64907" x="8132763" y="2754313"/>
          <p14:tracePt t="64909" x="8128000" y="2751138"/>
          <p14:tracePt t="64910" x="8128000" y="2746375"/>
          <p14:tracePt t="64911" x="8128000" y="2741613"/>
          <p14:tracePt t="64912" x="8123238" y="2741613"/>
          <p14:tracePt t="64913" x="8123238" y="2738438"/>
          <p14:tracePt t="64914" x="8123238" y="2733675"/>
          <p14:tracePt t="64916" x="8120063" y="2730500"/>
          <p14:tracePt t="64919" x="8120063" y="2725738"/>
          <p14:tracePt t="64920" x="8120063" y="2722563"/>
          <p14:tracePt t="64921" x="8115300" y="2717800"/>
          <p14:tracePt t="64922" x="8115300" y="2714625"/>
          <p14:tracePt t="64924" x="8115300" y="2709863"/>
          <p14:tracePt t="64925" x="8112125" y="2706688"/>
          <p14:tracePt t="64926" x="8112125" y="2701925"/>
          <p14:tracePt t="64927" x="8112125" y="2698750"/>
          <p14:tracePt t="64928" x="8112125" y="2693988"/>
          <p14:tracePt t="64930" x="8107363" y="2690813"/>
          <p14:tracePt t="64931" x="8107363" y="2686050"/>
          <p14:tracePt t="64932" x="8104188" y="2682875"/>
          <p14:tracePt t="64933" x="8104188" y="2678113"/>
          <p14:tracePt t="64934" x="8099425" y="2674938"/>
          <p14:tracePt t="64935" x="8099425" y="2670175"/>
          <p14:tracePt t="64936" x="8099425" y="2667000"/>
          <p14:tracePt t="64937" x="8096250" y="2659063"/>
          <p14:tracePt t="64938" x="8096250" y="2654300"/>
          <p14:tracePt t="64939" x="8096250" y="2649538"/>
          <p14:tracePt t="64940" x="8091488" y="2641600"/>
          <p14:tracePt t="64941" x="8091488" y="2638425"/>
          <p14:tracePt t="64942" x="8091488" y="2633663"/>
          <p14:tracePt t="64943" x="8091488" y="2630488"/>
          <p14:tracePt t="64944" x="8088313" y="2622550"/>
          <p14:tracePt t="64947" x="8088313" y="2609850"/>
          <p14:tracePt t="64948" x="8083550" y="2606675"/>
          <p14:tracePt t="64949" x="8083550" y="2598738"/>
          <p14:tracePt t="64950" x="8083550" y="2593975"/>
          <p14:tracePt t="64951" x="8083550" y="2586038"/>
          <p14:tracePt t="64952" x="8083550" y="2582863"/>
          <p14:tracePt t="64953" x="8083550" y="2578100"/>
          <p14:tracePt t="64954" x="8083550" y="2570163"/>
          <p14:tracePt t="64955" x="8083550" y="2566988"/>
          <p14:tracePt t="64956" x="8083550" y="2557463"/>
          <p14:tracePt t="64958" x="8083550" y="2554288"/>
          <p14:tracePt t="64959" x="8083550" y="2546350"/>
          <p14:tracePt t="64960" x="8083550" y="2541588"/>
          <p14:tracePt t="64961" x="8083550" y="2538413"/>
          <p14:tracePt t="64962" x="8083550" y="2530475"/>
          <p14:tracePt t="64963" x="8083550" y="2525713"/>
          <p14:tracePt t="64964" x="8083550" y="2522538"/>
          <p14:tracePt t="64965" x="8083550" y="2517775"/>
          <p14:tracePt t="64966" x="8083550" y="2514600"/>
          <p14:tracePt t="64967" x="8083550" y="2509838"/>
          <p14:tracePt t="64968" x="8083550" y="2506663"/>
          <p14:tracePt t="64970" x="8083550" y="2498725"/>
          <p14:tracePt t="64971" x="8088313" y="2498725"/>
          <p14:tracePt t="64972" x="8088313" y="2493963"/>
          <p14:tracePt t="64973" x="8088313" y="2490788"/>
          <p14:tracePt t="64974" x="8091488" y="2486025"/>
          <p14:tracePt t="64975" x="8091488" y="2482850"/>
          <p14:tracePt t="64976" x="8091488" y="2478088"/>
          <p14:tracePt t="64977" x="8096250" y="2474913"/>
          <p14:tracePt t="64979" x="8096250" y="2470150"/>
          <p14:tracePt t="64981" x="8099425" y="2465388"/>
          <p14:tracePt t="64982" x="8104188" y="2462213"/>
          <p14:tracePt t="64985" x="8107363" y="2457450"/>
          <p14:tracePt t="64986" x="8112125" y="2457450"/>
          <p14:tracePt t="64987" x="8112125" y="2454275"/>
          <p14:tracePt t="64988" x="8115300" y="2454275"/>
          <p14:tracePt t="64990" x="8120063" y="2449513"/>
          <p14:tracePt t="64992" x="8123238" y="2449513"/>
          <p14:tracePt t="64993" x="8128000" y="2446338"/>
          <p14:tracePt t="64995" x="8132763" y="2446338"/>
          <p14:tracePt t="64996" x="8135938" y="2441575"/>
          <p14:tracePt t="64998" x="8140700" y="2441575"/>
          <p14:tracePt t="64999" x="8143875" y="2441575"/>
          <p14:tracePt t="65000" x="8148638" y="2441575"/>
          <p14:tracePt t="65001" x="8151813" y="2438400"/>
          <p14:tracePt t="65002" x="8156575" y="2438400"/>
          <p14:tracePt t="65004" x="8159750" y="2438400"/>
          <p14:tracePt t="65005" x="8164513" y="2438400"/>
          <p14:tracePt t="65006" x="8167688" y="2438400"/>
          <p14:tracePt t="65008" x="8172450" y="2438400"/>
          <p14:tracePt t="65009" x="8175625" y="2433638"/>
          <p14:tracePt t="65010" x="8180388" y="2433638"/>
          <p14:tracePt t="65011" x="8183563" y="2433638"/>
          <p14:tracePt t="65012" x="8191500" y="2433638"/>
          <p14:tracePt t="65013" x="8196263" y="2433638"/>
          <p14:tracePt t="65015" x="8199438" y="2433638"/>
          <p14:tracePt t="65016" x="8207375" y="2433638"/>
          <p14:tracePt t="65017" x="8212138" y="2433638"/>
          <p14:tracePt t="65018" x="8215313" y="2433638"/>
          <p14:tracePt t="65019" x="8220075" y="2433638"/>
          <p14:tracePt t="65020" x="8228013" y="2433638"/>
          <p14:tracePt t="65021" x="8235950" y="2433638"/>
          <p14:tracePt t="65022" x="8240713" y="2433638"/>
          <p14:tracePt t="65023" x="8243888" y="2433638"/>
          <p14:tracePt t="65024" x="8251825" y="2433638"/>
          <p14:tracePt t="65026" x="8264525" y="2433638"/>
          <p14:tracePt t="65027" x="8272463" y="2433638"/>
          <p14:tracePt t="65028" x="8275638" y="2433638"/>
          <p14:tracePt t="65029" x="8283575" y="2433638"/>
          <p14:tracePt t="65030" x="8288338" y="2433638"/>
          <p14:tracePt t="65032" x="8304213" y="2438400"/>
          <p14:tracePt t="65033" x="8307388" y="2438400"/>
          <p14:tracePt t="65034" x="8316913" y="2441575"/>
          <p14:tracePt t="65036" x="8332788" y="2446338"/>
          <p14:tracePt t="65037" x="8340725" y="2449513"/>
          <p14:tracePt t="65038" x="8343900" y="2449513"/>
          <p14:tracePt t="65039" x="8351838" y="2454275"/>
          <p14:tracePt t="65040" x="8364538" y="2454275"/>
          <p14:tracePt t="65041" x="8367713" y="2457450"/>
          <p14:tracePt t="65042" x="8375650" y="2462213"/>
          <p14:tracePt t="65043" x="8383588" y="2462213"/>
          <p14:tracePt t="65044" x="8391525" y="2465388"/>
          <p14:tracePt t="65045" x="8401050" y="2470150"/>
          <p14:tracePt t="65047" x="8412163" y="2474913"/>
          <p14:tracePt t="65048" x="8420100" y="2474913"/>
          <p14:tracePt t="65049" x="8428038" y="2482850"/>
          <p14:tracePt t="65049" x="8435975" y="2486025"/>
          <p14:tracePt t="65050" x="8451850" y="2490788"/>
          <p14:tracePt t="65051" x="8459788" y="2493963"/>
          <p14:tracePt t="65052" x="8467725" y="2498725"/>
          <p14:tracePt t="65053" x="8475663" y="2501900"/>
          <p14:tracePt t="65054" x="8483600" y="2506663"/>
          <p14:tracePt t="65055" x="8496300" y="2509838"/>
          <p14:tracePt t="65056" x="8509000" y="2514600"/>
          <p14:tracePt t="65057" x="8516938" y="2522538"/>
          <p14:tracePt t="65058" x="8524875" y="2525713"/>
          <p14:tracePt t="65059" x="8535988" y="2530475"/>
          <p14:tracePt t="65060" x="8543925" y="2533650"/>
          <p14:tracePt t="65061" x="8556625" y="2538413"/>
          <p14:tracePt t="65062" x="8567738" y="2546350"/>
          <p14:tracePt t="65063" x="8575675" y="2549525"/>
          <p14:tracePt t="65064" x="8585200" y="2554288"/>
          <p14:tracePt t="65066" x="8601075" y="2562225"/>
          <p14:tracePt t="65068" x="8616950" y="2574925"/>
          <p14:tracePt t="65069" x="8620125" y="2582863"/>
          <p14:tracePt t="65070" x="8632825" y="2586038"/>
          <p14:tracePt t="65071" x="8643938" y="2593975"/>
          <p14:tracePt t="65072" x="8648700" y="2598738"/>
          <p14:tracePt t="65073" x="8656638" y="2601913"/>
          <p14:tracePt t="65074" x="8664575" y="2606675"/>
          <p14:tracePt t="65075" x="8672513" y="2609850"/>
          <p14:tracePt t="65076" x="8685213" y="2622550"/>
          <p14:tracePt t="65077" x="8693150" y="2625725"/>
          <p14:tracePt t="65078" x="8696325" y="2633663"/>
          <p14:tracePt t="65079" x="8704263" y="2638425"/>
          <p14:tracePt t="65080" x="8709025" y="2641600"/>
          <p14:tracePt t="65081" x="8716963" y="2649538"/>
          <p14:tracePt t="65082" x="8724900" y="2659063"/>
          <p14:tracePt t="65084" x="8736013" y="2662238"/>
          <p14:tracePt t="65084" x="8740775" y="2674938"/>
          <p14:tracePt t="65085" x="8748713" y="2678113"/>
          <p14:tracePt t="65086" x="8756650" y="2686050"/>
          <p14:tracePt t="65087" x="8761413" y="2690813"/>
          <p14:tracePt t="65088" x="8769350" y="2698750"/>
          <p14:tracePt t="65089" x="8777288" y="2701925"/>
          <p14:tracePt t="65090" x="8780463" y="2709863"/>
          <p14:tracePt t="65091" x="8785225" y="2714625"/>
          <p14:tracePt t="65092" x="8793163" y="2722563"/>
          <p14:tracePt t="65093" x="8804275" y="2730500"/>
          <p14:tracePt t="65094" x="8809038" y="2733675"/>
          <p14:tracePt t="65095" x="8816975" y="2741613"/>
          <p14:tracePt t="65097" x="8824913" y="2754313"/>
          <p14:tracePt t="65097" x="8832850" y="2762250"/>
          <p14:tracePt t="65098" x="8836025" y="2770188"/>
          <p14:tracePt t="65100" x="8843963" y="2774950"/>
          <p14:tracePt t="65101" x="8853488" y="2786063"/>
          <p14:tracePt t="65102" x="8864600" y="2798763"/>
          <p14:tracePt t="65103" x="8872538" y="2806700"/>
          <p14:tracePt t="65104" x="8877300" y="2814638"/>
          <p14:tracePt t="65105" x="8880475" y="2817813"/>
          <p14:tracePt t="65106" x="8885238" y="2830513"/>
          <p14:tracePt t="65107" x="8893175" y="2833688"/>
          <p14:tracePt t="65108" x="8896350" y="2843213"/>
          <p14:tracePt t="65109" x="8901113" y="2851150"/>
          <p14:tracePt t="65110" x="8904288" y="2854325"/>
          <p14:tracePt t="65111" x="8909050" y="2862263"/>
          <p14:tracePt t="65112" x="8912225" y="2870200"/>
          <p14:tracePt t="65113" x="8916988" y="2874963"/>
          <p14:tracePt t="65114" x="8920163" y="2878138"/>
          <p14:tracePt t="65115" x="8924925" y="2886075"/>
          <p14:tracePt t="65117" x="8932863" y="2898775"/>
          <p14:tracePt t="65118" x="8936038" y="2906713"/>
          <p14:tracePt t="65119" x="8940800" y="2909888"/>
          <p14:tracePt t="65120" x="8940800" y="2917825"/>
          <p14:tracePt t="65122" x="8948738" y="2930525"/>
          <p14:tracePt t="65123" x="8953500" y="2935288"/>
          <p14:tracePt t="65124" x="8956675" y="2943225"/>
          <p14:tracePt t="65125" x="8961438" y="2946400"/>
          <p14:tracePt t="65126" x="8964613" y="2951163"/>
          <p14:tracePt t="65127" x="8969375" y="2959100"/>
          <p14:tracePt t="65128" x="8969375" y="2962275"/>
          <p14:tracePt t="65129" x="8969375" y="2967038"/>
          <p14:tracePt t="65130" x="8972550" y="2967038"/>
          <p14:tracePt t="65131" x="8977313" y="2970213"/>
          <p14:tracePt t="65132" x="8980488" y="2978150"/>
          <p14:tracePt t="65133" x="8985250" y="2982913"/>
          <p14:tracePt t="65134" x="8988425" y="2986088"/>
          <p14:tracePt t="65135" x="8993188" y="2990850"/>
          <p14:tracePt t="65136" x="8996363" y="2994025"/>
          <p14:tracePt t="65137" x="9001125" y="3001963"/>
          <p14:tracePt t="65138" x="9004300" y="3006725"/>
          <p14:tracePt t="65139" x="9009063" y="3009900"/>
          <p14:tracePt t="65140" x="9009063" y="3014663"/>
          <p14:tracePt t="65141" x="9012238" y="3019425"/>
          <p14:tracePt t="65142" x="9017000" y="3022600"/>
          <p14:tracePt t="65143" x="9020175" y="3027363"/>
          <p14:tracePt t="65145" x="9024938" y="3030538"/>
          <p14:tracePt t="65147" x="9032875" y="3038475"/>
          <p14:tracePt t="65148" x="9037638" y="3038475"/>
          <p14:tracePt t="65149" x="9037638" y="3043238"/>
          <p14:tracePt t="65150" x="9040813" y="3046413"/>
          <p14:tracePt t="65151" x="9045575" y="3051175"/>
          <p14:tracePt t="65152" x="9048750" y="3054350"/>
          <p14:tracePt t="65153" x="9053513" y="3059113"/>
          <p14:tracePt t="65154" x="9053513" y="3062288"/>
          <p14:tracePt t="65155" x="9056688" y="3062288"/>
          <p14:tracePt t="65156" x="9061450" y="3067050"/>
          <p14:tracePt t="65157" x="9061450" y="3070225"/>
          <p14:tracePt t="65158" x="9064625" y="3074988"/>
          <p14:tracePt t="65161" x="9069388" y="3078163"/>
          <p14:tracePt t="65162" x="9072563" y="3078163"/>
          <p14:tracePt t="65163" x="9072563" y="3082925"/>
          <p14:tracePt t="65164" x="9077325" y="3086100"/>
          <p14:tracePt t="65166" x="9080500" y="3090863"/>
          <p14:tracePt t="65169" x="9085263" y="3098800"/>
          <p14:tracePt t="65171" x="9088438" y="3101975"/>
          <p14:tracePt t="65173" x="9093200" y="3106738"/>
          <p14:tracePt t="65174" x="9093200" y="3111500"/>
          <p14:tracePt t="65176" x="9093200" y="3114675"/>
          <p14:tracePt t="65177" x="9096375" y="3114675"/>
          <p14:tracePt t="65180" x="9101138" y="3119438"/>
          <p14:tracePt t="65182" x="9104313" y="3122613"/>
          <p14:tracePt t="65184" x="9104313" y="3127375"/>
          <p14:tracePt t="65186" x="9104313" y="3130550"/>
          <p14:tracePt t="65188" x="9104313" y="3135313"/>
          <p14:tracePt t="65190" x="9104313" y="3138488"/>
          <p14:tracePt t="65192" x="9104313" y="3143250"/>
          <p14:tracePt t="65195" x="9104313" y="3146425"/>
          <p14:tracePt t="65197" x="9109075" y="3151188"/>
          <p14:tracePt t="65198" x="9109075" y="3154363"/>
          <p14:tracePt t="65202" x="9109075" y="3159125"/>
          <p14:tracePt t="65203" x="9112250" y="3159125"/>
          <p14:tracePt t="65204" x="9112250" y="3162300"/>
          <p14:tracePt t="65206" x="9112250" y="3167063"/>
          <p14:tracePt t="65207" x="9112250" y="3170238"/>
          <p14:tracePt t="65209" x="9117013" y="3170238"/>
          <p14:tracePt t="65209" x="9117013" y="3175000"/>
          <p14:tracePt t="65211" x="9117013" y="3178175"/>
          <p14:tracePt t="65212" x="9117013" y="3182938"/>
          <p14:tracePt t="65215" x="9120188" y="3186113"/>
          <p14:tracePt t="65215" x="9120188" y="3190875"/>
          <p14:tracePt t="65216" x="9120188" y="3194050"/>
          <p14:tracePt t="65217" x="9124950" y="3194050"/>
          <p14:tracePt t="65219" x="9124950" y="3198813"/>
          <p14:tracePt t="65221" x="9124950" y="3203575"/>
          <p14:tracePt t="65222" x="9124950" y="3206750"/>
          <p14:tracePt t="65223" x="9129713" y="3211513"/>
          <p14:tracePt t="65224" x="9129713" y="3214688"/>
          <p14:tracePt t="65226" x="9129713" y="3219450"/>
          <p14:tracePt t="65228" x="9132888" y="3222625"/>
          <p14:tracePt t="65230" x="9132888" y="3230563"/>
          <p14:tracePt t="65232" x="9132888" y="3235325"/>
          <p14:tracePt t="65235" x="9132888" y="3238500"/>
          <p14:tracePt t="65237" x="9137650" y="3243263"/>
          <p14:tracePt t="65238" x="9137650" y="3246438"/>
          <p14:tracePt t="65239" x="9137650" y="3251200"/>
          <p14:tracePt t="65241" x="9137650" y="3254375"/>
          <p14:tracePt t="65243" x="9137650" y="3259138"/>
          <p14:tracePt t="65244" x="9137650" y="3262313"/>
          <p14:tracePt t="65245" x="9137650" y="3267075"/>
          <p14:tracePt t="65247" x="9137650" y="3270250"/>
          <p14:tracePt t="65248" x="9140825" y="3270250"/>
          <p14:tracePt t="65249" x="9140825" y="3275013"/>
          <p14:tracePt t="65252" x="9140825" y="3278188"/>
          <p14:tracePt t="65254" x="9140825" y="3282950"/>
          <p14:tracePt t="65256" x="9140825" y="3286125"/>
          <p14:tracePt t="65258" x="9140825" y="3290888"/>
          <p14:tracePt t="65261" x="9140825" y="3295650"/>
          <p14:tracePt t="65266" x="9140825" y="3298825"/>
          <p14:tracePt t="65497" x="9145588" y="3298825"/>
          <p14:tracePt t="65519" x="9145588" y="3295650"/>
          <p14:tracePt t="65527" x="9145588" y="3290888"/>
          <p14:tracePt t="65532" x="9145588" y="3286125"/>
          <p14:tracePt t="65537" x="9145588" y="3282950"/>
          <p14:tracePt t="65542" x="9145588" y="3278188"/>
          <p14:tracePt t="65548" x="9145588" y="3270250"/>
          <p14:tracePt t="65550" x="9145588" y="3267075"/>
          <p14:tracePt t="65553" x="9145588" y="3262313"/>
          <p14:tracePt t="65556" x="9145588" y="3254375"/>
          <p14:tracePt t="65559" x="9145588" y="3251200"/>
          <p14:tracePt t="65560" x="9145588" y="3246438"/>
          <p14:tracePt t="65561" x="9145588" y="3243263"/>
          <p14:tracePt t="65564" x="9145588" y="3238500"/>
          <p14:tracePt t="65565" x="9145588" y="3235325"/>
          <p14:tracePt t="65567" x="9145588" y="3230563"/>
          <p14:tracePt t="65569" x="9145588" y="3227388"/>
          <p14:tracePt t="65570" x="9145588" y="3222625"/>
          <p14:tracePt t="65571" x="9145588" y="3219450"/>
          <p14:tracePt t="65575" x="9145588" y="3206750"/>
          <p14:tracePt t="65576" x="9145588" y="3203575"/>
          <p14:tracePt t="65577" x="9145588" y="3198813"/>
          <p14:tracePt t="65579" x="9145588" y="3194050"/>
          <p14:tracePt t="65581" x="9145588" y="3186113"/>
          <p14:tracePt t="65583" x="9145588" y="3178175"/>
          <p14:tracePt t="65584" x="9145588" y="3175000"/>
          <p14:tracePt t="65585" x="9145588" y="3170238"/>
          <p14:tracePt t="65586" x="9145588" y="3167063"/>
          <p14:tracePt t="65590" x="9145588" y="3154363"/>
          <p14:tracePt t="65591" x="9145588" y="3151188"/>
          <p14:tracePt t="65592" x="9145588" y="3146425"/>
          <p14:tracePt t="65593" x="9145588" y="3143250"/>
          <p14:tracePt t="65594" x="9145588" y="3138488"/>
          <p14:tracePt t="65595" x="9145588" y="3135313"/>
          <p14:tracePt t="65597" x="9145588" y="3127375"/>
          <p14:tracePt t="65598" x="9145588" y="3122613"/>
          <p14:tracePt t="65599" x="9145588" y="3114675"/>
          <p14:tracePt t="65600" x="9145588" y="3111500"/>
          <p14:tracePt t="65602" x="9145588" y="3106738"/>
          <p14:tracePt t="65603" x="9145588" y="3101975"/>
          <p14:tracePt t="65605" x="9145588" y="3094038"/>
          <p14:tracePt t="65606" x="9145588" y="3090863"/>
          <p14:tracePt t="65607" x="9145588" y="3086100"/>
          <p14:tracePt t="65608" x="9145588" y="3082925"/>
          <p14:tracePt t="65609" x="9145588" y="3074988"/>
          <p14:tracePt t="65610" x="9140825" y="3070225"/>
          <p14:tracePt t="65612" x="9140825" y="3067050"/>
          <p14:tracePt t="65613" x="9140825" y="3062288"/>
          <p14:tracePt t="65614" x="9137650" y="3062288"/>
          <p14:tracePt t="65615" x="9137650" y="3059113"/>
          <p14:tracePt t="65616" x="9137650" y="3054350"/>
          <p14:tracePt t="65617" x="9137650" y="3051175"/>
          <p14:tracePt t="65618" x="9137650" y="3046413"/>
          <p14:tracePt t="65620" x="9137650" y="3043238"/>
          <p14:tracePt t="65621" x="9132888" y="3038475"/>
          <p14:tracePt t="65622" x="9132888" y="3035300"/>
          <p14:tracePt t="65624" x="9132888" y="3030538"/>
          <p14:tracePt t="65625" x="9129713" y="3027363"/>
          <p14:tracePt t="65626" x="9129713" y="3022600"/>
          <p14:tracePt t="65630" x="9129713" y="3019425"/>
          <p14:tracePt t="65631" x="9129713" y="3014663"/>
          <p14:tracePt t="65633" x="9124950" y="3009900"/>
          <p14:tracePt t="65635" x="9124950" y="3006725"/>
          <p14:tracePt t="65637" x="9124950" y="3001963"/>
          <p14:tracePt t="65638" x="9120188" y="3001963"/>
          <p14:tracePt t="65639" x="9120188" y="2998788"/>
          <p14:tracePt t="65641" x="9120188" y="2994025"/>
          <p14:tracePt t="65644" x="9120188" y="2990850"/>
          <p14:tracePt t="65647" x="9117013" y="2986088"/>
          <p14:tracePt t="65649" x="9117013" y="2982913"/>
          <p14:tracePt t="65650" x="9112250" y="2982913"/>
          <p14:tracePt t="65655" x="9109075" y="2982913"/>
          <p14:tracePt t="65656" x="9109075" y="2978150"/>
          <p14:tracePt t="65661" x="9109075" y="2974975"/>
          <p14:tracePt t="65856" x="9104313" y="2974975"/>
          <p14:tracePt t="65871" x="9101138" y="2978150"/>
          <p14:tracePt t="65982" x="9096375" y="2978150"/>
          <p14:tracePt t="65987" x="9093200" y="2978150"/>
          <p14:tracePt t="65993" x="9088438" y="2978150"/>
          <p14:tracePt t="65996" x="9085263" y="2978150"/>
          <p14:tracePt t="65998" x="9080500" y="2978150"/>
          <p14:tracePt t="66001" x="9077325" y="2978150"/>
          <p14:tracePt t="66004" x="9072563" y="2978150"/>
          <p14:tracePt t="66007" x="9069388" y="2978150"/>
          <p14:tracePt t="66009" x="9064625" y="2978150"/>
          <p14:tracePt t="66012" x="9061450" y="2978150"/>
          <p14:tracePt t="66014" x="9056688" y="2978150"/>
          <p14:tracePt t="66016" x="9053513" y="2978150"/>
          <p14:tracePt t="66018" x="9048750" y="2978150"/>
          <p14:tracePt t="66021" x="9040813" y="2974975"/>
          <p14:tracePt t="66022" x="9037638" y="2970213"/>
          <p14:tracePt t="66023" x="9032875" y="2970213"/>
          <p14:tracePt t="66025" x="9028113" y="2967038"/>
          <p14:tracePt t="66028" x="9020175" y="2967038"/>
          <p14:tracePt t="66030" x="9017000" y="2962275"/>
          <p14:tracePt t="66033" x="9009063" y="2959100"/>
          <p14:tracePt t="66035" x="9004300" y="2959100"/>
          <p14:tracePt t="66036" x="9001125" y="2954338"/>
          <p14:tracePt t="66037" x="8993188" y="2951163"/>
          <p14:tracePt t="66038" x="8993188" y="2946400"/>
          <p14:tracePt t="66040" x="8985250" y="2943225"/>
          <p14:tracePt t="66043" x="8980488" y="2943225"/>
          <p14:tracePt t="66044" x="8977313" y="2943225"/>
          <p14:tracePt t="66045" x="8977313" y="2938463"/>
          <p14:tracePt t="66046" x="8972550" y="2938463"/>
          <p14:tracePt t="66047" x="8961438" y="2930525"/>
          <p14:tracePt t="66049" x="8956675" y="2927350"/>
          <p14:tracePt t="66049" x="8953500" y="2922588"/>
          <p14:tracePt t="66050" x="8948738" y="2917825"/>
          <p14:tracePt t="66051" x="8945563" y="2914650"/>
          <p14:tracePt t="66052" x="8940800" y="2909888"/>
          <p14:tracePt t="66053" x="8936038" y="2906713"/>
          <p14:tracePt t="66054" x="8932863" y="2901950"/>
          <p14:tracePt t="66056" x="8924925" y="2894013"/>
          <p14:tracePt t="66057" x="8920163" y="2894013"/>
          <p14:tracePt t="66058" x="8916988" y="2890838"/>
          <p14:tracePt t="66059" x="8912225" y="2886075"/>
          <p14:tracePt t="66060" x="8909050" y="2886075"/>
          <p14:tracePt t="66061" x="8904288" y="2878138"/>
          <p14:tracePt t="66062" x="8901113" y="2874963"/>
          <p14:tracePt t="66063" x="8893175" y="2870200"/>
          <p14:tracePt t="66064" x="8888413" y="2867025"/>
          <p14:tracePt t="66065" x="8885238" y="2862263"/>
          <p14:tracePt t="66066" x="8877300" y="2859088"/>
          <p14:tracePt t="66067" x="8872538" y="2854325"/>
          <p14:tracePt t="66068" x="8869363" y="2851150"/>
          <p14:tracePt t="66069" x="8864600" y="2846388"/>
          <p14:tracePt t="66070" x="8861425" y="2838450"/>
          <p14:tracePt t="66071" x="8853488" y="2833688"/>
          <p14:tracePt t="66072" x="8848725" y="2825750"/>
          <p14:tracePt t="66073" x="8843963" y="2822575"/>
          <p14:tracePt t="66074" x="8840788" y="2817813"/>
          <p14:tracePt t="66075" x="8832850" y="2814638"/>
          <p14:tracePt t="66076" x="8828088" y="2809875"/>
          <p14:tracePt t="66077" x="8824913" y="2806700"/>
          <p14:tracePt t="66078" x="8820150" y="2798763"/>
          <p14:tracePt t="66079" x="8812213" y="2794000"/>
          <p14:tracePt t="66080" x="8809038" y="2790825"/>
          <p14:tracePt t="66081" x="8804275" y="2786063"/>
          <p14:tracePt t="66082" x="8796338" y="2778125"/>
          <p14:tracePt t="66085" x="8788400" y="2762250"/>
          <p14:tracePt t="66086" x="8777288" y="2759075"/>
          <p14:tracePt t="66087" x="8772525" y="2751138"/>
          <p14:tracePt t="66088" x="8769350" y="2746375"/>
          <p14:tracePt t="66089" x="8769350" y="2741613"/>
          <p14:tracePt t="66090" x="8761413" y="2738438"/>
          <p14:tracePt t="66091" x="8756650" y="2733675"/>
          <p14:tracePt t="66092" x="8751888" y="2725738"/>
          <p14:tracePt t="66093" x="8748713" y="2722563"/>
          <p14:tracePt t="66094" x="8743950" y="2722563"/>
          <p14:tracePt t="66095" x="8736013" y="2717800"/>
          <p14:tracePt t="66097" x="8728075" y="2706688"/>
          <p14:tracePt t="66098" x="8724900" y="2701925"/>
          <p14:tracePt t="66100" x="8716963" y="2698750"/>
          <p14:tracePt t="66101" x="8709025" y="2690813"/>
          <p14:tracePt t="66102" x="8704263" y="2686050"/>
          <p14:tracePt t="66103" x="8701088" y="2682875"/>
          <p14:tracePt t="66104" x="8696325" y="2678113"/>
          <p14:tracePt t="66105" x="8693150" y="2674938"/>
          <p14:tracePt t="66106" x="8693150" y="2670175"/>
          <p14:tracePt t="66107" x="8685213" y="2667000"/>
          <p14:tracePt t="66108" x="8680450" y="2662238"/>
          <p14:tracePt t="66110" x="8677275" y="2659063"/>
          <p14:tracePt t="66111" x="8672513" y="2654300"/>
          <p14:tracePt t="66112" x="8667750" y="2649538"/>
          <p14:tracePt t="66113" x="8664575" y="2646363"/>
          <p14:tracePt t="66114" x="8659813" y="2641600"/>
          <p14:tracePt t="66115" x="8656638" y="2641600"/>
          <p14:tracePt t="66117" x="8648700" y="2633663"/>
          <p14:tracePt t="66119" x="8643938" y="2630488"/>
          <p14:tracePt t="66120" x="8643938" y="2625725"/>
          <p14:tracePt t="66122" x="8640763" y="2622550"/>
          <p14:tracePt t="66123" x="8636000" y="2622550"/>
          <p14:tracePt t="66125" x="8632825" y="2617788"/>
          <p14:tracePt t="66126" x="8628063" y="2617788"/>
          <p14:tracePt t="66127" x="8628063" y="2614613"/>
          <p14:tracePt t="66128" x="8624888" y="2614613"/>
          <p14:tracePt t="66129" x="8624888" y="2609850"/>
          <p14:tracePt t="66130" x="8620125" y="2609850"/>
          <p14:tracePt t="66132" x="8616950" y="2606675"/>
          <p14:tracePt t="66134" x="8612188" y="2601913"/>
          <p14:tracePt t="66137" x="8609013" y="2598738"/>
          <p14:tracePt t="66138" x="8604250" y="2598738"/>
          <p14:tracePt t="66140" x="8604250" y="2593975"/>
          <p14:tracePt t="66144" x="8601075" y="2593975"/>
          <p14:tracePt t="66145" x="8601075" y="2590800"/>
          <p14:tracePt t="66148" x="8596313" y="2590800"/>
          <p14:tracePt t="66149" x="8596313" y="2586038"/>
          <p14:tracePt t="66152" x="8593138" y="2586038"/>
          <p14:tracePt t="66159" x="8588375" y="2586038"/>
          <p14:tracePt t="66161" x="8588375" y="2582863"/>
          <p14:tracePt t="66199" x="8585200" y="2582863"/>
          <p14:tracePt t="66202" x="8580438" y="2578100"/>
          <p14:tracePt t="66204" x="8575675" y="2578100"/>
          <p14:tracePt t="66205" x="8575675" y="2574925"/>
          <p14:tracePt t="66206" x="8572500" y="2574925"/>
          <p14:tracePt t="66207" x="8572500" y="2570163"/>
          <p14:tracePt t="66208" x="8567738" y="2566988"/>
          <p14:tracePt t="66210" x="8564563" y="2562225"/>
          <p14:tracePt t="66212" x="8564563" y="2557463"/>
          <p14:tracePt t="66214" x="8559800" y="2557463"/>
          <p14:tracePt t="66216" x="8551863" y="2546350"/>
          <p14:tracePt t="66217" x="8548688" y="2541588"/>
          <p14:tracePt t="66218" x="8543925" y="2538413"/>
          <p14:tracePt t="66220" x="8540750" y="2538413"/>
          <p14:tracePt t="66221" x="8540750" y="2533650"/>
          <p14:tracePt t="66222" x="8535988" y="2533650"/>
          <p14:tracePt t="66223" x="8532813" y="2530475"/>
          <p14:tracePt t="66224" x="8528050" y="2525713"/>
          <p14:tracePt t="66225" x="8528050" y="2522538"/>
          <p14:tracePt t="66226" x="8524875" y="2517775"/>
          <p14:tracePt t="66228" x="8524875" y="2514600"/>
          <p14:tracePt t="66229" x="8520113" y="2509838"/>
          <p14:tracePt t="66231" x="8516938" y="2506663"/>
          <p14:tracePt t="66232" x="8512175" y="2498725"/>
          <p14:tracePt t="66234" x="8509000" y="2498725"/>
          <p14:tracePt t="66235" x="8504238" y="2493963"/>
          <p14:tracePt t="66236" x="8501063" y="2490788"/>
          <p14:tracePt t="66237" x="8501063" y="2486025"/>
          <p14:tracePt t="66238" x="8496300" y="2482850"/>
          <p14:tracePt t="66239" x="8493125" y="2478088"/>
          <p14:tracePt t="66240" x="8493125" y="2474913"/>
          <p14:tracePt t="66241" x="8488363" y="2470150"/>
          <p14:tracePt t="66242" x="8483600" y="2465388"/>
          <p14:tracePt t="66243" x="8483600" y="2462213"/>
          <p14:tracePt t="66244" x="8480425" y="2457450"/>
          <p14:tracePt t="66245" x="8480425" y="2454275"/>
          <p14:tracePt t="66246" x="8475663" y="2449513"/>
          <p14:tracePt t="66248" x="8472488" y="2446338"/>
          <p14:tracePt t="66248" x="8467725" y="2441575"/>
          <p14:tracePt t="66249" x="8464550" y="2438400"/>
          <p14:tracePt t="66250" x="8459788" y="2433638"/>
          <p14:tracePt t="66251" x="8456613" y="2430463"/>
          <p14:tracePt t="66252" x="8456613" y="2425700"/>
          <p14:tracePt t="66253" x="8451850" y="2422525"/>
          <p14:tracePt t="66254" x="8448675" y="2414588"/>
          <p14:tracePt t="66255" x="8443913" y="2409825"/>
          <p14:tracePt t="66256" x="8440738" y="2406650"/>
          <p14:tracePt t="66257" x="8435975" y="2398713"/>
          <p14:tracePt t="66258" x="8432800" y="2398713"/>
          <p14:tracePt t="66259" x="8432800" y="2393950"/>
          <p14:tracePt t="66260" x="8428038" y="2386013"/>
          <p14:tracePt t="66261" x="8424863" y="2382838"/>
          <p14:tracePt t="66262" x="8420100" y="2378075"/>
          <p14:tracePt t="66263" x="8416925" y="2370138"/>
          <p14:tracePt t="66264" x="8408988" y="2365375"/>
          <p14:tracePt t="66265" x="8401050" y="2357438"/>
          <p14:tracePt t="66266" x="8401050" y="2354263"/>
          <p14:tracePt t="66267" x="8396288" y="2349500"/>
          <p14:tracePt t="66268" x="8391525" y="2346325"/>
          <p14:tracePt t="66269" x="8388350" y="2338388"/>
          <p14:tracePt t="66270" x="8375650" y="2325688"/>
          <p14:tracePt t="66272" x="8372475" y="2322513"/>
          <p14:tracePt t="66273" x="8367713" y="2314575"/>
          <p14:tracePt t="66274" x="8364538" y="2309813"/>
          <p14:tracePt t="66275" x="8359775" y="2301875"/>
          <p14:tracePt t="66276" x="8351838" y="2298700"/>
          <p14:tracePt t="66277" x="8351838" y="2293938"/>
          <p14:tracePt t="66278" x="8348663" y="2286000"/>
          <p14:tracePt t="66279" x="8335963" y="2281238"/>
          <p14:tracePt t="66280" x="8332788" y="2270125"/>
          <p14:tracePt t="66281" x="8328025" y="2270125"/>
          <p14:tracePt t="66282" x="8324850" y="2265363"/>
          <p14:tracePt t="66285" x="8316913" y="2249488"/>
          <p14:tracePt t="66286" x="8312150" y="2241550"/>
          <p14:tracePt t="66287" x="8307388" y="2238375"/>
          <p14:tracePt t="66288" x="8304213" y="2233613"/>
          <p14:tracePt t="66289" x="8299450" y="2230438"/>
          <p14:tracePt t="66290" x="8296275" y="2222500"/>
          <p14:tracePt t="66291" x="8291513" y="2217738"/>
          <p14:tracePt t="66292" x="8288338" y="2214563"/>
          <p14:tracePt t="66293" x="8283575" y="2209800"/>
          <p14:tracePt t="66294" x="8280400" y="2206625"/>
          <p14:tracePt t="66295" x="8275638" y="2198688"/>
          <p14:tracePt t="66297" x="8267700" y="2193925"/>
          <p14:tracePt t="66298" x="8267700" y="2189163"/>
          <p14:tracePt t="66300" x="8259763" y="2181225"/>
          <p14:tracePt t="66302" x="8251825" y="2173288"/>
          <p14:tracePt t="66303" x="8248650" y="2170113"/>
          <p14:tracePt t="66304" x="8243888" y="2165350"/>
          <p14:tracePt t="66305" x="8235950" y="2162175"/>
          <p14:tracePt t="66306" x="8232775" y="2157413"/>
          <p14:tracePt t="66307" x="8228013" y="2154238"/>
          <p14:tracePt t="66308" x="8224838" y="2154238"/>
          <p14:tracePt t="66309" x="8220075" y="2149475"/>
          <p14:tracePt t="66310" x="8220075" y="2146300"/>
          <p14:tracePt t="66311" x="8215313" y="2141538"/>
          <p14:tracePt t="66312" x="8212138" y="2138363"/>
          <p14:tracePt t="66313" x="8207375" y="2133600"/>
          <p14:tracePt t="66314" x="8204200" y="2130425"/>
          <p14:tracePt t="66315" x="8196263" y="2125663"/>
          <p14:tracePt t="66317" x="8188325" y="2117725"/>
          <p14:tracePt t="66318" x="8183563" y="2114550"/>
          <p14:tracePt t="66319" x="8180388" y="2109788"/>
          <p14:tracePt t="66320" x="8175625" y="2109788"/>
          <p14:tracePt t="66321" x="8167688" y="2106613"/>
          <p14:tracePt t="66322" x="8164513" y="2101850"/>
          <p14:tracePt t="66323" x="8159750" y="2097088"/>
          <p14:tracePt t="66324" x="8159750" y="2093913"/>
          <p14:tracePt t="66325" x="8156575" y="2089150"/>
          <p14:tracePt t="66326" x="8148638" y="2085975"/>
          <p14:tracePt t="66327" x="8143875" y="2081213"/>
          <p14:tracePt t="66328" x="8140700" y="2078038"/>
          <p14:tracePt t="66329" x="8135938" y="2078038"/>
          <p14:tracePt t="66330" x="8132763" y="2073275"/>
          <p14:tracePt t="66331" x="8128000" y="2070100"/>
          <p14:tracePt t="66333" x="8120063" y="2062163"/>
          <p14:tracePt t="66334" x="8115300" y="2057400"/>
          <p14:tracePt t="66335" x="8112125" y="2057400"/>
          <p14:tracePt t="66337" x="8107363" y="2057400"/>
          <p14:tracePt t="66338" x="8104188" y="2054225"/>
          <p14:tracePt t="66339" x="8099425" y="2054225"/>
          <p14:tracePt t="66340" x="8096250" y="2049463"/>
          <p14:tracePt t="66341" x="8091488" y="2046288"/>
          <p14:tracePt t="66342" x="8088313" y="2041525"/>
          <p14:tracePt t="66343" x="8083550" y="2041525"/>
          <p14:tracePt t="66344" x="8080375" y="2038350"/>
          <p14:tracePt t="66347" x="8072438" y="2033588"/>
          <p14:tracePt t="66348" x="8072438" y="2030413"/>
          <p14:tracePt t="66351" x="8064500" y="2022475"/>
          <p14:tracePt t="66352" x="8064500" y="2017713"/>
          <p14:tracePt t="66353" x="8059738" y="2017713"/>
          <p14:tracePt t="66354" x="8056563" y="2017713"/>
          <p14:tracePt t="66356" x="8051800" y="2017713"/>
          <p14:tracePt t="66357" x="8051800" y="2014538"/>
          <p14:tracePt t="66358" x="8048625" y="2014538"/>
          <p14:tracePt t="66359" x="8048625" y="2009775"/>
          <p14:tracePt t="66360" x="8043863" y="2009775"/>
          <p14:tracePt t="66361" x="8040688" y="2005013"/>
          <p14:tracePt t="66364" x="8035925" y="2001838"/>
          <p14:tracePt t="66364" x="8031163" y="2001838"/>
          <p14:tracePt t="66366" x="8031163" y="1997075"/>
          <p14:tracePt t="66368" x="8027988" y="1997075"/>
          <p14:tracePt t="66370" x="8027988" y="1993900"/>
          <p14:tracePt t="66371" x="8023225" y="1993900"/>
          <p14:tracePt t="66372" x="8023225" y="1989138"/>
          <p14:tracePt t="66373" x="8020050" y="1989138"/>
          <p14:tracePt t="66375" x="8020050" y="1985963"/>
          <p14:tracePt t="66376" x="8015288" y="1985963"/>
          <p14:tracePt t="66377" x="8015288" y="1981200"/>
          <p14:tracePt t="66378" x="8012113" y="1981200"/>
          <p14:tracePt t="66382" x="8007350" y="1981200"/>
          <p14:tracePt t="66384" x="8004175" y="1981200"/>
          <p14:tracePt t="66385" x="8004175" y="1978025"/>
          <p14:tracePt t="66387" x="7999413" y="1978025"/>
          <p14:tracePt t="66393" x="7996238" y="1978025"/>
          <p14:tracePt t="66402" x="7996238" y="1973263"/>
          <p14:tracePt t="66403" x="7991475" y="1973263"/>
          <p14:tracePt t="66411" x="7991475" y="1970088"/>
          <p14:tracePt t="66412" x="7988300" y="1970088"/>
          <p14:tracePt t="66414" x="7983538" y="1970088"/>
          <p14:tracePt t="66415" x="7983538" y="1965325"/>
          <p14:tracePt t="66417" x="7980363" y="1965325"/>
          <p14:tracePt t="66423" x="7975600" y="1962150"/>
          <p14:tracePt t="66428" x="7975600" y="1957388"/>
          <p14:tracePt t="66431" x="7972425" y="1957388"/>
          <p14:tracePt t="66434" x="7972425" y="1954213"/>
          <p14:tracePt t="66435" x="7967663" y="1954213"/>
          <p14:tracePt t="66439" x="7964488" y="1949450"/>
          <p14:tracePt t="66483" x="7964488" y="1946275"/>
          <p14:tracePt t="66503" x="7964488" y="1941513"/>
          <p14:tracePt t="66507" x="7964488" y="1938338"/>
          <p14:tracePt t="66512" x="7964488" y="1933575"/>
          <p14:tracePt t="66516" x="7959725" y="1925638"/>
          <p14:tracePt t="66518" x="7959725" y="1922463"/>
          <p14:tracePt t="66519" x="7959725" y="1912938"/>
          <p14:tracePt t="66523" x="7956550" y="1897063"/>
          <p14:tracePt t="66527" x="7951788" y="1885950"/>
          <p14:tracePt t="66528" x="7951788" y="1881188"/>
          <p14:tracePt t="66529" x="7951788" y="1878013"/>
          <p14:tracePt t="66530" x="7948613" y="1870075"/>
          <p14:tracePt t="66531" x="7948613" y="1865313"/>
          <p14:tracePt t="66532" x="7943850" y="1862138"/>
          <p14:tracePt t="66533" x="7943850" y="1857375"/>
          <p14:tracePt t="66534" x="7939088" y="1849438"/>
          <p14:tracePt t="66535" x="7939088" y="1846263"/>
          <p14:tracePt t="66536" x="7939088" y="1838325"/>
          <p14:tracePt t="66537" x="7935913" y="1833563"/>
          <p14:tracePt t="66538" x="7931150" y="1825625"/>
          <p14:tracePt t="66539" x="7931150" y="1817688"/>
          <p14:tracePt t="66540" x="7927975" y="1812925"/>
          <p14:tracePt t="66541" x="7927975" y="1804988"/>
          <p14:tracePt t="66542" x="7923213" y="1797050"/>
          <p14:tracePt t="66543" x="7923213" y="1793875"/>
          <p14:tracePt t="66544" x="7920038" y="1781175"/>
          <p14:tracePt t="66545" x="7915275" y="1778000"/>
          <p14:tracePt t="66547" x="7912100" y="1762125"/>
          <p14:tracePt t="66550" x="7904163" y="1741488"/>
          <p14:tracePt t="66551" x="7904163" y="1733550"/>
          <p14:tracePt t="66552" x="7899400" y="1725613"/>
          <p14:tracePt t="66553" x="7896225" y="1720850"/>
          <p14:tracePt t="66554" x="7896225" y="1712913"/>
          <p14:tracePt t="66555" x="7891463" y="1704975"/>
          <p14:tracePt t="66557" x="7883525" y="1693863"/>
          <p14:tracePt t="66558" x="7880350" y="1685925"/>
          <p14:tracePt t="66559" x="7880350" y="1677988"/>
          <p14:tracePt t="66560" x="7880350" y="1673225"/>
          <p14:tracePt t="66561" x="7880350" y="1665288"/>
          <p14:tracePt t="66562" x="7880350" y="1662113"/>
          <p14:tracePt t="66563" x="7875588" y="1657350"/>
          <p14:tracePt t="66564" x="7875588" y="1649413"/>
          <p14:tracePt t="66565" x="7872413" y="1641475"/>
          <p14:tracePt t="66566" x="7872413" y="1636713"/>
          <p14:tracePt t="66567" x="7867650" y="1628775"/>
          <p14:tracePt t="66568" x="7864475" y="1625600"/>
          <p14:tracePt t="66569" x="7864475" y="1617663"/>
          <p14:tracePt t="66570" x="7864475" y="1612900"/>
          <p14:tracePt t="66571" x="7859713" y="1609725"/>
          <p14:tracePt t="66572" x="7859713" y="1601788"/>
          <p14:tracePt t="66574" x="7859713" y="1593850"/>
          <p14:tracePt t="66575" x="7854950" y="1589088"/>
          <p14:tracePt t="66576" x="7854950" y="1585913"/>
          <p14:tracePt t="66577" x="7851775" y="1581150"/>
          <p14:tracePt t="66578" x="7851775" y="1577975"/>
          <p14:tracePt t="66579" x="7847013" y="1570038"/>
          <p14:tracePt t="66580" x="7847013" y="1565275"/>
          <p14:tracePt t="66581" x="7847013" y="1562100"/>
          <p14:tracePt t="66584" x="7843838" y="1552575"/>
          <p14:tracePt t="66584" x="7843838" y="1544638"/>
          <p14:tracePt t="66586" x="7839075" y="1541463"/>
          <p14:tracePt t="66587" x="7839075" y="1536700"/>
          <p14:tracePt t="66588" x="7839075" y="1533525"/>
          <p14:tracePt t="66589" x="7839075" y="1528763"/>
          <p14:tracePt t="66590" x="7835900" y="1525588"/>
          <p14:tracePt t="66591" x="7835900" y="1520825"/>
          <p14:tracePt t="66593" x="7835900" y="1517650"/>
          <p14:tracePt t="66594" x="7835900" y="1512888"/>
          <p14:tracePt t="66595" x="7831138" y="1509713"/>
          <p14:tracePt t="66596" x="7831138" y="1504950"/>
          <p14:tracePt t="66599" x="7831138" y="1501775"/>
          <p14:tracePt t="66600" x="7827963" y="1497013"/>
          <p14:tracePt t="66602" x="7827963" y="1493838"/>
          <p14:tracePt t="66603" x="7827963" y="1489075"/>
          <p14:tracePt t="66604" x="7823200" y="1485900"/>
          <p14:tracePt t="66606" x="7823200" y="1481138"/>
          <p14:tracePt t="66608" x="7823200" y="1477963"/>
          <p14:tracePt t="66610" x="7823200" y="1473200"/>
          <p14:tracePt t="66611" x="7823200" y="1470025"/>
          <p14:tracePt t="66613" x="7823200" y="1465263"/>
          <p14:tracePt t="66617" x="7823200" y="1460500"/>
          <p14:tracePt t="66621" x="7823200" y="1457325"/>
          <p14:tracePt t="66624" x="7823200" y="1452563"/>
          <p14:tracePt t="66625" x="7820025" y="1452563"/>
          <p14:tracePt t="66626" x="7820025" y="1449388"/>
          <p14:tracePt t="66628" x="7820025" y="1444625"/>
          <p14:tracePt t="66631" x="7820025" y="1441450"/>
          <p14:tracePt t="66635" x="7820025" y="1436688"/>
          <p14:tracePt t="66638" x="7820025" y="1433513"/>
          <p14:tracePt t="66641" x="7820025" y="1428750"/>
          <p14:tracePt t="66644" x="7820025" y="1425575"/>
          <p14:tracePt t="66647" x="7815263" y="1425575"/>
          <p14:tracePt t="66650" x="7815263" y="1420813"/>
          <p14:tracePt t="66660" x="7815263" y="1417638"/>
          <p14:tracePt t="66664" x="7812088" y="1412875"/>
          <p14:tracePt t="66667" x="7812088" y="1409700"/>
          <p14:tracePt t="66671" x="7812088" y="1404938"/>
          <p14:tracePt t="66680" x="7812088" y="1401763"/>
          <p14:tracePt t="66685" x="7812088" y="1397000"/>
          <p14:tracePt t="66691" x="7807325" y="1397000"/>
          <p14:tracePt t="66692" x="7807325" y="1393825"/>
          <p14:tracePt t="66702" x="7807325" y="1389063"/>
          <p14:tracePt t="66899" x="7807325" y="1393825"/>
          <p14:tracePt t="66905" x="7807325" y="1397000"/>
          <p14:tracePt t="66909" x="7807325" y="1401763"/>
          <p14:tracePt t="66913" x="7807325" y="1404938"/>
          <p14:tracePt t="66918" x="7807325" y="1409700"/>
          <p14:tracePt t="66922" x="7807325" y="1412875"/>
          <p14:tracePt t="66925" x="7807325" y="1417638"/>
          <p14:tracePt t="66929" x="7807325" y="1420813"/>
          <p14:tracePt t="66931" x="7807325" y="1425575"/>
          <p14:tracePt t="66934" x="7807325" y="1428750"/>
          <p14:tracePt t="66936" x="7807325" y="1433513"/>
          <p14:tracePt t="66938" x="7807325" y="1436688"/>
          <p14:tracePt t="66939" x="7807325" y="1441450"/>
          <p14:tracePt t="66942" x="7807325" y="1444625"/>
          <p14:tracePt t="66946" x="7807325" y="1449388"/>
          <p14:tracePt t="66948" x="7807325" y="1452563"/>
          <p14:tracePt t="66950" x="7807325" y="1457325"/>
          <p14:tracePt t="66952" x="7807325" y="1460500"/>
          <p14:tracePt t="66957" x="7807325" y="1465263"/>
          <p14:tracePt t="66959" x="7807325" y="1470025"/>
          <p14:tracePt t="66961" x="7807325" y="1473200"/>
          <p14:tracePt t="66965" x="7807325" y="1481138"/>
          <p14:tracePt t="66969" x="7807325" y="1485900"/>
          <p14:tracePt t="66971" x="7807325" y="1489075"/>
          <p14:tracePt t="66972" x="7807325" y="1493838"/>
          <p14:tracePt t="66973" x="7807325" y="1497013"/>
          <p14:tracePt t="66975" x="7807325" y="1501775"/>
          <p14:tracePt t="66981" x="7807325" y="1504950"/>
          <p14:tracePt t="66982" x="7807325" y="1509713"/>
          <p14:tracePt t="66984" x="7807325" y="1512888"/>
          <p14:tracePt t="66986" x="7807325" y="1517650"/>
          <p14:tracePt t="66990" x="7807325" y="1520825"/>
          <p14:tracePt t="66991" x="7807325" y="1525588"/>
          <p14:tracePt t="66995" x="7807325" y="1528763"/>
          <p14:tracePt t="66998" x="7807325" y="1536700"/>
          <p14:tracePt t="67000" x="7807325" y="1541463"/>
          <p14:tracePt t="67007" x="7807325" y="1544638"/>
          <p14:tracePt t="67011" x="7807325" y="1549400"/>
          <p14:tracePt t="67012" x="7807325" y="1552575"/>
          <p14:tracePt t="67016" x="7807325" y="1557338"/>
          <p14:tracePt t="67021" x="7807325" y="1562100"/>
          <p14:tracePt t="67027" x="7807325" y="1565275"/>
          <p14:tracePt t="67030" x="7807325" y="1570038"/>
          <p14:tracePt t="67032" x="7807325" y="1573213"/>
          <p14:tracePt t="67037" x="7807325" y="1577975"/>
          <p14:tracePt t="67042" x="7807325" y="1581150"/>
          <p14:tracePt t="67046" x="7807325" y="1585913"/>
          <p14:tracePt t="67049" x="7807325" y="1589088"/>
          <p14:tracePt t="67053" x="7807325" y="1593850"/>
          <p14:tracePt t="67058" x="7807325" y="1597025"/>
          <p14:tracePt t="67061" x="7807325" y="1601788"/>
          <p14:tracePt t="67062" x="7807325" y="1604963"/>
          <p14:tracePt t="67064" x="7807325" y="1609725"/>
          <p14:tracePt t="67066" x="7807325" y="1612900"/>
          <p14:tracePt t="67068" x="7807325" y="1617663"/>
          <p14:tracePt t="67073" x="7807325" y="1620838"/>
          <p14:tracePt t="67074" x="7807325" y="1625600"/>
          <p14:tracePt t="67076" x="7807325" y="1628775"/>
          <p14:tracePt t="67078" x="7807325" y="1633538"/>
          <p14:tracePt t="67080" x="7807325" y="1636713"/>
          <p14:tracePt t="67082" x="7807325" y="1641475"/>
          <p14:tracePt t="67084" x="7807325" y="1644650"/>
          <p14:tracePt t="67086" x="7807325" y="1649413"/>
          <p14:tracePt t="67088" x="7807325" y="1654175"/>
          <p14:tracePt t="67091" x="7807325" y="1662113"/>
          <p14:tracePt t="67094" x="7807325" y="1665288"/>
          <p14:tracePt t="67096" x="7807325" y="1670050"/>
          <p14:tracePt t="67098" x="7807325" y="1673225"/>
          <p14:tracePt t="67099" x="7807325" y="1677988"/>
          <p14:tracePt t="67100" x="7807325" y="1681163"/>
          <p14:tracePt t="67101" x="7807325" y="1685925"/>
          <p14:tracePt t="67102" x="7807325" y="1689100"/>
          <p14:tracePt t="67104" x="7807325" y="1693863"/>
          <p14:tracePt t="67107" x="7807325" y="1701800"/>
          <p14:tracePt t="67109" x="7807325" y="1704975"/>
          <p14:tracePt t="67110" x="7807325" y="1709738"/>
          <p14:tracePt t="67111" x="7807325" y="1712913"/>
          <p14:tracePt t="67112" x="7807325" y="1717675"/>
          <p14:tracePt t="67114" x="7807325" y="1720850"/>
          <p14:tracePt t="67115" x="7807325" y="1725613"/>
          <p14:tracePt t="67116" x="7807325" y="1728788"/>
          <p14:tracePt t="67117" x="7807325" y="1733550"/>
          <p14:tracePt t="67118" x="7807325" y="1738313"/>
          <p14:tracePt t="67120" x="7807325" y="1741488"/>
          <p14:tracePt t="67121" x="7807325" y="1746250"/>
          <p14:tracePt t="67122" x="7807325" y="1749425"/>
          <p14:tracePt t="67123" x="7807325" y="1754188"/>
          <p14:tracePt t="67124" x="7807325" y="1757363"/>
          <p14:tracePt t="67125" x="7807325" y="1762125"/>
          <p14:tracePt t="67126" x="7807325" y="1765300"/>
          <p14:tracePt t="67127" x="7807325" y="1770063"/>
          <p14:tracePt t="67128" x="7807325" y="1773238"/>
          <p14:tracePt t="67129" x="7807325" y="1778000"/>
          <p14:tracePt t="67130" x="7807325" y="1785938"/>
          <p14:tracePt t="67131" x="7807325" y="1789113"/>
          <p14:tracePt t="67133" x="7807325" y="1793875"/>
          <p14:tracePt t="67134" x="7807325" y="1797050"/>
          <p14:tracePt t="67137" x="7807325" y="1804988"/>
          <p14:tracePt t="67137" x="7807325" y="1812925"/>
          <p14:tracePt t="67138" x="7807325" y="1817688"/>
          <p14:tracePt t="67139" x="7807325" y="1820863"/>
          <p14:tracePt t="67140" x="7804150" y="1830388"/>
          <p14:tracePt t="67141" x="7804150" y="1833563"/>
          <p14:tracePt t="67142" x="7804150" y="1841500"/>
          <p14:tracePt t="67143" x="7804150" y="1846263"/>
          <p14:tracePt t="67144" x="7804150" y="1849438"/>
          <p14:tracePt t="67146" x="7804150" y="1854200"/>
          <p14:tracePt t="67147" x="7804150" y="1862138"/>
          <p14:tracePt t="67148" x="7804150" y="1865313"/>
          <p14:tracePt t="67149" x="7804150" y="1873250"/>
          <p14:tracePt t="67150" x="7804150" y="1878013"/>
          <p14:tracePt t="67151" x="7804150" y="1881188"/>
          <p14:tracePt t="67153" x="7804150" y="1889125"/>
          <p14:tracePt t="67153" x="7804150" y="1893888"/>
          <p14:tracePt t="67155" x="7804150" y="1901825"/>
          <p14:tracePt t="67156" x="7804150" y="1909763"/>
          <p14:tracePt t="67158" x="7804150" y="1912938"/>
          <p14:tracePt t="67159" x="7804150" y="1922463"/>
          <p14:tracePt t="67160" x="7804150" y="1925638"/>
          <p14:tracePt t="67161" x="7804150" y="1930400"/>
          <p14:tracePt t="67162" x="7804150" y="1933575"/>
          <p14:tracePt t="67163" x="7804150" y="1941513"/>
          <p14:tracePt t="67164" x="7804150" y="1946275"/>
          <p14:tracePt t="67165" x="7804150" y="1949450"/>
          <p14:tracePt t="67166" x="7804150" y="1954213"/>
          <p14:tracePt t="67167" x="7804150" y="1962150"/>
          <p14:tracePt t="67168" x="7804150" y="1965325"/>
          <p14:tracePt t="67170" x="7804150" y="1970088"/>
          <p14:tracePt t="67171" x="7804150" y="1973263"/>
          <p14:tracePt t="67172" x="7804150" y="1978025"/>
          <p14:tracePt t="67173" x="7804150" y="1981200"/>
          <p14:tracePt t="67174" x="7804150" y="1985963"/>
          <p14:tracePt t="67175" x="7804150" y="1989138"/>
          <p14:tracePt t="67176" x="7804150" y="1993900"/>
          <p14:tracePt t="67177" x="7804150" y="1997075"/>
          <p14:tracePt t="67178" x="7804150" y="2001838"/>
          <p14:tracePt t="67179" x="7804150" y="2005013"/>
          <p14:tracePt t="67181" x="7804150" y="2009775"/>
          <p14:tracePt t="67182" x="7804150" y="2014538"/>
          <p14:tracePt t="67183" x="7804150" y="2017713"/>
          <p14:tracePt t="67184" x="7804150" y="2022475"/>
          <p14:tracePt t="67185" x="7804150" y="2025650"/>
          <p14:tracePt t="67187" x="7804150" y="2030413"/>
          <p14:tracePt t="67188" x="7804150" y="2033588"/>
          <p14:tracePt t="67189" x="7804150" y="2038350"/>
          <p14:tracePt t="67190" x="7804150" y="2041525"/>
          <p14:tracePt t="67192" x="7804150" y="2046288"/>
          <p14:tracePt t="67195" x="7804150" y="2049463"/>
          <p14:tracePt t="67197" x="7804150" y="2054225"/>
          <p14:tracePt t="67198" x="7804150" y="2057400"/>
          <p14:tracePt t="67199" x="7804150" y="2062163"/>
          <p14:tracePt t="67200" x="7804150" y="2065338"/>
          <p14:tracePt t="67202" x="7804150" y="2070100"/>
          <p14:tracePt t="67204" x="7804150" y="2073275"/>
          <p14:tracePt t="67205" x="7804150" y="2078038"/>
          <p14:tracePt t="67206" x="7804150" y="2081213"/>
          <p14:tracePt t="67208" x="7804150" y="2085975"/>
          <p14:tracePt t="67211" x="7804150" y="2089150"/>
          <p14:tracePt t="67212" x="7804150" y="2093913"/>
          <p14:tracePt t="67214" x="7807325" y="2093913"/>
          <p14:tracePt t="67214" x="7807325" y="2097088"/>
          <p14:tracePt t="67215" x="7807325" y="2101850"/>
          <p14:tracePt t="67217" x="7807325" y="2106613"/>
          <p14:tracePt t="67219" x="7807325" y="2109788"/>
          <p14:tracePt t="67221" x="7812088" y="2114550"/>
          <p14:tracePt t="67222" x="7812088" y="2117725"/>
          <p14:tracePt t="67224" x="7812088" y="2122488"/>
          <p14:tracePt t="67225" x="7812088" y="2125663"/>
          <p14:tracePt t="67229" x="7812088" y="2130425"/>
          <p14:tracePt t="67231" x="7812088" y="2133600"/>
          <p14:tracePt t="67232" x="7812088" y="2138363"/>
          <p14:tracePt t="67234" x="7812088" y="2141538"/>
          <p14:tracePt t="67236" x="7812088" y="2146300"/>
          <p14:tracePt t="67237" x="7812088" y="2149475"/>
          <p14:tracePt t="67239" x="7812088" y="2154238"/>
          <p14:tracePt t="67241" x="7812088" y="2157413"/>
          <p14:tracePt t="67242" x="7815263" y="2157413"/>
          <p14:tracePt t="67244" x="7815263" y="2162175"/>
          <p14:tracePt t="67245" x="7815263" y="2165350"/>
          <p14:tracePt t="67249" x="7815263" y="2170113"/>
          <p14:tracePt t="67250" x="7815263" y="2173288"/>
          <p14:tracePt t="67252" x="7815263" y="2178050"/>
          <p14:tracePt t="67253" x="7815263" y="2181225"/>
          <p14:tracePt t="67255" x="7815263" y="2185988"/>
          <p14:tracePt t="67258" x="7815263" y="2189163"/>
          <p14:tracePt t="67260" x="7815263" y="2193925"/>
          <p14:tracePt t="67261" x="7815263" y="2198688"/>
          <p14:tracePt t="67263" x="7815263" y="2201863"/>
          <p14:tracePt t="67264" x="7815263" y="2206625"/>
          <p14:tracePt t="67267" x="7815263" y="2209800"/>
          <p14:tracePt t="67270" x="7815263" y="2214563"/>
          <p14:tracePt t="67272" x="7815263" y="2217738"/>
          <p14:tracePt t="67274" x="7815263" y="2222500"/>
          <p14:tracePt t="67276" x="7815263" y="2225675"/>
          <p14:tracePt t="67279" x="7815263" y="2230438"/>
          <p14:tracePt t="67281" x="7815263" y="2233613"/>
          <p14:tracePt t="67284" x="7815263" y="2238375"/>
          <p14:tracePt t="67287" x="7815263" y="2241550"/>
          <p14:tracePt t="67290" x="7815263" y="2246313"/>
          <p14:tracePt t="67299" x="7815263" y="2249488"/>
          <p14:tracePt t="67619" x="7820025" y="2249488"/>
          <p14:tracePt t="67626" x="7823200" y="2249488"/>
          <p14:tracePt t="67629" x="7827963" y="2249488"/>
          <p14:tracePt t="67632" x="7835900" y="2254250"/>
          <p14:tracePt t="67633" x="7839075" y="2257425"/>
          <p14:tracePt t="67635" x="7843838" y="2262188"/>
          <p14:tracePt t="67638" x="7847013" y="2262188"/>
          <p14:tracePt t="67639" x="7851775" y="2265363"/>
          <p14:tracePt t="67640" x="7854950" y="2265363"/>
          <p14:tracePt t="67643" x="7859713" y="2270125"/>
          <p14:tracePt t="67645" x="7864475" y="2270125"/>
          <p14:tracePt t="67646" x="7867650" y="2273300"/>
          <p14:tracePt t="67647" x="7872413" y="2273300"/>
          <p14:tracePt t="67650" x="7880350" y="2278063"/>
          <p14:tracePt t="67652" x="7888288" y="2278063"/>
          <p14:tracePt t="67653" x="7891463" y="2281238"/>
          <p14:tracePt t="67654" x="7896225" y="2281238"/>
          <p14:tracePt t="67655" x="7899400" y="2281238"/>
          <p14:tracePt t="67656" x="7904163" y="2286000"/>
          <p14:tracePt t="67657" x="7907338" y="2286000"/>
          <p14:tracePt t="67658" x="7912100" y="2286000"/>
          <p14:tracePt t="67659" x="7915275" y="2290763"/>
          <p14:tracePt t="67660" x="7920038" y="2290763"/>
          <p14:tracePt t="67661" x="7927975" y="2293938"/>
          <p14:tracePt t="67662" x="7931150" y="2293938"/>
          <p14:tracePt t="67664" x="7939088" y="2293938"/>
          <p14:tracePt t="67666" x="7951788" y="2293938"/>
          <p14:tracePt t="67667" x="7956550" y="2293938"/>
          <p14:tracePt t="67669" x="7959725" y="2298700"/>
          <p14:tracePt t="67670" x="7967663" y="2298700"/>
          <p14:tracePt t="67671" x="7972425" y="2298700"/>
          <p14:tracePt t="67672" x="7975600" y="2301875"/>
          <p14:tracePt t="67673" x="7980363" y="2301875"/>
          <p14:tracePt t="67674" x="7983538" y="2301875"/>
          <p14:tracePt t="67675" x="7991475" y="2301875"/>
          <p14:tracePt t="67676" x="7996238" y="2301875"/>
          <p14:tracePt t="67677" x="7999413" y="2301875"/>
          <p14:tracePt t="67678" x="8004175" y="2306638"/>
          <p14:tracePt t="67679" x="8012113" y="2306638"/>
          <p14:tracePt t="67682" x="8020050" y="2306638"/>
          <p14:tracePt t="67683" x="8023225" y="2306638"/>
          <p14:tracePt t="67685" x="8027988" y="2309813"/>
          <p14:tracePt t="67685" x="8031163" y="2309813"/>
          <p14:tracePt t="67686" x="8035925" y="2309813"/>
          <p14:tracePt t="67688" x="8040688" y="2309813"/>
          <p14:tracePt t="67689" x="8043863" y="2309813"/>
          <p14:tracePt t="67691" x="8048625" y="2309813"/>
          <p14:tracePt t="67692" x="8051800" y="2309813"/>
          <p14:tracePt t="67696" x="8056563" y="2309813"/>
          <p14:tracePt t="67699" x="8059738" y="2309813"/>
          <p14:tracePt t="67703" x="8059738" y="2306638"/>
          <p14:tracePt t="67711" x="8064500" y="2306638"/>
          <p14:tracePt t="67722" x="8064500" y="2301875"/>
          <p14:tracePt t="67769" x="8067675" y="2301875"/>
          <p14:tracePt t="67781" x="8067675" y="2298700"/>
          <p14:tracePt t="67790" x="8067675" y="2293938"/>
          <p14:tracePt t="67793" x="8072438" y="2290763"/>
          <p14:tracePt t="67794" x="8075613" y="2290763"/>
          <p14:tracePt t="67796" x="8075613" y="2286000"/>
          <p14:tracePt t="67798" x="8080375" y="2286000"/>
          <p14:tracePt t="67799" x="8080375" y="2281238"/>
          <p14:tracePt t="67803" x="8080375" y="2278063"/>
          <p14:tracePt t="67804" x="8080375" y="2273300"/>
          <p14:tracePt t="67807" x="8080375" y="2270125"/>
          <p14:tracePt t="67810" x="8083550" y="2265363"/>
          <p14:tracePt t="67812" x="8083550" y="2262188"/>
          <p14:tracePt t="67815" x="8083550" y="2257425"/>
          <p14:tracePt t="67819" x="8083550" y="2254250"/>
          <p14:tracePt t="67820" x="8088313" y="2254250"/>
          <p14:tracePt t="67822" x="8088313" y="2249488"/>
          <p14:tracePt t="67824" x="8088313" y="2246313"/>
          <p14:tracePt t="67825" x="8088313" y="2241550"/>
          <p14:tracePt t="67827" x="8088313" y="2238375"/>
          <p14:tracePt t="67829" x="8088313" y="2233613"/>
          <p14:tracePt t="67831" x="8091488" y="2230438"/>
          <p14:tracePt t="67832" x="8091488" y="2225675"/>
          <p14:tracePt t="67834" x="8091488" y="2222500"/>
          <p14:tracePt t="67836" x="8091488" y="2217738"/>
          <p14:tracePt t="67838" x="8091488" y="2214563"/>
          <p14:tracePt t="67840" x="8091488" y="2209800"/>
          <p14:tracePt t="67841" x="8091488" y="2206625"/>
          <p14:tracePt t="67842" x="8091488" y="2201863"/>
          <p14:tracePt t="67844" x="8091488" y="2198688"/>
          <p14:tracePt t="67845" x="8091488" y="2193925"/>
          <p14:tracePt t="67847" x="8091488" y="2185988"/>
          <p14:tracePt t="67848" x="8091488" y="2181225"/>
          <p14:tracePt t="67849" x="8091488" y="2178050"/>
          <p14:tracePt t="67850" x="8091488" y="2173288"/>
          <p14:tracePt t="67855" x="8091488" y="2162175"/>
          <p14:tracePt t="67856" x="8091488" y="2157413"/>
          <p14:tracePt t="67857" x="8091488" y="2154238"/>
          <p14:tracePt t="67858" x="8091488" y="2149475"/>
          <p14:tracePt t="67859" x="8091488" y="2146300"/>
          <p14:tracePt t="67860" x="8091488" y="2141538"/>
          <p14:tracePt t="67861" x="8091488" y="2138363"/>
          <p14:tracePt t="67862" x="8091488" y="2133600"/>
          <p14:tracePt t="67864" x="8091488" y="2130425"/>
          <p14:tracePt t="67865" x="8088313" y="2125663"/>
          <p14:tracePt t="67866" x="8088313" y="2122488"/>
          <p14:tracePt t="67867" x="8088313" y="2117725"/>
          <p14:tracePt t="67868" x="8088313" y="2114550"/>
          <p14:tracePt t="67870" x="8088313" y="2106613"/>
          <p14:tracePt t="67871" x="8088313" y="2101850"/>
          <p14:tracePt t="67872" x="8088313" y="2097088"/>
          <p14:tracePt t="67873" x="8088313" y="2093913"/>
          <p14:tracePt t="67875" x="8088313" y="2089150"/>
          <p14:tracePt t="67876" x="8088313" y="2085975"/>
          <p14:tracePt t="67877" x="8088313" y="2081213"/>
          <p14:tracePt t="67878" x="8088313" y="2078038"/>
          <p14:tracePt t="67879" x="8088313" y="2073275"/>
          <p14:tracePt t="67881" x="8083550" y="2065338"/>
          <p14:tracePt t="67882" x="8083550" y="2062163"/>
          <p14:tracePt t="67883" x="8083550" y="2057400"/>
          <p14:tracePt t="67884" x="8083550" y="2054225"/>
          <p14:tracePt t="67886" x="8083550" y="2049463"/>
          <p14:tracePt t="67887" x="8083550" y="2046288"/>
          <p14:tracePt t="67888" x="8080375" y="2041525"/>
          <p14:tracePt t="67889" x="8080375" y="2038350"/>
          <p14:tracePt t="67890" x="8080375" y="2033588"/>
          <p14:tracePt t="67891" x="8080375" y="2025650"/>
          <p14:tracePt t="67892" x="8075613" y="2022475"/>
          <p14:tracePt t="67893" x="8075613" y="2017713"/>
          <p14:tracePt t="67894" x="8075613" y="2014538"/>
          <p14:tracePt t="67898" x="8072438" y="1997075"/>
          <p14:tracePt t="67899" x="8072438" y="1993900"/>
          <p14:tracePt t="67901" x="8067675" y="1985963"/>
          <p14:tracePt t="67902" x="8067675" y="1981200"/>
          <p14:tracePt t="67903" x="8067675" y="1978025"/>
          <p14:tracePt t="67904" x="8067675" y="1973263"/>
          <p14:tracePt t="67905" x="8064500" y="1970088"/>
          <p14:tracePt t="67906" x="8064500" y="1965325"/>
          <p14:tracePt t="67907" x="8059738" y="1962150"/>
          <p14:tracePt t="67908" x="8059738" y="1957388"/>
          <p14:tracePt t="67909" x="8059738" y="1954213"/>
          <p14:tracePt t="67910" x="8059738" y="1949450"/>
          <p14:tracePt t="67911" x="8056563" y="1941513"/>
          <p14:tracePt t="67912" x="8056563" y="1938338"/>
          <p14:tracePt t="67913" x="8056563" y="1933575"/>
          <p14:tracePt t="67914" x="8056563" y="1925638"/>
          <p14:tracePt t="67916" x="8051800" y="1917700"/>
          <p14:tracePt t="67918" x="8051800" y="1909763"/>
          <p14:tracePt t="67919" x="8051800" y="1901825"/>
          <p14:tracePt t="67920" x="8051800" y="1897063"/>
          <p14:tracePt t="67921" x="8048625" y="1897063"/>
          <p14:tracePt t="67922" x="8048625" y="1893888"/>
          <p14:tracePt t="67923" x="8048625" y="1889125"/>
          <p14:tracePt t="67924" x="8043863" y="1881188"/>
          <p14:tracePt t="67925" x="8043863" y="1878013"/>
          <p14:tracePt t="67926" x="8043863" y="1873250"/>
          <p14:tracePt t="67927" x="8040688" y="1870075"/>
          <p14:tracePt t="67928" x="8040688" y="1865313"/>
          <p14:tracePt t="67929" x="8040688" y="1857375"/>
          <p14:tracePt t="67930" x="8035925" y="1854200"/>
          <p14:tracePt t="67932" x="8031163" y="1846263"/>
          <p14:tracePt t="67933" x="8031163" y="1841500"/>
          <p14:tracePt t="67935" x="8027988" y="1830388"/>
          <p14:tracePt t="67936" x="8027988" y="1825625"/>
          <p14:tracePt t="67937" x="8023225" y="1820863"/>
          <p14:tracePt t="67938" x="8023225" y="1817688"/>
          <p14:tracePt t="67939" x="8023225" y="1809750"/>
          <p14:tracePt t="67940" x="8023225" y="1804988"/>
          <p14:tracePt t="67941" x="8020050" y="1801813"/>
          <p14:tracePt t="67942" x="8020050" y="1797050"/>
          <p14:tracePt t="67943" x="8020050" y="1793875"/>
          <p14:tracePt t="67944" x="8015288" y="1789113"/>
          <p14:tracePt t="67945" x="8012113" y="1789113"/>
          <p14:tracePt t="67946" x="8012113" y="1785938"/>
          <p14:tracePt t="67947" x="8007350" y="1781175"/>
          <p14:tracePt t="67948" x="8007350" y="1778000"/>
          <p14:tracePt t="67949" x="8007350" y="1773238"/>
          <p14:tracePt t="67950" x="8007350" y="1770063"/>
          <p14:tracePt t="67951" x="8007350" y="1765300"/>
          <p14:tracePt t="67952" x="8004175" y="1762125"/>
          <p14:tracePt t="67953" x="8004175" y="1757363"/>
          <p14:tracePt t="67954" x="7999413" y="1754188"/>
          <p14:tracePt t="67955" x="7999413" y="1749425"/>
          <p14:tracePt t="67956" x="7996238" y="1749425"/>
          <p14:tracePt t="67957" x="7991475" y="1749425"/>
          <p14:tracePt t="67958" x="7991475" y="1746250"/>
          <p14:tracePt t="67959" x="7988300" y="1741488"/>
          <p14:tracePt t="67960" x="7983538" y="1738313"/>
          <p14:tracePt t="67961" x="7983538" y="1733550"/>
          <p14:tracePt t="67962" x="7980363" y="1728788"/>
          <p14:tracePt t="67964" x="7975600" y="1725613"/>
          <p14:tracePt t="67964" x="7975600" y="1720850"/>
          <p14:tracePt t="67966" x="7967663" y="1712913"/>
          <p14:tracePt t="67967" x="7967663" y="1709738"/>
          <p14:tracePt t="67968" x="7964488" y="1709738"/>
          <p14:tracePt t="67970" x="7959725" y="1704975"/>
          <p14:tracePt t="67971" x="7956550" y="1701800"/>
          <p14:tracePt t="67972" x="7956550" y="1697038"/>
          <p14:tracePt t="67973" x="7951788" y="1693863"/>
          <p14:tracePt t="67974" x="7948613" y="1689100"/>
          <p14:tracePt t="67975" x="7943850" y="1685925"/>
          <p14:tracePt t="67976" x="7939088" y="1685925"/>
          <p14:tracePt t="67977" x="7935913" y="1681163"/>
          <p14:tracePt t="67978" x="7935913" y="1677988"/>
          <p14:tracePt t="67979" x="7931150" y="1673225"/>
          <p14:tracePt t="67981" x="7923213" y="1665288"/>
          <p14:tracePt t="67984" x="7920038" y="1662113"/>
          <p14:tracePt t="67985" x="7920038" y="1657350"/>
          <p14:tracePt t="67986" x="7915275" y="1654175"/>
          <p14:tracePt t="67987" x="7912100" y="1649413"/>
          <p14:tracePt t="67989" x="7907338" y="1644650"/>
          <p14:tracePt t="67990" x="7904163" y="1644650"/>
          <p14:tracePt t="67991" x="7899400" y="1641475"/>
          <p14:tracePt t="67992" x="7899400" y="1636713"/>
          <p14:tracePt t="67993" x="7896225" y="1636713"/>
          <p14:tracePt t="67994" x="7896225" y="1633538"/>
          <p14:tracePt t="67995" x="7891463" y="1628775"/>
          <p14:tracePt t="67997" x="7888288" y="1625600"/>
          <p14:tracePt t="67999" x="7883525" y="1625600"/>
          <p14:tracePt t="68002" x="7883525" y="1620838"/>
          <p14:tracePt t="68003" x="7880350" y="1620838"/>
          <p14:tracePt t="68004" x="7880350" y="1617663"/>
          <p14:tracePt t="68005" x="7875588" y="1617663"/>
          <p14:tracePt t="68006" x="7875588" y="1612900"/>
          <p14:tracePt t="68007" x="7872413" y="1612900"/>
          <p14:tracePt t="68008" x="7867650" y="1609725"/>
          <p14:tracePt t="68010" x="7864475" y="1604963"/>
          <p14:tracePt t="68012" x="7859713" y="1604963"/>
          <p14:tracePt t="68013" x="7859713" y="1601788"/>
          <p14:tracePt t="68014" x="7854950" y="1601788"/>
          <p14:tracePt t="68015" x="7851775" y="1601788"/>
          <p14:tracePt t="68016" x="7851775" y="1597025"/>
          <p14:tracePt t="68017" x="7847013" y="1597025"/>
          <p14:tracePt t="68018" x="7843838" y="1597025"/>
          <p14:tracePt t="68019" x="7843838" y="1593850"/>
          <p14:tracePt t="68022" x="7839075" y="1589088"/>
          <p14:tracePt t="68024" x="7835900" y="1589088"/>
          <p14:tracePt t="68025" x="7831138" y="1585913"/>
          <p14:tracePt t="68026" x="7827963" y="1585913"/>
          <p14:tracePt t="68027" x="7823200" y="1585913"/>
          <p14:tracePt t="68029" x="7820025" y="1585913"/>
          <p14:tracePt t="68030" x="7815263" y="1585913"/>
          <p14:tracePt t="68031" x="7812088" y="1585913"/>
          <p14:tracePt t="68032" x="7812088" y="1581150"/>
          <p14:tracePt t="68033" x="7807325" y="1581150"/>
          <p14:tracePt t="68034" x="7804150" y="1581150"/>
          <p14:tracePt t="68038" x="7799388" y="1577975"/>
          <p14:tracePt t="68040" x="7796213" y="1577975"/>
          <p14:tracePt t="68041" x="7791450" y="1577975"/>
          <p14:tracePt t="68043" x="7788275" y="1577975"/>
          <p14:tracePt t="68045" x="7783513" y="1573213"/>
          <p14:tracePt t="68047" x="7780338" y="1573213"/>
          <p14:tracePt t="68049" x="7775575" y="1573213"/>
          <p14:tracePt t="68053" x="7772400" y="1573213"/>
          <p14:tracePt t="68057" x="7767638" y="1573213"/>
          <p14:tracePt t="68062" x="7762875" y="1573213"/>
          <p14:tracePt t="68071" x="7759700" y="1573213"/>
          <p14:tracePt t="68074" x="7754938" y="1573213"/>
          <p14:tracePt t="68076" x="7751763" y="1573213"/>
          <p14:tracePt t="68080" x="7747000" y="1573213"/>
          <p14:tracePt t="68082" x="7743825" y="1577975"/>
          <p14:tracePt t="68085" x="7739063" y="1581150"/>
          <p14:tracePt t="68086" x="7735888" y="1581150"/>
          <p14:tracePt t="68088" x="7731125" y="1581150"/>
          <p14:tracePt t="68090" x="7727950" y="1585913"/>
          <p14:tracePt t="68092" x="7723188" y="1589088"/>
          <p14:tracePt t="68094" x="7723188" y="1593850"/>
          <p14:tracePt t="68095" x="7720013" y="1593850"/>
          <p14:tracePt t="68096" x="7715250" y="1597025"/>
          <p14:tracePt t="68098" x="7712075" y="1601788"/>
          <p14:tracePt t="68099" x="7712075" y="1604963"/>
          <p14:tracePt t="68100" x="7707313" y="1604963"/>
          <p14:tracePt t="68101" x="7704138" y="1609725"/>
          <p14:tracePt t="68102" x="7699375" y="1612900"/>
          <p14:tracePt t="68103" x="7699375" y="1617663"/>
          <p14:tracePt t="68104" x="7696200" y="1620838"/>
          <p14:tracePt t="68106" x="7691438" y="1620838"/>
          <p14:tracePt t="68107" x="7688263" y="1625600"/>
          <p14:tracePt t="68108" x="7688263" y="1628775"/>
          <p14:tracePt t="68109" x="7683500" y="1633538"/>
          <p14:tracePt t="68110" x="7683500" y="1636713"/>
          <p14:tracePt t="68111" x="7680325" y="1641475"/>
          <p14:tracePt t="68112" x="7680325" y="1644650"/>
          <p14:tracePt t="68113" x="7680325" y="1649413"/>
          <p14:tracePt t="68114" x="7675563" y="1654175"/>
          <p14:tracePt t="68115" x="7675563" y="1657350"/>
          <p14:tracePt t="68117" x="7670800" y="1662113"/>
          <p14:tracePt t="68118" x="7670800" y="1665288"/>
          <p14:tracePt t="68119" x="7667625" y="1670050"/>
          <p14:tracePt t="68120" x="7667625" y="1673225"/>
          <p14:tracePt t="68121" x="7662863" y="1677988"/>
          <p14:tracePt t="68122" x="7659688" y="1681163"/>
          <p14:tracePt t="68123" x="7659688" y="1685925"/>
          <p14:tracePt t="68124" x="7654925" y="1689100"/>
          <p14:tracePt t="68125" x="7654925" y="1693863"/>
          <p14:tracePt t="68126" x="7654925" y="1701800"/>
          <p14:tracePt t="68127" x="7651750" y="1704975"/>
          <p14:tracePt t="68128" x="7651750" y="1709738"/>
          <p14:tracePt t="68130" x="7651750" y="1712913"/>
          <p14:tracePt t="68131" x="7651750" y="1717675"/>
          <p14:tracePt t="68133" x="7646988" y="1725613"/>
          <p14:tracePt t="68134" x="7646988" y="1728788"/>
          <p14:tracePt t="68135" x="7643813" y="1733550"/>
          <p14:tracePt t="68136" x="7643813" y="1738313"/>
          <p14:tracePt t="68137" x="7643813" y="1746250"/>
          <p14:tracePt t="68138" x="7639050" y="1749425"/>
          <p14:tracePt t="68139" x="7639050" y="1754188"/>
          <p14:tracePt t="68141" x="7639050" y="1757363"/>
          <p14:tracePt t="68142" x="7639050" y="1762125"/>
          <p14:tracePt t="68143" x="7639050" y="1765300"/>
          <p14:tracePt t="68144" x="7639050" y="1770063"/>
          <p14:tracePt t="68145" x="7639050" y="1773238"/>
          <p14:tracePt t="68147" x="7639050" y="1781175"/>
          <p14:tracePt t="68149" x="7639050" y="1785938"/>
          <p14:tracePt t="68150" x="7639050" y="1789113"/>
          <p14:tracePt t="68151" x="7639050" y="1793875"/>
          <p14:tracePt t="68152" x="7639050" y="1797050"/>
          <p14:tracePt t="68153" x="7639050" y="1801813"/>
          <p14:tracePt t="68157" x="7639050" y="1809750"/>
          <p14:tracePt t="68158" x="7639050" y="1812925"/>
          <p14:tracePt t="68159" x="7639050" y="1817688"/>
          <p14:tracePt t="68160" x="7639050" y="1820863"/>
          <p14:tracePt t="68161" x="7639050" y="1825625"/>
          <p14:tracePt t="68162" x="7639050" y="1830388"/>
          <p14:tracePt t="68164" x="7643813" y="1833563"/>
          <p14:tracePt t="68165" x="7646988" y="1838325"/>
          <p14:tracePt t="68166" x="7646988" y="1841500"/>
          <p14:tracePt t="68168" x="7651750" y="1841500"/>
          <p14:tracePt t="68169" x="7651750" y="1846263"/>
          <p14:tracePt t="68170" x="7654925" y="1849438"/>
          <p14:tracePt t="68171" x="7654925" y="1854200"/>
          <p14:tracePt t="68172" x="7659688" y="1857375"/>
          <p14:tracePt t="68173" x="7662863" y="1857375"/>
          <p14:tracePt t="68174" x="7662863" y="1862138"/>
          <p14:tracePt t="68175" x="7662863" y="1865313"/>
          <p14:tracePt t="68176" x="7667625" y="1865313"/>
          <p14:tracePt t="68177" x="7670800" y="1870075"/>
          <p14:tracePt t="68178" x="7670800" y="1873250"/>
          <p14:tracePt t="68179" x="7675563" y="1873250"/>
          <p14:tracePt t="68180" x="7675563" y="1878013"/>
          <p14:tracePt t="68183" x="7675563" y="1881188"/>
          <p14:tracePt t="68184" x="7680325" y="1881188"/>
          <p14:tracePt t="68184" x="7680325" y="1885950"/>
          <p14:tracePt t="68185" x="7683500" y="1885950"/>
          <p14:tracePt t="68186" x="7688263" y="1889125"/>
          <p14:tracePt t="68188" x="7691438" y="1893888"/>
          <p14:tracePt t="68190" x="7696200" y="1893888"/>
          <p14:tracePt t="68191" x="7696200" y="1897063"/>
          <p14:tracePt t="68192" x="7699375" y="1897063"/>
          <p14:tracePt t="68193" x="7699375" y="1901825"/>
          <p14:tracePt t="68195" x="7704138" y="1901825"/>
          <p14:tracePt t="68196" x="7704138" y="1905000"/>
          <p14:tracePt t="68197" x="7707313" y="1905000"/>
          <p14:tracePt t="68200" x="7712075" y="1909763"/>
          <p14:tracePt t="68203" x="7715250" y="1912938"/>
          <p14:tracePt t="68204" x="7720013" y="1912938"/>
          <p14:tracePt t="68207" x="7720013" y="1917700"/>
          <p14:tracePt t="68209" x="7723188" y="1917700"/>
          <p14:tracePt t="68211" x="7723188" y="1922463"/>
          <p14:tracePt t="68213" x="7727950" y="1922463"/>
          <p14:tracePt t="68214" x="7731125" y="1922463"/>
          <p14:tracePt t="68215" x="7735888" y="1922463"/>
          <p14:tracePt t="68217" x="7735888" y="1925638"/>
          <p14:tracePt t="68218" x="7739063" y="1925638"/>
          <p14:tracePt t="68221" x="7743825" y="1925638"/>
          <p14:tracePt t="68222" x="7747000" y="1930400"/>
          <p14:tracePt t="68223" x="7751763" y="1930400"/>
          <p14:tracePt t="68224" x="7754938" y="1930400"/>
          <p14:tracePt t="68225" x="7754938" y="1933575"/>
          <p14:tracePt t="68226" x="7759700" y="1933575"/>
          <p14:tracePt t="68229" x="7762875" y="1933575"/>
          <p14:tracePt t="68232" x="7772400" y="1938338"/>
          <p14:tracePt t="68233" x="7775575" y="1938338"/>
          <p14:tracePt t="68235" x="7780338" y="1938338"/>
          <p14:tracePt t="68236" x="7780338" y="1941513"/>
          <p14:tracePt t="68238" x="7783513" y="1941513"/>
          <p14:tracePt t="68239" x="7788275" y="1941513"/>
          <p14:tracePt t="68241" x="7791450" y="1946275"/>
          <p14:tracePt t="68243" x="7796213" y="1946275"/>
          <p14:tracePt t="68244" x="7799388" y="1946275"/>
          <p14:tracePt t="68246" x="7799388" y="1949450"/>
          <p14:tracePt t="68247" x="7804150" y="1949450"/>
          <p14:tracePt t="68248" x="7807325" y="1949450"/>
          <p14:tracePt t="68249" x="7812088" y="1949450"/>
          <p14:tracePt t="68250" x="7815263" y="1949450"/>
          <p14:tracePt t="68251" x="7820025" y="1949450"/>
          <p14:tracePt t="68252" x="7823200" y="1954213"/>
          <p14:tracePt t="68253" x="7827963" y="1954213"/>
          <p14:tracePt t="68254" x="7831138" y="1954213"/>
          <p14:tracePt t="68255" x="7835900" y="1954213"/>
          <p14:tracePt t="68256" x="7839075" y="1954213"/>
          <p14:tracePt t="68258" x="7843838" y="1957388"/>
          <p14:tracePt t="68259" x="7847013" y="1957388"/>
          <p14:tracePt t="68260" x="7851775" y="1957388"/>
          <p14:tracePt t="68261" x="7854950" y="1957388"/>
          <p14:tracePt t="68262" x="7859713" y="1957388"/>
          <p14:tracePt t="68263" x="7864475" y="1957388"/>
          <p14:tracePt t="68264" x="7867650" y="1957388"/>
          <p14:tracePt t="68265" x="7872413" y="1957388"/>
          <p14:tracePt t="68266" x="7875588" y="1962150"/>
          <p14:tracePt t="68267" x="7880350" y="1962150"/>
          <p14:tracePt t="68269" x="7883525" y="1962150"/>
          <p14:tracePt t="68270" x="7888288" y="1962150"/>
          <p14:tracePt t="68271" x="7891463" y="1962150"/>
          <p14:tracePt t="68272" x="7896225" y="1962150"/>
          <p14:tracePt t="68273" x="7899400" y="1962150"/>
          <p14:tracePt t="68274" x="7907338" y="1965325"/>
          <p14:tracePt t="68275" x="7912100" y="1965325"/>
          <p14:tracePt t="68277" x="7920038" y="1965325"/>
          <p14:tracePt t="68278" x="7923213" y="1965325"/>
          <p14:tracePt t="68279" x="7931150" y="1965325"/>
          <p14:tracePt t="68280" x="7935913" y="1965325"/>
          <p14:tracePt t="68283" x="7939088" y="1965325"/>
          <p14:tracePt t="68284" x="7948613" y="1965325"/>
          <p14:tracePt t="68285" x="7951788" y="1965325"/>
          <p14:tracePt t="68286" x="7956550" y="1965325"/>
          <p14:tracePt t="68287" x="7959725" y="1965325"/>
          <p14:tracePt t="68288" x="7964488" y="1965325"/>
          <p14:tracePt t="68289" x="7967663" y="1965325"/>
          <p14:tracePt t="68291" x="7975600" y="1965325"/>
          <p14:tracePt t="68292" x="7980363" y="1965325"/>
          <p14:tracePt t="68294" x="7983538" y="1965325"/>
          <p14:tracePt t="68295" x="7988300" y="1965325"/>
          <p14:tracePt t="68296" x="7996238" y="1965325"/>
          <p14:tracePt t="68297" x="7999413" y="1965325"/>
          <p14:tracePt t="68298" x="8004175" y="1965325"/>
          <p14:tracePt t="68299" x="8007350" y="1965325"/>
          <p14:tracePt t="68300" x="8012113" y="1965325"/>
          <p14:tracePt t="68301" x="8015288" y="1962150"/>
          <p14:tracePt t="68302" x="8020050" y="1962150"/>
          <p14:tracePt t="68303" x="8023225" y="1962150"/>
          <p14:tracePt t="68305" x="8027988" y="1962150"/>
          <p14:tracePt t="68306" x="8031163" y="1957388"/>
          <p14:tracePt t="68307" x="8035925" y="1957388"/>
          <p14:tracePt t="68308" x="8040688" y="1957388"/>
          <p14:tracePt t="68309" x="8043863" y="1954213"/>
          <p14:tracePt t="68311" x="8048625" y="1954213"/>
          <p14:tracePt t="68312" x="8051800" y="1954213"/>
          <p14:tracePt t="68313" x="8056563" y="1954213"/>
          <p14:tracePt t="68314" x="8059738" y="1949450"/>
          <p14:tracePt t="68315" x="8064500" y="1949450"/>
          <p14:tracePt t="68318" x="8067675" y="1949450"/>
          <p14:tracePt t="68319" x="8072438" y="1946275"/>
          <p14:tracePt t="68320" x="8075613" y="1946275"/>
          <p14:tracePt t="68321" x="8080375" y="1946275"/>
          <p14:tracePt t="68323" x="8083550" y="1946275"/>
          <p14:tracePt t="68324" x="8088313" y="1946275"/>
          <p14:tracePt t="68325" x="8088313" y="1941513"/>
          <p14:tracePt t="68326" x="8091488" y="1941513"/>
          <p14:tracePt t="68327" x="8096250" y="1938338"/>
          <p14:tracePt t="68329" x="8099425" y="1938338"/>
          <p14:tracePt t="68330" x="8099425" y="1933575"/>
          <p14:tracePt t="68332" x="8104188" y="1930400"/>
          <p14:tracePt t="68334" x="8107363" y="1930400"/>
          <p14:tracePt t="68338" x="8112125" y="1930400"/>
          <p14:tracePt t="68340" x="8115300" y="1925638"/>
          <p14:tracePt t="68341" x="8120063" y="1925638"/>
          <p14:tracePt t="68342" x="8120063" y="1922463"/>
          <p14:tracePt t="68343" x="8123238" y="1922463"/>
          <p14:tracePt t="68344" x="8123238" y="1917700"/>
          <p14:tracePt t="68346" x="8128000" y="1912938"/>
          <p14:tracePt t="68347" x="8128000" y="1909763"/>
          <p14:tracePt t="68348" x="8132763" y="1909763"/>
          <p14:tracePt t="68349" x="8132763" y="1905000"/>
          <p14:tracePt t="68350" x="8135938" y="1901825"/>
          <p14:tracePt t="68351" x="8135938" y="1897063"/>
          <p14:tracePt t="68353" x="8140700" y="1893888"/>
          <p14:tracePt t="68355" x="8140700" y="1889125"/>
          <p14:tracePt t="68356" x="8143875" y="1889125"/>
          <p14:tracePt t="68357" x="8143875" y="1885950"/>
          <p14:tracePt t="68358" x="8143875" y="1881188"/>
          <p14:tracePt t="68359" x="8148638" y="1878013"/>
          <p14:tracePt t="68360" x="8148638" y="1873250"/>
          <p14:tracePt t="68361" x="8148638" y="1870075"/>
          <p14:tracePt t="68364" x="8148638" y="1862138"/>
          <p14:tracePt t="68365" x="8151813" y="1857375"/>
          <p14:tracePt t="68366" x="8151813" y="1854200"/>
          <p14:tracePt t="68367" x="8151813" y="1849438"/>
          <p14:tracePt t="68368" x="8156575" y="1849438"/>
          <p14:tracePt t="68369" x="8156575" y="1846263"/>
          <p14:tracePt t="68370" x="8156575" y="1841500"/>
          <p14:tracePt t="68371" x="8159750" y="1838325"/>
          <p14:tracePt t="68372" x="8159750" y="1833563"/>
          <p14:tracePt t="68373" x="8159750" y="1830388"/>
          <p14:tracePt t="68374" x="8159750" y="1825625"/>
          <p14:tracePt t="68375" x="8164513" y="1817688"/>
          <p14:tracePt t="68376" x="8164513" y="1812925"/>
          <p14:tracePt t="68378" x="8164513" y="1809750"/>
          <p14:tracePt t="68379" x="8164513" y="1804988"/>
          <p14:tracePt t="68380" x="8167688" y="1797050"/>
          <p14:tracePt t="68382" x="8167688" y="1793875"/>
          <p14:tracePt t="68384" x="8167688" y="1789113"/>
          <p14:tracePt t="68385" x="8172450" y="1785938"/>
          <p14:tracePt t="68386" x="8172450" y="1781175"/>
          <p14:tracePt t="68387" x="8172450" y="1778000"/>
          <p14:tracePt t="68388" x="8172450" y="1773238"/>
          <p14:tracePt t="68389" x="8172450" y="1770063"/>
          <p14:tracePt t="68390" x="8172450" y="1765300"/>
          <p14:tracePt t="68392" x="8172450" y="1762125"/>
          <p14:tracePt t="68393" x="8172450" y="1757363"/>
          <p14:tracePt t="68394" x="8172450" y="1754188"/>
          <p14:tracePt t="68395" x="8172450" y="1749425"/>
          <p14:tracePt t="68399" x="8172450" y="1746250"/>
          <p14:tracePt t="68401" x="8172450" y="1738313"/>
          <p14:tracePt t="68403" x="8172450" y="1733550"/>
          <p14:tracePt t="68405" x="8172450" y="1728788"/>
          <p14:tracePt t="68407" x="8172450" y="1725613"/>
          <p14:tracePt t="68409" x="8172450" y="1720850"/>
          <p14:tracePt t="68410" x="8172450" y="1717675"/>
          <p14:tracePt t="68411" x="8172450" y="1712913"/>
          <p14:tracePt t="68414" x="8172450" y="1709738"/>
          <p14:tracePt t="68418" x="8172450" y="1704975"/>
          <p14:tracePt t="68420" x="8167688" y="1701800"/>
          <p14:tracePt t="68422" x="8167688" y="1697038"/>
          <p14:tracePt t="68423" x="8164513" y="1697038"/>
          <p14:tracePt t="68425" x="8164513" y="1693863"/>
          <p14:tracePt t="68427" x="8159750" y="1693863"/>
          <p14:tracePt t="68428" x="8159750" y="1689100"/>
          <p14:tracePt t="68431" x="8159750" y="1681163"/>
          <p14:tracePt t="68433" x="8156575" y="1681163"/>
          <p14:tracePt t="68434" x="8156575" y="1677988"/>
          <p14:tracePt t="68435" x="8151813" y="1677988"/>
          <p14:tracePt t="68437" x="8148638" y="1673225"/>
          <p14:tracePt t="68441" x="8143875" y="1670050"/>
          <p14:tracePt t="68442" x="8140700" y="1670050"/>
          <p14:tracePt t="68445" x="8135938" y="1670050"/>
          <p14:tracePt t="68447" x="8132763" y="1665288"/>
          <p14:tracePt t="68450" x="8128000" y="1662113"/>
          <p14:tracePt t="68452" x="8123238" y="1657350"/>
          <p14:tracePt t="68453" x="8120063" y="1657350"/>
          <p14:tracePt t="68459" x="8115300" y="1657350"/>
          <p14:tracePt t="68461" x="8115300" y="1654175"/>
          <p14:tracePt t="68464" x="8112125" y="1654175"/>
          <p14:tracePt t="68466" x="8107363" y="1654175"/>
          <p14:tracePt t="68467" x="8107363" y="1649413"/>
          <p14:tracePt t="68468" x="8104188" y="1649413"/>
          <p14:tracePt t="68470" x="8099425" y="1649413"/>
          <p14:tracePt t="68472" x="8096250" y="1649413"/>
          <p14:tracePt t="68476" x="8091488" y="1644650"/>
          <p14:tracePt t="68477" x="8088313" y="1644650"/>
          <p14:tracePt t="68479" x="8083550" y="1644650"/>
          <p14:tracePt t="68480" x="8080375" y="1644650"/>
          <p14:tracePt t="68484" x="8075613" y="1644650"/>
          <p14:tracePt t="68486" x="8072438" y="1644650"/>
          <p14:tracePt t="68488" x="8067675" y="1644650"/>
          <p14:tracePt t="68490" x="8064500" y="1644650"/>
          <p14:tracePt t="68492" x="8059738" y="1644650"/>
          <p14:tracePt t="68494" x="8056563" y="1644650"/>
          <p14:tracePt t="68496" x="8051800" y="1644650"/>
          <p14:tracePt t="68498" x="8048625" y="1644650"/>
          <p14:tracePt t="68501" x="8043863" y="1644650"/>
          <p14:tracePt t="68504" x="8040688" y="1644650"/>
          <p14:tracePt t="68507" x="8035925" y="1644650"/>
          <p14:tracePt t="68511" x="8031163" y="1644650"/>
          <p14:tracePt t="68513" x="8027988" y="1644650"/>
          <p14:tracePt t="68515" x="8023225" y="1644650"/>
          <p14:tracePt t="68517" x="8020050" y="1644650"/>
          <p14:tracePt t="68518" x="8015288" y="1644650"/>
          <p14:tracePt t="68519" x="8012113" y="1649413"/>
          <p14:tracePt t="68521" x="8007350" y="1649413"/>
          <p14:tracePt t="68522" x="8004175" y="1649413"/>
          <p14:tracePt t="68523" x="8004175" y="1654175"/>
          <p14:tracePt t="68524" x="7999413" y="1654175"/>
          <p14:tracePt t="68525" x="7996238" y="1654175"/>
          <p14:tracePt t="68526" x="7996238" y="1657350"/>
          <p14:tracePt t="68528" x="7991475" y="1662113"/>
          <p14:tracePt t="68529" x="7988300" y="1662113"/>
          <p14:tracePt t="68530" x="7983538" y="1665288"/>
          <p14:tracePt t="68532" x="7980363" y="1665288"/>
          <p14:tracePt t="68533" x="7975600" y="1665288"/>
          <p14:tracePt t="68534" x="7972425" y="1670050"/>
          <p14:tracePt t="68536" x="7967663" y="1673225"/>
          <p14:tracePt t="68537" x="7964488" y="1677988"/>
          <p14:tracePt t="68538" x="7959725" y="1677988"/>
          <p14:tracePt t="68539" x="7956550" y="1681163"/>
          <p14:tracePt t="68540" x="7956550" y="1685925"/>
          <p14:tracePt t="68541" x="7956550" y="1689100"/>
          <p14:tracePt t="68542" x="7951788" y="1693863"/>
          <p14:tracePt t="68543" x="7948613" y="1693863"/>
          <p14:tracePt t="68544" x="7948613" y="1697038"/>
          <p14:tracePt t="68545" x="7943850" y="1701800"/>
          <p14:tracePt t="68546" x="7939088" y="1704975"/>
          <p14:tracePt t="68547" x="7935913" y="1704975"/>
          <p14:tracePt t="68548" x="7931150" y="1709738"/>
          <p14:tracePt t="68549" x="7931150" y="1712913"/>
          <p14:tracePt t="68550" x="7927975" y="1717675"/>
          <p14:tracePt t="68551" x="7923213" y="1717675"/>
          <p14:tracePt t="68552" x="7920038" y="1725613"/>
          <p14:tracePt t="68553" x="7920038" y="1728788"/>
          <p14:tracePt t="68554" x="7915275" y="1733550"/>
          <p14:tracePt t="68555" x="7915275" y="1738313"/>
          <p14:tracePt t="68557" x="7912100" y="1741488"/>
          <p14:tracePt t="68558" x="7907338" y="1749425"/>
          <p14:tracePt t="68560" x="7907338" y="1754188"/>
          <p14:tracePt t="68561" x="7907338" y="1757363"/>
          <p14:tracePt t="68562" x="7904163" y="1762125"/>
          <p14:tracePt t="68564" x="7899400" y="1770063"/>
          <p14:tracePt t="68565" x="7899400" y="1773238"/>
          <p14:tracePt t="68567" x="7899400" y="1778000"/>
          <p14:tracePt t="68568" x="7896225" y="1781175"/>
          <p14:tracePt t="68569" x="7896225" y="1789113"/>
          <p14:tracePt t="68570" x="7896225" y="1793875"/>
          <p14:tracePt t="68571" x="7891463" y="1797050"/>
          <p14:tracePt t="68572" x="7891463" y="1801813"/>
          <p14:tracePt t="68573" x="7891463" y="1804988"/>
          <p14:tracePt t="68574" x="7891463" y="1809750"/>
          <p14:tracePt t="68575" x="7888288" y="1812925"/>
          <p14:tracePt t="68576" x="7888288" y="1817688"/>
          <p14:tracePt t="68578" x="7888288" y="1820863"/>
          <p14:tracePt t="68579" x="7888288" y="1825625"/>
          <p14:tracePt t="68580" x="7888288" y="1830388"/>
          <p14:tracePt t="68581" x="7888288" y="1833563"/>
          <p14:tracePt t="68582" x="7883525" y="1838325"/>
          <p14:tracePt t="68583" x="7883525" y="1841500"/>
          <p14:tracePt t="68584" x="7883525" y="1846263"/>
          <p14:tracePt t="68585" x="7883525" y="1849438"/>
          <p14:tracePt t="68586" x="7883525" y="1854200"/>
          <p14:tracePt t="68587" x="7883525" y="1857375"/>
          <p14:tracePt t="68589" x="7883525" y="1862138"/>
          <p14:tracePt t="68591" x="7883525" y="1865313"/>
          <p14:tracePt t="68592" x="7883525" y="1870075"/>
          <p14:tracePt t="68593" x="7883525" y="1873250"/>
          <p14:tracePt t="68594" x="7883525" y="1878013"/>
          <p14:tracePt t="68596" x="7883525" y="1881188"/>
          <p14:tracePt t="68597" x="7883525" y="1885950"/>
          <p14:tracePt t="68598" x="7883525" y="1889125"/>
          <p14:tracePt t="68600" x="7883525" y="1893888"/>
          <p14:tracePt t="68601" x="7883525" y="1897063"/>
          <p14:tracePt t="68604" x="7883525" y="1901825"/>
          <p14:tracePt t="68606" x="7883525" y="1905000"/>
          <p14:tracePt t="68608" x="7883525" y="1909763"/>
          <p14:tracePt t="68609" x="7883525" y="1912938"/>
          <p14:tracePt t="68611" x="7883525" y="1917700"/>
          <p14:tracePt t="68614" x="7883525" y="1922463"/>
          <p14:tracePt t="68616" x="7883525" y="1925638"/>
          <p14:tracePt t="68618" x="7883525" y="1930400"/>
          <p14:tracePt t="68620" x="7888288" y="1933575"/>
          <p14:tracePt t="68624" x="7888288" y="1938338"/>
          <p14:tracePt t="68631" x="7891463" y="1938338"/>
          <p14:tracePt t="68700" x="7896225" y="1938338"/>
          <p14:tracePt t="68702" x="7896225" y="1933575"/>
          <p14:tracePt t="68704" x="7896225" y="1930400"/>
          <p14:tracePt t="68707" x="7896225" y="1922463"/>
          <p14:tracePt t="68709" x="7896225" y="1912938"/>
          <p14:tracePt t="68711" x="7896225" y="1909763"/>
          <p14:tracePt t="68713" x="7896225" y="1905000"/>
          <p14:tracePt t="68717" x="7899400" y="1889125"/>
          <p14:tracePt t="68718" x="7899400" y="1885950"/>
          <p14:tracePt t="68720" x="7904163" y="1878013"/>
          <p14:tracePt t="68721" x="7904163" y="1870075"/>
          <p14:tracePt t="68722" x="7904163" y="1865313"/>
          <p14:tracePt t="68723" x="7904163" y="1862138"/>
          <p14:tracePt t="68724" x="7904163" y="1857375"/>
          <p14:tracePt t="68725" x="7904163" y="1849438"/>
          <p14:tracePt t="68727" x="7904163" y="1846263"/>
          <p14:tracePt t="68728" x="7904163" y="1841500"/>
          <p14:tracePt t="68731" x="7904163" y="1820863"/>
          <p14:tracePt t="68732" x="7904163" y="1817688"/>
          <p14:tracePt t="68733" x="7907338" y="1809750"/>
          <p14:tracePt t="68734" x="7907338" y="1804988"/>
          <p14:tracePt t="68735" x="7907338" y="1797050"/>
          <p14:tracePt t="68736" x="7907338" y="1789113"/>
          <p14:tracePt t="68737" x="7907338" y="1785938"/>
          <p14:tracePt t="68738" x="7907338" y="1778000"/>
          <p14:tracePt t="68739" x="7907338" y="1773238"/>
          <p14:tracePt t="68740" x="7907338" y="1762125"/>
          <p14:tracePt t="68741" x="7907338" y="1757363"/>
          <p14:tracePt t="68742" x="7907338" y="1749425"/>
          <p14:tracePt t="68743" x="7907338" y="1746250"/>
          <p14:tracePt t="68744" x="7907338" y="1738313"/>
          <p14:tracePt t="68746" x="7907338" y="1725613"/>
          <p14:tracePt t="68747" x="7907338" y="1720850"/>
          <p14:tracePt t="68749" x="7907338" y="1709738"/>
          <p14:tracePt t="68750" x="7907338" y="1697038"/>
          <p14:tracePt t="68751" x="7907338" y="1693863"/>
          <p14:tracePt t="68752" x="7907338" y="1689100"/>
          <p14:tracePt t="68753" x="7907338" y="1681163"/>
          <p14:tracePt t="68754" x="7907338" y="1677988"/>
          <p14:tracePt t="68755" x="7907338" y="1670050"/>
          <p14:tracePt t="68756" x="7907338" y="1662113"/>
          <p14:tracePt t="68757" x="7907338" y="1657350"/>
          <p14:tracePt t="68758" x="7907338" y="1649413"/>
          <p14:tracePt t="68759" x="7907338" y="1644650"/>
          <p14:tracePt t="68760" x="7907338" y="1636713"/>
          <p14:tracePt t="68761" x="7907338" y="1633538"/>
          <p14:tracePt t="68762" x="7907338" y="1628775"/>
          <p14:tracePt t="68764" x="7907338" y="1625600"/>
          <p14:tracePt t="68764" x="7907338" y="1620838"/>
          <p14:tracePt t="68765" x="7907338" y="1612900"/>
          <p14:tracePt t="68766" x="7907338" y="1604963"/>
          <p14:tracePt t="68767" x="7907338" y="1601788"/>
          <p14:tracePt t="68768" x="7907338" y="1597025"/>
          <p14:tracePt t="68769" x="7907338" y="1589088"/>
          <p14:tracePt t="68770" x="7907338" y="1585913"/>
          <p14:tracePt t="68771" x="7907338" y="1581150"/>
          <p14:tracePt t="68772" x="7907338" y="1577975"/>
          <p14:tracePt t="68773" x="7907338" y="1573213"/>
          <p14:tracePt t="68774" x="7907338" y="1570038"/>
          <p14:tracePt t="68775" x="7907338" y="1562100"/>
          <p14:tracePt t="68777" x="7907338" y="1557338"/>
          <p14:tracePt t="68778" x="7907338" y="1552575"/>
          <p14:tracePt t="68779" x="7907338" y="1549400"/>
          <p14:tracePt t="68780" x="7907338" y="1544638"/>
          <p14:tracePt t="68781" x="7907338" y="1541463"/>
          <p14:tracePt t="68782" x="7907338" y="1536700"/>
          <p14:tracePt t="68784" x="7907338" y="1533525"/>
          <p14:tracePt t="68785" x="7907338" y="1528763"/>
          <p14:tracePt t="68786" x="7907338" y="1525588"/>
          <p14:tracePt t="68788" x="7907338" y="1520825"/>
          <p14:tracePt t="68791" x="7907338" y="1517650"/>
          <p14:tracePt t="68793" x="7907338" y="1512888"/>
          <p14:tracePt t="68794" x="7907338" y="1509713"/>
          <p14:tracePt t="68796" x="7907338" y="1504950"/>
          <p14:tracePt t="68797" x="7907338" y="1501775"/>
          <p14:tracePt t="68800" x="7907338" y="1497013"/>
          <p14:tracePt t="68803" x="7907338" y="1493838"/>
          <p14:tracePt t="68806" x="7907338" y="1489075"/>
          <p14:tracePt t="68810" x="7907338" y="1485900"/>
          <p14:tracePt t="68814" x="7907338" y="1481138"/>
          <p14:tracePt t="68894" x="7907338" y="1485900"/>
          <p14:tracePt t="68898" x="7907338" y="1489075"/>
          <p14:tracePt t="68902" x="7907338" y="1493838"/>
          <p14:tracePt t="68905" x="7907338" y="1497013"/>
          <p14:tracePt t="68906" x="7907338" y="1501775"/>
          <p14:tracePt t="68907" x="7907338" y="1504950"/>
          <p14:tracePt t="68908" x="7907338" y="1509713"/>
          <p14:tracePt t="68910" x="7907338" y="1512888"/>
          <p14:tracePt t="68911" x="7907338" y="1517650"/>
          <p14:tracePt t="68914" x="7907338" y="1520825"/>
          <p14:tracePt t="68914" x="7907338" y="1525588"/>
          <p14:tracePt t="68915" x="7907338" y="1528763"/>
          <p14:tracePt t="68916" x="7907338" y="1533525"/>
          <p14:tracePt t="68917" x="7907338" y="1536700"/>
          <p14:tracePt t="68918" x="7907338" y="1541463"/>
          <p14:tracePt t="68919" x="7907338" y="1544638"/>
          <p14:tracePt t="68920" x="7912100" y="1549400"/>
          <p14:tracePt t="68921" x="7912100" y="1552575"/>
          <p14:tracePt t="68922" x="7912100" y="1557338"/>
          <p14:tracePt t="68923" x="7912100" y="1562100"/>
          <p14:tracePt t="68924" x="7912100" y="1565275"/>
          <p14:tracePt t="68925" x="7912100" y="1570038"/>
          <p14:tracePt t="68926" x="7912100" y="1573213"/>
          <p14:tracePt t="68927" x="7912100" y="1577975"/>
          <p14:tracePt t="68928" x="7915275" y="1585913"/>
          <p14:tracePt t="68929" x="7915275" y="1589088"/>
          <p14:tracePt t="68930" x="7915275" y="1593850"/>
          <p14:tracePt t="68932" x="7915275" y="1604963"/>
          <p14:tracePt t="68933" x="7915275" y="1609725"/>
          <p14:tracePt t="68934" x="7920038" y="1617663"/>
          <p14:tracePt t="68935" x="7920038" y="1620838"/>
          <p14:tracePt t="68936" x="7920038" y="1625600"/>
          <p14:tracePt t="68938" x="7920038" y="1633538"/>
          <p14:tracePt t="68939" x="7920038" y="1641475"/>
          <p14:tracePt t="68940" x="7920038" y="1644650"/>
          <p14:tracePt t="68941" x="7920038" y="1654175"/>
          <p14:tracePt t="68942" x="7920038" y="1657350"/>
          <p14:tracePt t="68943" x="7920038" y="1665288"/>
          <p14:tracePt t="68944" x="7920038" y="1673225"/>
          <p14:tracePt t="68945" x="7920038" y="1677988"/>
          <p14:tracePt t="68946" x="7920038" y="1685925"/>
          <p14:tracePt t="68947" x="7920038" y="1689100"/>
          <p14:tracePt t="68949" x="7920038" y="1704975"/>
          <p14:tracePt t="68950" x="7920038" y="1709738"/>
          <p14:tracePt t="68951" x="7920038" y="1717675"/>
          <p14:tracePt t="68952" x="7920038" y="1720850"/>
          <p14:tracePt t="68953" x="7923213" y="1728788"/>
          <p14:tracePt t="68954" x="7923213" y="1738313"/>
          <p14:tracePt t="68955" x="7923213" y="1741488"/>
          <p14:tracePt t="68956" x="7923213" y="1749425"/>
          <p14:tracePt t="68958" x="7923213" y="1757363"/>
          <p14:tracePt t="68959" x="7923213" y="1765300"/>
          <p14:tracePt t="68960" x="7923213" y="1773238"/>
          <p14:tracePt t="68961" x="7923213" y="1778000"/>
          <p14:tracePt t="68962" x="7923213" y="1785938"/>
          <p14:tracePt t="68964" x="7923213" y="1801813"/>
          <p14:tracePt t="68965" x="7923213" y="1804988"/>
          <p14:tracePt t="68966" x="7923213" y="1812925"/>
          <p14:tracePt t="68967" x="7923213" y="1820863"/>
          <p14:tracePt t="68968" x="7927975" y="1825625"/>
          <p14:tracePt t="68969" x="7927975" y="1833563"/>
          <p14:tracePt t="68970" x="7927975" y="1841500"/>
          <p14:tracePt t="68971" x="7927975" y="1846263"/>
          <p14:tracePt t="68972" x="7927975" y="1854200"/>
          <p14:tracePt t="68973" x="7927975" y="1857375"/>
          <p14:tracePt t="68974" x="7927975" y="1865313"/>
          <p14:tracePt t="68975" x="7927975" y="1873250"/>
          <p14:tracePt t="68976" x="7927975" y="1881188"/>
          <p14:tracePt t="68977" x="7927975" y="1885950"/>
          <p14:tracePt t="68978" x="7927975" y="1893888"/>
          <p14:tracePt t="68979" x="7927975" y="1901825"/>
          <p14:tracePt t="68980" x="7931150" y="1905000"/>
          <p14:tracePt t="68981" x="7931150" y="1912938"/>
          <p14:tracePt t="68982" x="7931150" y="1917700"/>
          <p14:tracePt t="68983" x="7931150" y="1925638"/>
          <p14:tracePt t="68984" x="7931150" y="1933575"/>
          <p14:tracePt t="68985" x="7931150" y="1938338"/>
          <p14:tracePt t="68987" x="7931150" y="1946275"/>
          <p14:tracePt t="68988" x="7931150" y="1949450"/>
          <p14:tracePt t="68989" x="7931150" y="1957388"/>
          <p14:tracePt t="68990" x="7931150" y="1965325"/>
          <p14:tracePt t="68991" x="7931150" y="1970088"/>
          <p14:tracePt t="68992" x="7931150" y="1973263"/>
          <p14:tracePt t="68994" x="7931150" y="1985963"/>
          <p14:tracePt t="68995" x="7931150" y="1989138"/>
          <p14:tracePt t="68996" x="7931150" y="1997075"/>
          <p14:tracePt t="68997" x="7931150" y="2001838"/>
          <p14:tracePt t="68998" x="7931150" y="2005013"/>
          <p14:tracePt t="68999" x="7931150" y="2009775"/>
          <p14:tracePt t="69000" x="7931150" y="2014538"/>
          <p14:tracePt t="69001" x="7931150" y="2022475"/>
          <p14:tracePt t="69002" x="7931150" y="2025650"/>
          <p14:tracePt t="69003" x="7931150" y="2030413"/>
          <p14:tracePt t="69004" x="7931150" y="2038350"/>
          <p14:tracePt t="69005" x="7931150" y="2041525"/>
          <p14:tracePt t="69006" x="7931150" y="2046288"/>
          <p14:tracePt t="69007" x="7931150" y="2049463"/>
          <p14:tracePt t="69008" x="7931150" y="2057400"/>
          <p14:tracePt t="69009" x="7931150" y="2062163"/>
          <p14:tracePt t="69010" x="7931150" y="2065338"/>
          <p14:tracePt t="69011" x="7931150" y="2070100"/>
          <p14:tracePt t="69012" x="7931150" y="2078038"/>
          <p14:tracePt t="69014" x="7931150" y="2081213"/>
          <p14:tracePt t="69015" x="7931150" y="2089150"/>
          <p14:tracePt t="69016" x="7931150" y="2093913"/>
          <p14:tracePt t="69017" x="7931150" y="2097088"/>
          <p14:tracePt t="69018" x="7931150" y="2101850"/>
          <p14:tracePt t="69019" x="7931150" y="2106613"/>
          <p14:tracePt t="69020" x="7931150" y="2109788"/>
          <p14:tracePt t="69021" x="7931150" y="2117725"/>
          <p14:tracePt t="69022" x="7931150" y="2122488"/>
          <p14:tracePt t="69023" x="7931150" y="2125663"/>
          <p14:tracePt t="69024" x="7931150" y="2130425"/>
          <p14:tracePt t="69026" x="7931150" y="2133600"/>
          <p14:tracePt t="69028" x="7927975" y="2141538"/>
          <p14:tracePt t="69029" x="7927975" y="2146300"/>
          <p14:tracePt t="69031" x="7927975" y="2154238"/>
          <p14:tracePt t="69032" x="7927975" y="2157413"/>
          <p14:tracePt t="69033" x="7927975" y="2162175"/>
          <p14:tracePt t="69034" x="7927975" y="2165350"/>
          <p14:tracePt t="69035" x="7927975" y="2170113"/>
          <p14:tracePt t="69037" x="7923213" y="2170113"/>
          <p14:tracePt t="69038" x="7923213" y="2173288"/>
          <p14:tracePt t="69039" x="7923213" y="2178050"/>
          <p14:tracePt t="69041" x="7923213" y="2181225"/>
          <p14:tracePt t="69042" x="7923213" y="2185988"/>
          <p14:tracePt t="69044" x="7923213" y="2189163"/>
          <p14:tracePt t="69045" x="7923213" y="2193925"/>
          <p14:tracePt t="69047" x="7923213" y="2198688"/>
          <p14:tracePt t="69050" x="7923213" y="2201863"/>
          <p14:tracePt t="69051" x="7920038" y="2201863"/>
          <p14:tracePt t="69052" x="7920038" y="2206625"/>
          <p14:tracePt t="69055" x="7920038" y="2209800"/>
          <p14:tracePt t="69071" x="7920038" y="2214563"/>
          <p14:tracePt t="69106" x="7920038" y="2209800"/>
          <p14:tracePt t="69111" x="7920038" y="2206625"/>
          <p14:tracePt t="69112" x="7915275" y="2206625"/>
          <p14:tracePt t="69114" x="7915275" y="2201863"/>
          <p14:tracePt t="69116" x="7915275" y="2198688"/>
          <p14:tracePt t="69117" x="7915275" y="2193925"/>
          <p14:tracePt t="69119" x="7915275" y="2189163"/>
          <p14:tracePt t="69120" x="7912100" y="2189163"/>
          <p14:tracePt t="69121" x="7912100" y="2185988"/>
          <p14:tracePt t="69122" x="7912100" y="2181225"/>
          <p14:tracePt t="69123" x="7912100" y="2178050"/>
          <p14:tracePt t="69124" x="7912100" y="2173288"/>
          <p14:tracePt t="69126" x="7912100" y="2170113"/>
          <p14:tracePt t="69127" x="7912100" y="2165350"/>
          <p14:tracePt t="69128" x="7912100" y="2162175"/>
          <p14:tracePt t="69129" x="7912100" y="2157413"/>
          <p14:tracePt t="69130" x="7912100" y="2154238"/>
          <p14:tracePt t="69131" x="7912100" y="2146300"/>
          <p14:tracePt t="69132" x="7912100" y="2141538"/>
          <p14:tracePt t="69133" x="7912100" y="2138363"/>
          <p14:tracePt t="69135" x="7912100" y="2125663"/>
          <p14:tracePt t="69136" x="7912100" y="2122488"/>
          <p14:tracePt t="69137" x="7912100" y="2117725"/>
          <p14:tracePt t="69138" x="7912100" y="2114550"/>
          <p14:tracePt t="69139" x="7912100" y="2109788"/>
          <p14:tracePt t="69140" x="7912100" y="2101850"/>
          <p14:tracePt t="69141" x="7912100" y="2097088"/>
          <p14:tracePt t="69142" x="7912100" y="2089150"/>
          <p14:tracePt t="69143" x="7912100" y="2081213"/>
          <p14:tracePt t="69144" x="7912100" y="2078038"/>
          <p14:tracePt t="69145" x="7912100" y="2070100"/>
          <p14:tracePt t="69146" x="7912100" y="2062163"/>
          <p14:tracePt t="69147" x="7912100" y="2057400"/>
          <p14:tracePt t="69148" x="7912100" y="2049463"/>
          <p14:tracePt t="69149" x="7912100" y="2041525"/>
          <p14:tracePt t="69150" x="7912100" y="2038350"/>
          <p14:tracePt t="69152" x="7912100" y="2017713"/>
          <p14:tracePt t="69153" x="7912100" y="2009775"/>
          <p14:tracePt t="69154" x="7912100" y="2005013"/>
          <p14:tracePt t="69155" x="7912100" y="1997075"/>
          <p14:tracePt t="69156" x="7912100" y="1985963"/>
          <p14:tracePt t="69157" x="7912100" y="1978025"/>
          <p14:tracePt t="69158" x="7912100" y="1965325"/>
          <p14:tracePt t="69159" x="7912100" y="1957388"/>
          <p14:tracePt t="69160" x="7912100" y="1949450"/>
          <p14:tracePt t="69161" x="7912100" y="1941513"/>
          <p14:tracePt t="69162" x="7912100" y="1930400"/>
          <p14:tracePt t="69164" x="7912100" y="1912938"/>
          <p14:tracePt t="69165" x="7912100" y="1905000"/>
          <p14:tracePt t="69166" x="7912100" y="1889125"/>
          <p14:tracePt t="69167" x="7912100" y="1878013"/>
          <p14:tracePt t="69168" x="7912100" y="1870075"/>
          <p14:tracePt t="69169" x="7912100" y="1862138"/>
          <p14:tracePt t="69170" x="7912100" y="1846263"/>
          <p14:tracePt t="69171" x="7912100" y="1838325"/>
          <p14:tracePt t="69172" x="7912100" y="1825625"/>
          <p14:tracePt t="69173" x="7912100" y="1817688"/>
          <p14:tracePt t="69174" x="7912100" y="1801813"/>
          <p14:tracePt t="69175" x="7912100" y="1793875"/>
          <p14:tracePt t="69176" x="7912100" y="1781175"/>
          <p14:tracePt t="69177" x="7912100" y="1765300"/>
          <p14:tracePt t="69178" x="7912100" y="1757363"/>
          <p14:tracePt t="69179" x="7912100" y="1749425"/>
          <p14:tracePt t="69180" x="7912100" y="1741488"/>
          <p14:tracePt t="69181" x="7912100" y="1728788"/>
          <p14:tracePt t="69182" x="7912100" y="1717675"/>
          <p14:tracePt t="69183" x="7912100" y="1704975"/>
          <p14:tracePt t="69184" x="7912100" y="1697038"/>
          <p14:tracePt t="69185" x="7912100" y="1689100"/>
          <p14:tracePt t="69186" x="7912100" y="1681163"/>
          <p14:tracePt t="69187" x="7912100" y="1673225"/>
          <p14:tracePt t="69188" x="7912100" y="1665288"/>
          <p14:tracePt t="69189" x="7912100" y="1657350"/>
          <p14:tracePt t="69190" x="7912100" y="1654175"/>
          <p14:tracePt t="69191" x="7912100" y="1644650"/>
          <p14:tracePt t="69192" x="7912100" y="1636713"/>
          <p14:tracePt t="69193" x="7912100" y="1633538"/>
          <p14:tracePt t="69194" x="7912100" y="1625600"/>
          <p14:tracePt t="69196" x="7912100" y="1620838"/>
          <p14:tracePt t="69197" x="7912100" y="1612900"/>
          <p14:tracePt t="69198" x="7912100" y="1609725"/>
          <p14:tracePt t="69199" x="7912100" y="1604963"/>
          <p14:tracePt t="69200" x="7912100" y="1601788"/>
          <p14:tracePt t="69201" x="7912100" y="1597025"/>
          <p14:tracePt t="69202" x="7912100" y="1593850"/>
          <p14:tracePt t="69203" x="7912100" y="1589088"/>
          <p14:tracePt t="69205" x="7912100" y="1585913"/>
          <p14:tracePt t="69207" x="7912100" y="1581150"/>
          <p14:tracePt t="69210" x="7912100" y="1577975"/>
          <p14:tracePt t="69255" x="7912100" y="1581150"/>
          <p14:tracePt t="69257" x="7912100" y="1585913"/>
          <p14:tracePt t="69259" x="7912100" y="1589088"/>
          <p14:tracePt t="69260" x="7912100" y="1593850"/>
          <p14:tracePt t="69261" x="7912100" y="1597025"/>
          <p14:tracePt t="69262" x="7912100" y="1601788"/>
          <p14:tracePt t="69264" x="7912100" y="1609725"/>
          <p14:tracePt t="69265" x="7912100" y="1612900"/>
          <p14:tracePt t="69266" x="7912100" y="1617663"/>
          <p14:tracePt t="69267" x="7912100" y="1620838"/>
          <p14:tracePt t="69268" x="7912100" y="1625600"/>
          <p14:tracePt t="69269" x="7912100" y="1633538"/>
          <p14:tracePt t="69270" x="7912100" y="1636713"/>
          <p14:tracePt t="69271" x="7912100" y="1644650"/>
          <p14:tracePt t="69272" x="7912100" y="1649413"/>
          <p14:tracePt t="69273" x="7912100" y="1657350"/>
          <p14:tracePt t="69274" x="7915275" y="1665288"/>
          <p14:tracePt t="69275" x="7915275" y="1670050"/>
          <p14:tracePt t="69276" x="7915275" y="1677988"/>
          <p14:tracePt t="69277" x="7915275" y="1685925"/>
          <p14:tracePt t="69278" x="7920038" y="1693863"/>
          <p14:tracePt t="69279" x="7920038" y="1701800"/>
          <p14:tracePt t="69280" x="7920038" y="1704975"/>
          <p14:tracePt t="69281" x="7920038" y="1712913"/>
          <p14:tracePt t="69282" x="7920038" y="1720850"/>
          <p14:tracePt t="69283" x="7920038" y="1728788"/>
          <p14:tracePt t="69284" x="7920038" y="1738313"/>
          <p14:tracePt t="69285" x="7920038" y="1746250"/>
          <p14:tracePt t="69286" x="7920038" y="1754188"/>
          <p14:tracePt t="69287" x="7920038" y="1757363"/>
          <p14:tracePt t="69288" x="7920038" y="1770063"/>
          <p14:tracePt t="69289" x="7920038" y="1778000"/>
          <p14:tracePt t="69290" x="7920038" y="1785938"/>
          <p14:tracePt t="69291" x="7923213" y="1789113"/>
          <p14:tracePt t="69292" x="7923213" y="1797050"/>
          <p14:tracePt t="69293" x="7923213" y="1812925"/>
          <p14:tracePt t="69294" x="7923213" y="1817688"/>
          <p14:tracePt t="69295" x="7923213" y="1825625"/>
          <p14:tracePt t="69296" x="7923213" y="1833563"/>
          <p14:tracePt t="69297" x="7927975" y="1841500"/>
          <p14:tracePt t="69298" x="7927975" y="1849438"/>
          <p14:tracePt t="69299" x="7927975" y="1857375"/>
          <p14:tracePt t="69300" x="7927975" y="1865313"/>
          <p14:tracePt t="69301" x="7931150" y="1873250"/>
          <p14:tracePt t="69302" x="7931150" y="1878013"/>
          <p14:tracePt t="69303" x="7931150" y="1889125"/>
          <p14:tracePt t="69304" x="7931150" y="1893888"/>
          <p14:tracePt t="69305" x="7931150" y="1901825"/>
          <p14:tracePt t="69306" x="7931150" y="1905000"/>
          <p14:tracePt t="69308" x="7935913" y="1922463"/>
          <p14:tracePt t="69309" x="7935913" y="1930400"/>
          <p14:tracePt t="69310" x="7935913" y="1933575"/>
          <p14:tracePt t="69311" x="7935913" y="1941513"/>
          <p14:tracePt t="69312" x="7935913" y="1946275"/>
          <p14:tracePt t="69314" x="7935913" y="1954213"/>
          <p14:tracePt t="69315" x="7935913" y="1962150"/>
          <p14:tracePt t="69315" x="7939088" y="1970088"/>
          <p14:tracePt t="69316" x="7939088" y="1973263"/>
          <p14:tracePt t="69317" x="7939088" y="1978025"/>
          <p14:tracePt t="69318" x="7939088" y="1985963"/>
          <p14:tracePt t="69319" x="7939088" y="1993900"/>
          <p14:tracePt t="69320" x="7939088" y="1997075"/>
          <p14:tracePt t="69321" x="7943850" y="2001838"/>
          <p14:tracePt t="69323" x="7943850" y="2005013"/>
          <p14:tracePt t="69325" x="7948613" y="2017713"/>
          <p14:tracePt t="69326" x="7948613" y="2022475"/>
          <p14:tracePt t="69327" x="7948613" y="2025650"/>
          <p14:tracePt t="69329" x="7948613" y="2030413"/>
          <p14:tracePt t="69330" x="7948613" y="2033588"/>
          <p14:tracePt t="69331" x="7948613" y="2038350"/>
          <p14:tracePt t="69332" x="7951788" y="2041525"/>
          <p14:tracePt t="69334" x="7951788" y="2046288"/>
          <p14:tracePt t="69344" x="7951788" y="2049463"/>
          <p14:tracePt t="69384" x="7951788" y="2046288"/>
          <p14:tracePt t="69387" x="7951788" y="2041525"/>
          <p14:tracePt t="69388" x="7951788" y="2038350"/>
          <p14:tracePt t="69391" x="7951788" y="2033588"/>
          <p14:tracePt t="69392" x="7951788" y="2025650"/>
          <p14:tracePt t="69394" x="7951788" y="2022475"/>
          <p14:tracePt t="69396" x="7951788" y="2014538"/>
          <p14:tracePt t="69397" x="7948613" y="2005013"/>
          <p14:tracePt t="69400" x="7943850" y="1997075"/>
          <p14:tracePt t="69402" x="7943850" y="1985963"/>
          <p14:tracePt t="69404" x="7943850" y="1973263"/>
          <p14:tracePt t="69406" x="7943850" y="1962150"/>
          <p14:tracePt t="69407" x="7943850" y="1957388"/>
          <p14:tracePt t="69408" x="7943850" y="1954213"/>
          <p14:tracePt t="69409" x="7943850" y="1949450"/>
          <p14:tracePt t="69410" x="7939088" y="1941513"/>
          <p14:tracePt t="69411" x="7939088" y="1933575"/>
          <p14:tracePt t="69413" x="7939088" y="1930400"/>
          <p14:tracePt t="69414" x="7935913" y="1922463"/>
          <p14:tracePt t="69416" x="7935913" y="1909763"/>
          <p14:tracePt t="69417" x="7935913" y="1901825"/>
          <p14:tracePt t="69418" x="7931150" y="1897063"/>
          <p14:tracePt t="69419" x="7931150" y="1889125"/>
          <p14:tracePt t="69420" x="7931150" y="1881188"/>
          <p14:tracePt t="69421" x="7927975" y="1873250"/>
          <p14:tracePt t="69422" x="7927975" y="1870075"/>
          <p14:tracePt t="69423" x="7927975" y="1862138"/>
          <p14:tracePt t="69424" x="7920038" y="1854200"/>
          <p14:tracePt t="69425" x="7920038" y="1846263"/>
          <p14:tracePt t="69426" x="7920038" y="1841500"/>
          <p14:tracePt t="69427" x="7915275" y="1833563"/>
          <p14:tracePt t="69428" x="7915275" y="1825625"/>
          <p14:tracePt t="69429" x="7915275" y="1820863"/>
          <p14:tracePt t="69431" x="7915275" y="1809750"/>
          <p14:tracePt t="69433" x="7912100" y="1789113"/>
          <p14:tracePt t="69435" x="7899400" y="1770063"/>
          <p14:tracePt t="69436" x="7899400" y="1762125"/>
          <p14:tracePt t="69437" x="7899400" y="1757363"/>
          <p14:tracePt t="69438" x="7896225" y="1749425"/>
          <p14:tracePt t="69439" x="7896225" y="1741488"/>
          <p14:tracePt t="69440" x="7891463" y="1733550"/>
          <p14:tracePt t="69441" x="7891463" y="1725613"/>
          <p14:tracePt t="69442" x="7888288" y="1720850"/>
          <p14:tracePt t="69443" x="7888288" y="1712913"/>
          <p14:tracePt t="69444" x="7888288" y="1704975"/>
          <p14:tracePt t="69445" x="7888288" y="1701800"/>
          <p14:tracePt t="69446" x="7888288" y="1693863"/>
          <p14:tracePt t="69447" x="7888288" y="1685925"/>
          <p14:tracePt t="69449" x="7883525" y="1673225"/>
          <p14:tracePt t="69450" x="7880350" y="1665288"/>
          <p14:tracePt t="69451" x="7880350" y="1662113"/>
          <p14:tracePt t="69452" x="7880350" y="1657350"/>
          <p14:tracePt t="69453" x="7875588" y="1649413"/>
          <p14:tracePt t="69455" x="7872413" y="1644650"/>
          <p14:tracePt t="69456" x="7872413" y="1636713"/>
          <p14:tracePt t="69457" x="7872413" y="1633538"/>
          <p14:tracePt t="69458" x="7867650" y="1628775"/>
          <p14:tracePt t="69459" x="7867650" y="1625600"/>
          <p14:tracePt t="69460" x="7867650" y="1620838"/>
          <p14:tracePt t="69461" x="7867650" y="1617663"/>
          <p14:tracePt t="69462" x="7867650" y="1612900"/>
          <p14:tracePt t="69464" x="7864475" y="1609725"/>
          <p14:tracePt t="69465" x="7864475" y="1604963"/>
          <p14:tracePt t="69466" x="7859713" y="1604963"/>
          <p14:tracePt t="69469" x="7859713" y="1601788"/>
          <p14:tracePt t="69471" x="7854950" y="1597025"/>
          <p14:tracePt t="69504" x="7854950" y="1601788"/>
          <p14:tracePt t="69508" x="7854950" y="1604963"/>
          <p14:tracePt t="69510" x="7854950" y="1609725"/>
          <p14:tracePt t="69511" x="7854950" y="1617663"/>
          <p14:tracePt t="69512" x="7854950" y="1620838"/>
          <p14:tracePt t="69514" x="7854950" y="1633538"/>
          <p14:tracePt t="69515" x="7854950" y="1636713"/>
          <p14:tracePt t="69516" x="7851775" y="1644650"/>
          <p14:tracePt t="69517" x="7851775" y="1654175"/>
          <p14:tracePt t="69518" x="7851775" y="1662113"/>
          <p14:tracePt t="69519" x="7851775" y="1670050"/>
          <p14:tracePt t="69520" x="7851775" y="1677988"/>
          <p14:tracePt t="69521" x="7851775" y="1685925"/>
          <p14:tracePt t="69522" x="7851775" y="1693863"/>
          <p14:tracePt t="69523" x="7851775" y="1709738"/>
          <p14:tracePt t="69524" x="7847013" y="1717675"/>
          <p14:tracePt t="69526" x="7847013" y="1733550"/>
          <p14:tracePt t="69527" x="7847013" y="1746250"/>
          <p14:tracePt t="69528" x="7847013" y="1754188"/>
          <p14:tracePt t="69529" x="7847013" y="1762125"/>
          <p14:tracePt t="69530" x="7847013" y="1770063"/>
          <p14:tracePt t="69531" x="7847013" y="1785938"/>
          <p14:tracePt t="69532" x="7847013" y="1797050"/>
          <p14:tracePt t="69533" x="7847013" y="1804988"/>
          <p14:tracePt t="69534" x="7843838" y="1812925"/>
          <p14:tracePt t="69535" x="7843838" y="1825625"/>
          <p14:tracePt t="69536" x="7843838" y="1838325"/>
          <p14:tracePt t="69537" x="7843838" y="1846263"/>
          <p14:tracePt t="69538" x="7843838" y="1857375"/>
          <p14:tracePt t="69539" x="7843838" y="1865313"/>
          <p14:tracePt t="69540" x="7843838" y="1878013"/>
          <p14:tracePt t="69541" x="7843838" y="1885950"/>
          <p14:tracePt t="69542" x="7843838" y="1897063"/>
          <p14:tracePt t="69543" x="7843838" y="1905000"/>
          <p14:tracePt t="69544" x="7843838" y="1912938"/>
          <p14:tracePt t="69545" x="7839075" y="1922463"/>
          <p14:tracePt t="69546" x="7839075" y="1938338"/>
          <p14:tracePt t="69547" x="7839075" y="1946275"/>
          <p14:tracePt t="69548" x="7835900" y="1954213"/>
          <p14:tracePt t="69549" x="7835900" y="1962150"/>
          <p14:tracePt t="69550" x="7835900" y="1970088"/>
          <p14:tracePt t="69551" x="7835900" y="1978025"/>
          <p14:tracePt t="69552" x="7835900" y="1985963"/>
          <p14:tracePt t="69553" x="7835900" y="1993900"/>
          <p14:tracePt t="69554" x="7835900" y="2001838"/>
          <p14:tracePt t="69555" x="7835900" y="2005013"/>
          <p14:tracePt t="69556" x="7835900" y="2014538"/>
          <p14:tracePt t="69557" x="7835900" y="2022475"/>
          <p14:tracePt t="69558" x="7835900" y="2025650"/>
          <p14:tracePt t="69559" x="7835900" y="2030413"/>
          <p14:tracePt t="69560" x="7835900" y="2038350"/>
          <p14:tracePt t="69561" x="7835900" y="2041525"/>
          <p14:tracePt t="69562" x="7835900" y="2049463"/>
          <p14:tracePt t="69563" x="7835900" y="2054225"/>
          <p14:tracePt t="69565" x="7835900" y="2057400"/>
          <p14:tracePt t="69566" x="7835900" y="2062163"/>
          <p14:tracePt t="69568" x="7835900" y="2065338"/>
          <p14:tracePt t="69569" x="7835900" y="2070100"/>
          <p14:tracePt t="69574" x="7831138" y="2070100"/>
          <p14:tracePt t="69579" x="7831138" y="2073275"/>
          <p14:tracePt t="69607" x="7831138" y="2070100"/>
          <p14:tracePt t="69608" x="7831138" y="2065338"/>
          <p14:tracePt t="69610" x="7831138" y="2062163"/>
          <p14:tracePt t="69612" x="7831138" y="2057400"/>
          <p14:tracePt t="69614" x="7831138" y="2054225"/>
          <p14:tracePt t="69615" x="7831138" y="2049463"/>
          <p14:tracePt t="69616" x="7831138" y="2046288"/>
          <p14:tracePt t="69617" x="7831138" y="2041525"/>
          <p14:tracePt t="69618" x="7831138" y="2038350"/>
          <p14:tracePt t="69620" x="7831138" y="2025650"/>
          <p14:tracePt t="69621" x="7827963" y="2022475"/>
          <p14:tracePt t="69622" x="7827963" y="2009775"/>
          <p14:tracePt t="69623" x="7827963" y="2005013"/>
          <p14:tracePt t="69624" x="7827963" y="2001838"/>
          <p14:tracePt t="69625" x="7823200" y="1993900"/>
          <p14:tracePt t="69626" x="7823200" y="1989138"/>
          <p14:tracePt t="69627" x="7823200" y="1985963"/>
          <p14:tracePt t="69629" x="7823200" y="1973263"/>
          <p14:tracePt t="69630" x="7820025" y="1965325"/>
          <p14:tracePt t="69631" x="7820025" y="1962150"/>
          <p14:tracePt t="69632" x="7820025" y="1954213"/>
          <p14:tracePt t="69634" x="7815263" y="1941513"/>
          <p14:tracePt t="69636" x="7815263" y="1925638"/>
          <p14:tracePt t="69638" x="7812088" y="1912938"/>
          <p14:tracePt t="69639" x="7812088" y="1905000"/>
          <p14:tracePt t="69641" x="7807325" y="1897063"/>
          <p14:tracePt t="69643" x="7807325" y="1878013"/>
          <p14:tracePt t="69644" x="7804150" y="1870075"/>
          <p14:tracePt t="69645" x="7804150" y="1862138"/>
          <p14:tracePt t="69646" x="7804150" y="1857375"/>
          <p14:tracePt t="69647" x="7804150" y="1849438"/>
          <p14:tracePt t="69649" x="7799388" y="1841500"/>
          <p14:tracePt t="69649" x="7799388" y="1833563"/>
          <p14:tracePt t="69650" x="7799388" y="1830388"/>
          <p14:tracePt t="69651" x="7799388" y="1820863"/>
          <p14:tracePt t="69652" x="7799388" y="1812925"/>
          <p14:tracePt t="69653" x="7796213" y="1801813"/>
          <p14:tracePt t="69654" x="7796213" y="1793875"/>
          <p14:tracePt t="69655" x="7796213" y="1785938"/>
          <p14:tracePt t="69656" x="7796213" y="1781175"/>
          <p14:tracePt t="69657" x="7796213" y="1773238"/>
          <p14:tracePt t="69658" x="7788275" y="1765300"/>
          <p14:tracePt t="69659" x="7788275" y="1762125"/>
          <p14:tracePt t="69660" x="7788275" y="1754188"/>
          <p14:tracePt t="69662" x="7788275" y="1746250"/>
          <p14:tracePt t="69664" x="7788275" y="1733550"/>
          <p14:tracePt t="69665" x="7788275" y="1728788"/>
          <p14:tracePt t="69666" x="7788275" y="1725613"/>
          <p14:tracePt t="69667" x="7788275" y="1720850"/>
          <p14:tracePt t="69668" x="7788275" y="1712913"/>
          <p14:tracePt t="69670" x="7788275" y="1709738"/>
          <p14:tracePt t="69671" x="7788275" y="1704975"/>
          <p14:tracePt t="69672" x="7788275" y="1701800"/>
          <p14:tracePt t="69673" x="7788275" y="1697038"/>
          <p14:tracePt t="69674" x="7788275" y="1693863"/>
          <p14:tracePt t="69677" x="7788275" y="1689100"/>
          <p14:tracePt t="69680" x="7788275" y="1685925"/>
          <p14:tracePt t="69710" x="7788275" y="1689100"/>
          <p14:tracePt t="69715" x="7788275" y="1693863"/>
          <p14:tracePt t="69716" x="7788275" y="1697038"/>
          <p14:tracePt t="69717" x="7788275" y="1701800"/>
          <p14:tracePt t="69718" x="7788275" y="1704975"/>
          <p14:tracePt t="69719" x="7788275" y="1712913"/>
          <p14:tracePt t="69720" x="7788275" y="1717675"/>
          <p14:tracePt t="69721" x="7788275" y="1725613"/>
          <p14:tracePt t="69722" x="7788275" y="1728788"/>
          <p14:tracePt t="69723" x="7788275" y="1738313"/>
          <p14:tracePt t="69724" x="7788275" y="1746250"/>
          <p14:tracePt t="69725" x="7788275" y="1754188"/>
          <p14:tracePt t="69726" x="7788275" y="1757363"/>
          <p14:tracePt t="69727" x="7788275" y="1765300"/>
          <p14:tracePt t="69728" x="7788275" y="1773238"/>
          <p14:tracePt t="69729" x="7788275" y="1781175"/>
          <p14:tracePt t="69730" x="7788275" y="1789113"/>
          <p14:tracePt t="69731" x="7788275" y="1797050"/>
          <p14:tracePt t="69732" x="7788275" y="1804988"/>
          <p14:tracePt t="69733" x="7788275" y="1812925"/>
          <p14:tracePt t="69734" x="7788275" y="1825625"/>
          <p14:tracePt t="69735" x="7788275" y="1833563"/>
          <p14:tracePt t="69736" x="7788275" y="1841500"/>
          <p14:tracePt t="69737" x="7788275" y="1849438"/>
          <p14:tracePt t="69738" x="7788275" y="1862138"/>
          <p14:tracePt t="69739" x="7788275" y="1870075"/>
          <p14:tracePt t="69740" x="7788275" y="1878013"/>
          <p14:tracePt t="69741" x="7788275" y="1885950"/>
          <p14:tracePt t="69742" x="7788275" y="1893888"/>
          <p14:tracePt t="69743" x="7788275" y="1901825"/>
          <p14:tracePt t="69744" x="7788275" y="1912938"/>
          <p14:tracePt t="69745" x="7788275" y="1922463"/>
          <p14:tracePt t="69746" x="7788275" y="1930400"/>
          <p14:tracePt t="69747" x="7788275" y="1938338"/>
          <p14:tracePt t="69748" x="7788275" y="1949450"/>
          <p14:tracePt t="69749" x="7788275" y="1962150"/>
          <p14:tracePt t="69750" x="7788275" y="1965325"/>
          <p14:tracePt t="69751" x="7788275" y="1973263"/>
          <p14:tracePt t="69752" x="7788275" y="1981200"/>
          <p14:tracePt t="69753" x="7788275" y="1989138"/>
          <p14:tracePt t="69754" x="7788275" y="2001838"/>
          <p14:tracePt t="69755" x="7788275" y="2005013"/>
          <p14:tracePt t="69756" x="7788275" y="2014538"/>
          <p14:tracePt t="69757" x="7788275" y="2022475"/>
          <p14:tracePt t="69758" x="7788275" y="2025650"/>
          <p14:tracePt t="69760" x="7788275" y="2041525"/>
          <p14:tracePt t="69761" x="7788275" y="2046288"/>
          <p14:tracePt t="69762" x="7788275" y="2054225"/>
          <p14:tracePt t="69763" x="7788275" y="2057400"/>
          <p14:tracePt t="69764" x="7788275" y="2065338"/>
          <p14:tracePt t="69765" x="7788275" y="2070100"/>
          <p14:tracePt t="69766" x="7788275" y="2073275"/>
          <p14:tracePt t="69767" x="7788275" y="2078038"/>
          <p14:tracePt t="69769" x="7788275" y="2085975"/>
          <p14:tracePt t="69771" x="7788275" y="2089150"/>
          <p14:tracePt t="69772" x="7788275" y="2093913"/>
          <p14:tracePt t="69774" x="7788275" y="2097088"/>
          <p14:tracePt t="69777" x="7788275" y="2101850"/>
          <p14:tracePt t="69811" x="7788275" y="2097088"/>
          <p14:tracePt t="69815" x="7788275" y="2093913"/>
          <p14:tracePt t="69818" x="7788275" y="2089150"/>
          <p14:tracePt t="69820" x="7788275" y="2085975"/>
          <p14:tracePt t="69822" x="7788275" y="2081213"/>
          <p14:tracePt t="69823" x="7788275" y="2078038"/>
          <p14:tracePt t="69824" x="7788275" y="2073275"/>
          <p14:tracePt t="69825" x="7788275" y="2070100"/>
          <p14:tracePt t="69826" x="7788275" y="2065338"/>
          <p14:tracePt t="69827" x="7788275" y="2062163"/>
          <p14:tracePt t="69828" x="7788275" y="2057400"/>
          <p14:tracePt t="69829" x="7788275" y="2054225"/>
          <p14:tracePt t="69831" x="7788275" y="2049463"/>
          <p14:tracePt t="69831" x="7788275" y="2046288"/>
          <p14:tracePt t="69833" x="7788275" y="2041525"/>
          <p14:tracePt t="69834" x="7788275" y="2033588"/>
          <p14:tracePt t="69835" x="7788275" y="2030413"/>
          <p14:tracePt t="69836" x="7788275" y="2025650"/>
          <p14:tracePt t="69837" x="7788275" y="2022475"/>
          <p14:tracePt t="69838" x="7788275" y="2014538"/>
          <p14:tracePt t="69839" x="7788275" y="2009775"/>
          <p14:tracePt t="69840" x="7783513" y="2005013"/>
          <p14:tracePt t="69841" x="7783513" y="2001838"/>
          <p14:tracePt t="69842" x="7783513" y="1997075"/>
          <p14:tracePt t="69843" x="7783513" y="1989138"/>
          <p14:tracePt t="69845" x="7783513" y="1985963"/>
          <p14:tracePt t="69846" x="7783513" y="1981200"/>
          <p14:tracePt t="69847" x="7783513" y="1978025"/>
          <p14:tracePt t="69848" x="7783513" y="1973263"/>
          <p14:tracePt t="69849" x="7783513" y="1970088"/>
          <p14:tracePt t="69850" x="7783513" y="1965325"/>
          <p14:tracePt t="69851" x="7783513" y="1962150"/>
          <p14:tracePt t="69852" x="7783513" y="1957388"/>
          <p14:tracePt t="69853" x="7783513" y="1954213"/>
          <p14:tracePt t="69854" x="7783513" y="1949450"/>
          <p14:tracePt t="69855" x="7783513" y="1941513"/>
          <p14:tracePt t="69857" x="7783513" y="1938338"/>
          <p14:tracePt t="69858" x="7783513" y="1933575"/>
          <p14:tracePt t="69860" x="7783513" y="1925638"/>
          <p14:tracePt t="69861" x="7783513" y="1922463"/>
          <p14:tracePt t="69864" x="7780338" y="1912938"/>
          <p14:tracePt t="69865" x="7780338" y="1909763"/>
          <p14:tracePt t="69866" x="7780338" y="1905000"/>
          <p14:tracePt t="69868" x="7780338" y="1901825"/>
          <p14:tracePt t="69870" x="7780338" y="1897063"/>
          <p14:tracePt t="69907" x="7780338" y="1901825"/>
          <p14:tracePt t="69909" x="7780338" y="1905000"/>
          <p14:tracePt t="69910" x="7780338" y="1909763"/>
          <p14:tracePt t="69911" x="7780338" y="1912938"/>
          <p14:tracePt t="69912" x="7780338" y="1917700"/>
          <p14:tracePt t="69913" x="7780338" y="1922463"/>
          <p14:tracePt t="69914" x="7780338" y="1930400"/>
          <p14:tracePt t="69915" x="7780338" y="1933575"/>
          <p14:tracePt t="69916" x="7780338" y="1941513"/>
          <p14:tracePt t="69917" x="7780338" y="1946275"/>
          <p14:tracePt t="69918" x="7780338" y="1949450"/>
          <p14:tracePt t="69919" x="7780338" y="1954213"/>
          <p14:tracePt t="69920" x="7780338" y="1962150"/>
          <p14:tracePt t="69921" x="7780338" y="1970088"/>
          <p14:tracePt t="69922" x="7783513" y="1981200"/>
          <p14:tracePt t="69924" x="7783513" y="1989138"/>
          <p14:tracePt t="69925" x="7783513" y="1997075"/>
          <p14:tracePt t="69926" x="7783513" y="2005013"/>
          <p14:tracePt t="69927" x="7783513" y="2017713"/>
          <p14:tracePt t="69928" x="7788275" y="2017713"/>
          <p14:tracePt t="69929" x="7788275" y="2025650"/>
          <p14:tracePt t="69930" x="7788275" y="2030413"/>
          <p14:tracePt t="69932" x="7788275" y="2046288"/>
          <p14:tracePt t="69933" x="7788275" y="2054225"/>
          <p14:tracePt t="69934" x="7791450" y="2062163"/>
          <p14:tracePt t="69935" x="7791450" y="2065338"/>
          <p14:tracePt t="69936" x="7791450" y="2073275"/>
          <p14:tracePt t="69937" x="7791450" y="2081213"/>
          <p14:tracePt t="69938" x="7791450" y="2089150"/>
          <p14:tracePt t="69939" x="7791450" y="2093913"/>
          <p14:tracePt t="69940" x="7796213" y="2101850"/>
          <p14:tracePt t="69941" x="7796213" y="2109788"/>
          <p14:tracePt t="69942" x="7796213" y="2117725"/>
          <p14:tracePt t="69943" x="7796213" y="2122488"/>
          <p14:tracePt t="69944" x="7799388" y="2130425"/>
          <p14:tracePt t="69945" x="7799388" y="2133600"/>
          <p14:tracePt t="69946" x="7799388" y="2141538"/>
          <p14:tracePt t="69947" x="7799388" y="2149475"/>
          <p14:tracePt t="69949" x="7804150" y="2162175"/>
          <p14:tracePt t="69950" x="7804150" y="2165350"/>
          <p14:tracePt t="69951" x="7804150" y="2173288"/>
          <p14:tracePt t="69952" x="7804150" y="2181225"/>
          <p14:tracePt t="69953" x="7804150" y="2185988"/>
          <p14:tracePt t="69954" x="7804150" y="2189163"/>
          <p14:tracePt t="69955" x="7804150" y="2193925"/>
          <p14:tracePt t="69956" x="7804150" y="2201863"/>
          <p14:tracePt t="69957" x="7804150" y="2206625"/>
          <p14:tracePt t="69959" x="7804150" y="2209800"/>
          <p14:tracePt t="69960" x="7804150" y="2214563"/>
          <p14:tracePt t="69961" x="7807325" y="2217738"/>
          <p14:tracePt t="69962" x="7807325" y="2222500"/>
          <p14:tracePt t="69964" x="7807325" y="2230438"/>
          <p14:tracePt t="69966" x="7807325" y="2233613"/>
          <p14:tracePt t="69968" x="7807325" y="2238375"/>
          <p14:tracePt t="69972" x="7807325" y="2241550"/>
          <p14:tracePt t="69991" x="7812088" y="2241550"/>
          <p14:tracePt t="70010" x="7812088" y="2238375"/>
          <p14:tracePt t="70015" x="7812088" y="2233613"/>
          <p14:tracePt t="70017" x="7812088" y="2230438"/>
          <p14:tracePt t="70019" x="7812088" y="2225675"/>
          <p14:tracePt t="70021" x="7812088" y="2222500"/>
          <p14:tracePt t="70022" x="7812088" y="2217738"/>
          <p14:tracePt t="70023" x="7812088" y="2214563"/>
          <p14:tracePt t="70024" x="7812088" y="2209800"/>
          <p14:tracePt t="70026" x="7812088" y="2206625"/>
          <p14:tracePt t="70027" x="7812088" y="2201863"/>
          <p14:tracePt t="70028" x="7812088" y="2198688"/>
          <p14:tracePt t="70029" x="7812088" y="2193925"/>
          <p14:tracePt t="70030" x="7812088" y="2189163"/>
          <p14:tracePt t="70031" x="7812088" y="2185988"/>
          <p14:tracePt t="70032" x="7812088" y="2178050"/>
          <p14:tracePt t="70033" x="7812088" y="2173288"/>
          <p14:tracePt t="70034" x="7812088" y="2170113"/>
          <p14:tracePt t="70035" x="7812088" y="2165350"/>
          <p14:tracePt t="70036" x="7812088" y="2162175"/>
          <p14:tracePt t="70038" x="7812088" y="2157413"/>
          <p14:tracePt t="70039" x="7812088" y="2149475"/>
          <p14:tracePt t="70040" x="7812088" y="2146300"/>
          <p14:tracePt t="70041" x="7812088" y="2141538"/>
          <p14:tracePt t="70042" x="7812088" y="2138363"/>
          <p14:tracePt t="70043" x="7812088" y="2133600"/>
          <p14:tracePt t="70044" x="7812088" y="2125663"/>
          <p14:tracePt t="70045" x="7812088" y="2122488"/>
          <p14:tracePt t="70046" x="7812088" y="2117725"/>
          <p14:tracePt t="70047" x="7812088" y="2114550"/>
          <p14:tracePt t="70048" x="7812088" y="2109788"/>
          <p14:tracePt t="70050" x="7812088" y="2106613"/>
          <p14:tracePt t="70051" x="7812088" y="2097088"/>
          <p14:tracePt t="70052" x="7812088" y="2093913"/>
          <p14:tracePt t="70053" x="7812088" y="2089150"/>
          <p14:tracePt t="70054" x="7815263" y="2085975"/>
          <p14:tracePt t="70055" x="7815263" y="2081213"/>
          <p14:tracePt t="70056" x="7815263" y="2078038"/>
          <p14:tracePt t="70057" x="7815263" y="2070100"/>
          <p14:tracePt t="70058" x="7815263" y="2065338"/>
          <p14:tracePt t="70059" x="7815263" y="2062163"/>
          <p14:tracePt t="70061" x="7820025" y="2062163"/>
          <p14:tracePt t="70062" x="7820025" y="2054225"/>
          <p14:tracePt t="70064" x="7820025" y="2046288"/>
          <p14:tracePt t="70066" x="7820025" y="2041525"/>
          <p14:tracePt t="70067" x="7820025" y="2038350"/>
          <p14:tracePt t="70069" x="7820025" y="2033588"/>
          <p14:tracePt t="70070" x="7820025" y="2030413"/>
          <p14:tracePt t="70072" x="7820025" y="2025650"/>
          <p14:tracePt t="70073" x="7820025" y="2022475"/>
          <p14:tracePt t="70076" x="7820025" y="2017713"/>
          <p14:tracePt t="70084" x="7820025" y="2014538"/>
          <p14:tracePt t="70093" x="7823200" y="2014538"/>
          <p14:tracePt t="70121" x="7823200" y="2017713"/>
          <p14:tracePt t="70126" x="7823200" y="2022475"/>
          <p14:tracePt t="70128" x="7827963" y="2025650"/>
          <p14:tracePt t="70131" x="7827963" y="2030413"/>
          <p14:tracePt t="70133" x="7827963" y="2033588"/>
          <p14:tracePt t="70135" x="7831138" y="2033588"/>
          <p14:tracePt t="70136" x="7831138" y="2038350"/>
          <p14:tracePt t="70138" x="7831138" y="2041525"/>
          <p14:tracePt t="70139" x="7835900" y="2046288"/>
          <p14:tracePt t="70141" x="7835900" y="2049463"/>
          <p14:tracePt t="70143" x="7835900" y="2054225"/>
          <p14:tracePt t="70145" x="7839075" y="2054225"/>
          <p14:tracePt t="70147" x="7839075" y="2057400"/>
          <p14:tracePt t="70149" x="7843838" y="2062163"/>
          <p14:tracePt t="70150" x="7843838" y="2065338"/>
          <p14:tracePt t="70153" x="7843838" y="2070100"/>
          <p14:tracePt t="70158" x="7847013" y="2073275"/>
          <p14:tracePt t="70209" x="7847013" y="2070100"/>
          <p14:tracePt t="70212" x="7851775" y="2070100"/>
          <p14:tracePt t="70214" x="7851775" y="2065338"/>
          <p14:tracePt t="70215" x="7851775" y="2062163"/>
          <p14:tracePt t="70218" x="7851775" y="2057400"/>
          <p14:tracePt t="70219" x="7854950" y="2057400"/>
          <p14:tracePt t="70222" x="7859713" y="2057400"/>
          <p14:tracePt t="70223" x="7859713" y="2054225"/>
          <p14:tracePt t="70226" x="7859713" y="2049463"/>
          <p14:tracePt t="70228" x="7859713" y="2046288"/>
          <p14:tracePt t="70230" x="7864475" y="2046288"/>
          <p14:tracePt t="70232" x="7864475" y="2041525"/>
          <p14:tracePt t="70236" x="7867650" y="2041525"/>
          <p14:tracePt t="70238" x="7867650" y="2038350"/>
          <p14:tracePt t="70239" x="7872413" y="2038350"/>
          <p14:tracePt t="70241" x="7872413" y="2033588"/>
          <p14:tracePt t="70243" x="7875588" y="2033588"/>
          <p14:tracePt t="70245" x="7875588" y="2030413"/>
          <p14:tracePt t="70246" x="7880350" y="2030413"/>
          <p14:tracePt t="70247" x="7880350" y="2025650"/>
          <p14:tracePt t="70250" x="7883525" y="2025650"/>
          <p14:tracePt t="70253" x="7888288" y="2022475"/>
          <p14:tracePt t="70256" x="7891463" y="2022475"/>
          <p14:tracePt t="70259" x="7896225" y="2022475"/>
          <p14:tracePt t="70261" x="7899400" y="2022475"/>
          <p14:tracePt t="70263" x="7904163" y="2022475"/>
          <p14:tracePt t="70267" x="7907338" y="2022475"/>
          <p14:tracePt t="70269" x="7912100" y="2017713"/>
          <p14:tracePt t="70271" x="7915275" y="2017713"/>
          <p14:tracePt t="70273" x="7920038" y="2017713"/>
          <p14:tracePt t="70275" x="7923213" y="2017713"/>
          <p14:tracePt t="70277" x="7927975" y="2017713"/>
          <p14:tracePt t="70278" x="7931150" y="2017713"/>
          <p14:tracePt t="70280" x="7935913" y="2017713"/>
          <p14:tracePt t="70282" x="7939088" y="2017713"/>
          <p14:tracePt t="70283" x="7943850" y="2017713"/>
          <p14:tracePt t="70286" x="7948613" y="2017713"/>
          <p14:tracePt t="70287" x="7951788" y="2017713"/>
          <p14:tracePt t="70288" x="7956550" y="2017713"/>
          <p14:tracePt t="70289" x="7959725" y="2017713"/>
          <p14:tracePt t="70290" x="7964488" y="2017713"/>
          <p14:tracePt t="70291" x="7967663" y="2017713"/>
          <p14:tracePt t="70292" x="7972425" y="2017713"/>
          <p14:tracePt t="70293" x="7975600" y="2017713"/>
          <p14:tracePt t="70294" x="7983538" y="2017713"/>
          <p14:tracePt t="70295" x="7988300" y="2022475"/>
          <p14:tracePt t="70296" x="7996238" y="2022475"/>
          <p14:tracePt t="70297" x="8004175" y="2025650"/>
          <p14:tracePt t="70298" x="8007350" y="2025650"/>
          <p14:tracePt t="70299" x="8015288" y="2030413"/>
          <p14:tracePt t="70300" x="8023225" y="2030413"/>
          <p14:tracePt t="70301" x="8031163" y="2033588"/>
          <p14:tracePt t="70302" x="8040688" y="2041525"/>
          <p14:tracePt t="70303" x="8048625" y="2041525"/>
          <p14:tracePt t="70304" x="8056563" y="2046288"/>
          <p14:tracePt t="70305" x="8072438" y="2054225"/>
          <p14:tracePt t="70306" x="8080375" y="2057400"/>
          <p14:tracePt t="70307" x="8088313" y="2062163"/>
          <p14:tracePt t="70308" x="8096250" y="2065338"/>
          <p14:tracePt t="70309" x="8112125" y="2070100"/>
          <p14:tracePt t="70310" x="8123238" y="2078038"/>
          <p14:tracePt t="70311" x="8135938" y="2081213"/>
          <p14:tracePt t="70312" x="8148638" y="2085975"/>
          <p14:tracePt t="70313" x="8156575" y="2089150"/>
          <p14:tracePt t="70314" x="8167688" y="2093913"/>
          <p14:tracePt t="70315" x="8188325" y="2106613"/>
          <p14:tracePt t="70316" x="8196263" y="2109788"/>
          <p14:tracePt t="70317" x="8207375" y="2114550"/>
          <p14:tracePt t="70318" x="8215313" y="2117725"/>
          <p14:tracePt t="70319" x="8232775" y="2125663"/>
          <p14:tracePt t="70320" x="8248650" y="2133600"/>
          <p14:tracePt t="70321" x="8256588" y="2141538"/>
          <p14:tracePt t="70322" x="8267700" y="2146300"/>
          <p14:tracePt t="70323" x="8280400" y="2149475"/>
          <p14:tracePt t="70324" x="8291513" y="2157413"/>
          <p14:tracePt t="70325" x="8307388" y="2165350"/>
          <p14:tracePt t="70326" x="8320088" y="2173288"/>
          <p14:tracePt t="70327" x="8328025" y="2178050"/>
          <p14:tracePt t="70328" x="8343900" y="2189163"/>
          <p14:tracePt t="70329" x="8351838" y="2193925"/>
          <p14:tracePt t="70330" x="8372475" y="2201863"/>
          <p14:tracePt t="70331" x="8383588" y="2206625"/>
          <p14:tracePt t="70332" x="8396288" y="2209800"/>
          <p14:tracePt t="70334" x="8412163" y="2222500"/>
          <p14:tracePt t="70336" x="8435975" y="2233613"/>
          <p14:tracePt t="70337" x="8443913" y="2238375"/>
          <p14:tracePt t="70338" x="8456613" y="2246313"/>
          <p14:tracePt t="70339" x="8464550" y="2254250"/>
          <p14:tracePt t="70340" x="8472488" y="2262188"/>
          <p14:tracePt t="70341" x="8480425" y="2270125"/>
          <p14:tracePt t="70342" x="8493125" y="2273300"/>
          <p14:tracePt t="70343" x="8501063" y="2278063"/>
          <p14:tracePt t="70344" x="8509000" y="2290763"/>
          <p14:tracePt t="70345" x="8512175" y="2290763"/>
          <p14:tracePt t="70346" x="8524875" y="2301875"/>
          <p14:tracePt t="70347" x="8532813" y="2306638"/>
          <p14:tracePt t="70348" x="8535988" y="2314575"/>
          <p14:tracePt t="70350" x="8556625" y="2325688"/>
          <p14:tracePt t="70352" x="8572500" y="2341563"/>
          <p14:tracePt t="70354" x="8593138" y="2354263"/>
          <p14:tracePt t="70355" x="8596313" y="2362200"/>
          <p14:tracePt t="70356" x="8609013" y="2373313"/>
          <p14:tracePt t="70357" x="8616950" y="2382838"/>
          <p14:tracePt t="70358" x="8624888" y="2390775"/>
          <p14:tracePt t="70359" x="8632825" y="2398713"/>
          <p14:tracePt t="70360" x="8640763" y="2409825"/>
          <p14:tracePt t="70361" x="8643938" y="2417763"/>
          <p14:tracePt t="70362" x="8656638" y="2425700"/>
          <p14:tracePt t="70363" x="8659813" y="2433638"/>
          <p14:tracePt t="70364" x="8664575" y="2438400"/>
          <p14:tracePt t="70365" x="8672513" y="2446338"/>
          <p14:tracePt t="70367" x="8685213" y="2465388"/>
          <p14:tracePt t="70370" x="8693150" y="2490788"/>
          <p14:tracePt t="70371" x="8704263" y="2506663"/>
          <p14:tracePt t="70372" x="8704263" y="2514600"/>
          <p14:tracePt t="70373" x="8709025" y="2522538"/>
          <p14:tracePt t="70374" x="8712200" y="2525713"/>
          <p14:tracePt t="70375" x="8716963" y="2533650"/>
          <p14:tracePt t="70376" x="8720138" y="2546350"/>
          <p14:tracePt t="70377" x="8720138" y="2557463"/>
          <p14:tracePt t="70378" x="8724900" y="2566988"/>
          <p14:tracePt t="70379" x="8724900" y="2574925"/>
          <p14:tracePt t="70380" x="8728075" y="2582863"/>
          <p14:tracePt t="70381" x="8732838" y="2593975"/>
          <p14:tracePt t="70383" x="8736013" y="2614613"/>
          <p14:tracePt t="70385" x="8743950" y="2633663"/>
          <p14:tracePt t="70386" x="8743950" y="2649538"/>
          <p14:tracePt t="70387" x="8743950" y="2659063"/>
          <p14:tracePt t="70388" x="8748713" y="2667000"/>
          <p14:tracePt t="70389" x="8748713" y="2678113"/>
          <p14:tracePt t="70390" x="8748713" y="2686050"/>
          <p14:tracePt t="70391" x="8751888" y="2701925"/>
          <p14:tracePt t="70392" x="8751888" y="2709863"/>
          <p14:tracePt t="70393" x="8751888" y="2722563"/>
          <p14:tracePt t="70394" x="8756650" y="2733675"/>
          <p14:tracePt t="70395" x="8756650" y="2746375"/>
          <p14:tracePt t="70396" x="8756650" y="2759075"/>
          <p14:tracePt t="70397" x="8761413" y="2770188"/>
          <p14:tracePt t="70398" x="8761413" y="2782888"/>
          <p14:tracePt t="70400" x="8761413" y="2801938"/>
          <p14:tracePt t="70401" x="8764588" y="2817813"/>
          <p14:tracePt t="70402" x="8764588" y="2830513"/>
          <p14:tracePt t="70403" x="8764588" y="2846388"/>
          <p14:tracePt t="70404" x="8764588" y="2854325"/>
          <p14:tracePt t="70405" x="8764588" y="2867025"/>
          <p14:tracePt t="70406" x="8769350" y="2882900"/>
          <p14:tracePt t="70407" x="8769350" y="2894013"/>
          <p14:tracePt t="70408" x="8769350" y="2901950"/>
          <p14:tracePt t="70409" x="8769350" y="2917825"/>
          <p14:tracePt t="70410" x="8769350" y="2930525"/>
          <p14:tracePt t="70411" x="8769350" y="2943225"/>
          <p14:tracePt t="70412" x="8769350" y="2959100"/>
          <p14:tracePt t="70413" x="8769350" y="2967038"/>
          <p14:tracePt t="70414" x="8769350" y="2978150"/>
          <p14:tracePt t="70416" x="8777288" y="2994025"/>
          <p14:tracePt t="70416" x="8777288" y="3006725"/>
          <p14:tracePt t="70417" x="8777288" y="3022600"/>
          <p14:tracePt t="70418" x="8777288" y="3030538"/>
          <p14:tracePt t="70419" x="8777288" y="3043238"/>
          <p14:tracePt t="70420" x="8777288" y="3051175"/>
          <p14:tracePt t="70421" x="8777288" y="3067050"/>
          <p14:tracePt t="70422" x="8777288" y="3082925"/>
          <p14:tracePt t="70423" x="8777288" y="3090863"/>
          <p14:tracePt t="70424" x="8777288" y="3106738"/>
          <p14:tracePt t="70425" x="8777288" y="3114675"/>
          <p14:tracePt t="70426" x="8772525" y="3135313"/>
          <p14:tracePt t="70427" x="8772525" y="3143250"/>
          <p14:tracePt t="70428" x="8772525" y="3154363"/>
          <p14:tracePt t="70429" x="8769350" y="3167063"/>
          <p14:tracePt t="70430" x="8769350" y="3178175"/>
          <p14:tracePt t="70432" x="8764588" y="3198813"/>
          <p14:tracePt t="70433" x="8764588" y="3214688"/>
          <p14:tracePt t="70434" x="8764588" y="3222625"/>
          <p14:tracePt t="70435" x="8761413" y="3235325"/>
          <p14:tracePt t="70436" x="8756650" y="3251200"/>
          <p14:tracePt t="70437" x="8756650" y="3259138"/>
          <p14:tracePt t="70438" x="8756650" y="3270250"/>
          <p14:tracePt t="70439" x="8751888" y="3282950"/>
          <p14:tracePt t="70440" x="8751888" y="3290888"/>
          <p14:tracePt t="70441" x="8748713" y="3298825"/>
          <p14:tracePt t="70442" x="8740775" y="3311525"/>
          <p14:tracePt t="70443" x="8740775" y="3327400"/>
          <p14:tracePt t="70444" x="8736013" y="3335338"/>
          <p14:tracePt t="70445" x="8732838" y="3343275"/>
          <p14:tracePt t="70446" x="8732838" y="3362325"/>
          <p14:tracePt t="70447" x="8728075" y="3370263"/>
          <p14:tracePt t="70448" x="8724900" y="3378200"/>
          <p14:tracePt t="70449" x="8724900" y="3395663"/>
          <p14:tracePt t="70450" x="8720138" y="3403600"/>
          <p14:tracePt t="70451" x="8716963" y="3411538"/>
          <p14:tracePt t="70452" x="8712200" y="3427413"/>
          <p14:tracePt t="70453" x="8712200" y="3435350"/>
          <p14:tracePt t="70454" x="8704263" y="3446463"/>
          <p14:tracePt t="70455" x="8701088" y="3454400"/>
          <p14:tracePt t="70456" x="8701088" y="3462338"/>
          <p14:tracePt t="70457" x="8696325" y="3479800"/>
          <p14:tracePt t="70458" x="8693150" y="3490913"/>
          <p14:tracePt t="70459" x="8693150" y="3503613"/>
          <p14:tracePt t="70460" x="8688388" y="3511550"/>
          <p14:tracePt t="70461" x="8685213" y="3522663"/>
          <p14:tracePt t="70462" x="8685213" y="3538538"/>
          <p14:tracePt t="70463" x="8680450" y="3546475"/>
          <p14:tracePt t="70464" x="8680450" y="3559175"/>
          <p14:tracePt t="70465" x="8677275" y="3567113"/>
          <p14:tracePt t="70466" x="8667750" y="3582988"/>
          <p14:tracePt t="70467" x="8667750" y="3595688"/>
          <p14:tracePt t="70468" x="8664575" y="3606800"/>
          <p14:tracePt t="70469" x="8664575" y="3614738"/>
          <p14:tracePt t="70470" x="8659813" y="3627438"/>
          <p14:tracePt t="70471" x="8659813" y="3635375"/>
          <p14:tracePt t="70472" x="8656638" y="3651250"/>
          <p14:tracePt t="70473" x="8656638" y="3659188"/>
          <p14:tracePt t="70474" x="8656638" y="3671888"/>
          <p14:tracePt t="70475" x="8651875" y="3679825"/>
          <p14:tracePt t="70476" x="8651875" y="3687763"/>
          <p14:tracePt t="70477" x="8648700" y="3703638"/>
          <p14:tracePt t="70478" x="8648700" y="3711575"/>
          <p14:tracePt t="70479" x="8648700" y="3719513"/>
          <p14:tracePt t="70480" x="8643938" y="3727450"/>
          <p14:tracePt t="70481" x="8643938" y="3735388"/>
          <p14:tracePt t="70483" x="8636000" y="3751263"/>
          <p14:tracePt t="70484" x="8636000" y="3759200"/>
          <p14:tracePt t="70485" x="8636000" y="3763963"/>
          <p14:tracePt t="70486" x="8636000" y="3771900"/>
          <p14:tracePt t="70487" x="8636000" y="3779838"/>
          <p14:tracePt t="70488" x="8636000" y="3787775"/>
          <p14:tracePt t="70489" x="8632825" y="3790950"/>
          <p14:tracePt t="70490" x="8632825" y="3798888"/>
          <p14:tracePt t="70491" x="8632825" y="3803650"/>
          <p14:tracePt t="70492" x="8628063" y="3811588"/>
          <p14:tracePt t="70493" x="8628063" y="3819525"/>
          <p14:tracePt t="70494" x="8628063" y="3822700"/>
          <p14:tracePt t="70495" x="8624888" y="3827463"/>
          <p14:tracePt t="70496" x="8624888" y="3835400"/>
          <p14:tracePt t="70497" x="8624888" y="3838575"/>
          <p14:tracePt t="70498" x="8620125" y="3843338"/>
          <p14:tracePt t="70499" x="8620125" y="3851275"/>
          <p14:tracePt t="70500" x="8620125" y="3856038"/>
          <p14:tracePt t="70501" x="8620125" y="3859213"/>
          <p14:tracePt t="70502" x="8616950" y="3859213"/>
          <p14:tracePt t="70503" x="8616950" y="3863975"/>
          <p14:tracePt t="70504" x="8616950" y="3867150"/>
          <p14:tracePt t="70505" x="8616950" y="3871913"/>
          <p14:tracePt t="70506" x="8612188" y="3875088"/>
          <p14:tracePt t="70507" x="8612188" y="3879850"/>
          <p14:tracePt t="70508" x="8612188" y="3883025"/>
          <p14:tracePt t="70509" x="8612188" y="3887788"/>
          <p14:tracePt t="70510" x="8609013" y="3887788"/>
          <p14:tracePt t="70511" x="8609013" y="3890963"/>
          <p14:tracePt t="70512" x="8609013" y="3895725"/>
          <p14:tracePt t="70514" x="8604250" y="3898900"/>
          <p14:tracePt t="70517" x="8604250" y="3903663"/>
          <p14:tracePt t="70518" x="8601075" y="3903663"/>
          <p14:tracePt t="70520" x="8601075" y="3906838"/>
          <p14:tracePt t="70522" x="8596313" y="3911600"/>
          <p14:tracePt t="70525" x="8593138" y="3914775"/>
          <p14:tracePt t="70527" x="8593138" y="3919538"/>
          <p14:tracePt t="70531" x="8593138" y="3922713"/>
          <p14:tracePt t="70532" x="8588375" y="3922713"/>
          <p14:tracePt t="70534" x="8585200" y="3922713"/>
          <p14:tracePt t="70536" x="8585200" y="3927475"/>
          <p14:tracePt t="70537" x="8580438" y="3927475"/>
          <p14:tracePt t="70540" x="8575675" y="3930650"/>
          <p14:tracePt t="70542" x="8572500" y="3930650"/>
          <p14:tracePt t="70544" x="8572500" y="3935413"/>
          <p14:tracePt t="70545" x="8567738" y="3935413"/>
          <p14:tracePt t="70548" x="8564563" y="3940175"/>
          <p14:tracePt t="70550" x="8559800" y="3940175"/>
          <p14:tracePt t="70552" x="8556625" y="3940175"/>
          <p14:tracePt t="70554" x="8551863" y="3940175"/>
          <p14:tracePt t="70555" x="8551863" y="3943350"/>
          <p14:tracePt t="70558" x="8548688" y="3943350"/>
          <p14:tracePt t="70559" x="8543925" y="3943350"/>
          <p14:tracePt t="70561" x="8540750" y="3943350"/>
          <p14:tracePt t="70563" x="8535988" y="3943350"/>
          <p14:tracePt t="70564" x="8532813" y="3943350"/>
          <p14:tracePt t="70566" x="8524875" y="3943350"/>
          <p14:tracePt t="70568" x="8520113" y="3943350"/>
          <p14:tracePt t="70569" x="8516938" y="3943350"/>
          <p14:tracePt t="70570" x="8512175" y="3943350"/>
          <p14:tracePt t="70572" x="8509000" y="3943350"/>
          <p14:tracePt t="70573" x="8504238" y="3943350"/>
          <p14:tracePt t="70574" x="8501063" y="3943350"/>
          <p14:tracePt t="70575" x="8496300" y="3943350"/>
          <p14:tracePt t="70576" x="8493125" y="3943350"/>
          <p14:tracePt t="70577" x="8488363" y="3943350"/>
          <p14:tracePt t="70578" x="8483600" y="3943350"/>
          <p14:tracePt t="70579" x="8480425" y="3948113"/>
          <p14:tracePt t="70580" x="8475663" y="3948113"/>
          <p14:tracePt t="70582" x="8472488" y="3948113"/>
          <p14:tracePt t="70583" x="8467725" y="3948113"/>
          <p14:tracePt t="70584" x="8464550" y="3948113"/>
          <p14:tracePt t="70585" x="8459788" y="3948113"/>
          <p14:tracePt t="70586" x="8456613" y="3948113"/>
          <p14:tracePt t="70587" x="8451850" y="3948113"/>
          <p14:tracePt t="70589" x="8443913" y="3948113"/>
          <p14:tracePt t="70590" x="8440738" y="3948113"/>
          <p14:tracePt t="70591" x="8435975" y="3948113"/>
          <p14:tracePt t="70592" x="8432800" y="3948113"/>
          <p14:tracePt t="70593" x="8424863" y="3948113"/>
          <p14:tracePt t="70595" x="8420100" y="3948113"/>
          <p14:tracePt t="70596" x="8416925" y="3948113"/>
          <p14:tracePt t="70597" x="8412163" y="3948113"/>
          <p14:tracePt t="70598" x="8408988" y="3948113"/>
          <p14:tracePt t="70599" x="8401050" y="3948113"/>
          <p14:tracePt t="70600" x="8396288" y="3948113"/>
          <p14:tracePt t="70601" x="8391525" y="3948113"/>
          <p14:tracePt t="70602" x="8388350" y="3943350"/>
          <p14:tracePt t="70603" x="8383588" y="3943350"/>
          <p14:tracePt t="70604" x="8375650" y="3940175"/>
          <p14:tracePt t="70605" x="8372475" y="3940175"/>
          <p14:tracePt t="70606" x="8372475" y="3935413"/>
          <p14:tracePt t="70607" x="8367713" y="3935413"/>
          <p14:tracePt t="70608" x="8359775" y="3930650"/>
          <p14:tracePt t="70609" x="8356600" y="3927475"/>
          <p14:tracePt t="70610" x="8351838" y="3922713"/>
          <p14:tracePt t="70611" x="8348663" y="3919538"/>
          <p14:tracePt t="70612" x="8340725" y="3919538"/>
          <p14:tracePt t="70613" x="8335963" y="3914775"/>
          <p14:tracePt t="70614" x="8332788" y="3911600"/>
          <p14:tracePt t="70615" x="8324850" y="3906838"/>
          <p14:tracePt t="70616" x="8320088" y="3903663"/>
          <p14:tracePt t="70617" x="8316913" y="3898900"/>
          <p14:tracePt t="70618" x="8312150" y="3895725"/>
          <p14:tracePt t="70619" x="8304213" y="3895725"/>
          <p14:tracePt t="70620" x="8304213" y="3890963"/>
          <p14:tracePt t="70621" x="8299450" y="3890963"/>
          <p14:tracePt t="70622" x="8296275" y="3887788"/>
          <p14:tracePt t="70623" x="8291513" y="3883025"/>
          <p14:tracePt t="70624" x="8288338" y="3879850"/>
          <p14:tracePt t="70625" x="8283575" y="3875088"/>
          <p14:tracePt t="70626" x="8280400" y="3871913"/>
          <p14:tracePt t="70627" x="8275638" y="3871913"/>
          <p14:tracePt t="70628" x="8272463" y="3863975"/>
          <p14:tracePt t="70629" x="8267700" y="3863975"/>
          <p14:tracePt t="70630" x="8264525" y="3859213"/>
          <p14:tracePt t="70631" x="8259763" y="3856038"/>
          <p14:tracePt t="70632" x="8259763" y="3851275"/>
          <p14:tracePt t="70634" x="8251825" y="3843338"/>
          <p14:tracePt t="70636" x="8248650" y="3838575"/>
          <p14:tracePt t="70637" x="8243888" y="3838575"/>
          <p14:tracePt t="70638" x="8240713" y="3835400"/>
          <p14:tracePt t="70639" x="8235950" y="3830638"/>
          <p14:tracePt t="70640" x="8232775" y="3827463"/>
          <p14:tracePt t="70641" x="8228013" y="3822700"/>
          <p14:tracePt t="70642" x="8224838" y="3819525"/>
          <p14:tracePt t="70643" x="8220075" y="3814763"/>
          <p14:tracePt t="70644" x="8215313" y="3811588"/>
          <p14:tracePt t="70645" x="8212138" y="3803650"/>
          <p14:tracePt t="70646" x="8207375" y="3798888"/>
          <p14:tracePt t="70647" x="8207375" y="3795713"/>
          <p14:tracePt t="70648" x="8204200" y="3790950"/>
          <p14:tracePt t="70649" x="8199438" y="3790950"/>
          <p14:tracePt t="70650" x="8196263" y="3787775"/>
          <p14:tracePt t="70652" x="8188325" y="3775075"/>
          <p14:tracePt t="70653" x="8183563" y="3767138"/>
          <p14:tracePt t="70654" x="8180388" y="3759200"/>
          <p14:tracePt t="70655" x="8172450" y="3746500"/>
          <p14:tracePt t="70656" x="8167688" y="3743325"/>
          <p14:tracePt t="70657" x="8164513" y="3735388"/>
          <p14:tracePt t="70658" x="8159750" y="3727450"/>
          <p14:tracePt t="70659" x="8151813" y="3719513"/>
          <p14:tracePt t="70660" x="8148638" y="3711575"/>
          <p14:tracePt t="70661" x="8143875" y="3703638"/>
          <p14:tracePt t="70662" x="8135938" y="3690938"/>
          <p14:tracePt t="70663" x="8132763" y="3683000"/>
          <p14:tracePt t="70664" x="8128000" y="3671888"/>
          <p14:tracePt t="70665" x="8123238" y="3654425"/>
          <p14:tracePt t="70666" x="8112125" y="3646488"/>
          <p14:tracePt t="70668" x="8107363" y="3638550"/>
          <p14:tracePt t="70669" x="8099425" y="3614738"/>
          <p14:tracePt t="70670" x="8088313" y="3598863"/>
          <p14:tracePt t="70671" x="8083550" y="3590925"/>
          <p14:tracePt t="70672" x="8080375" y="3579813"/>
          <p14:tracePt t="70673" x="8072438" y="3562350"/>
          <p14:tracePt t="70674" x="8067675" y="3543300"/>
          <p14:tracePt t="70675" x="8056563" y="3535363"/>
          <p14:tracePt t="70676" x="8051800" y="3514725"/>
          <p14:tracePt t="70677" x="8048625" y="3506788"/>
          <p14:tracePt t="70678" x="8035925" y="3487738"/>
          <p14:tracePt t="70679" x="8031163" y="3467100"/>
          <p14:tracePt t="70680" x="8023225" y="3451225"/>
          <p14:tracePt t="70681" x="8020050" y="3430588"/>
          <p14:tracePt t="70682" x="8012113" y="3419475"/>
          <p14:tracePt t="70683" x="8004175" y="3398838"/>
          <p14:tracePt t="70685" x="7988300" y="3354388"/>
          <p14:tracePt t="70686" x="7983538" y="3343275"/>
          <p14:tracePt t="70687" x="7980363" y="3322638"/>
          <p14:tracePt t="70688" x="7967663" y="3306763"/>
          <p14:tracePt t="70689" x="7964488" y="3282950"/>
          <p14:tracePt t="70690" x="7951788" y="3262313"/>
          <p14:tracePt t="70691" x="7948613" y="3246438"/>
          <p14:tracePt t="70692" x="7943850" y="3227388"/>
          <p14:tracePt t="70693" x="7939088" y="3214688"/>
          <p14:tracePt t="70694" x="7927975" y="3186113"/>
          <p14:tracePt t="70695" x="7923213" y="3167063"/>
          <p14:tracePt t="70696" x="7912100" y="3151188"/>
          <p14:tracePt t="70697" x="7907338" y="3130550"/>
          <p14:tracePt t="70698" x="7904163" y="3119438"/>
          <p14:tracePt t="70699" x="7899400" y="3090863"/>
          <p14:tracePt t="70702" x="7888288" y="3059113"/>
          <p14:tracePt t="70702" x="7883525" y="3038475"/>
          <p14:tracePt t="70703" x="7880350" y="3022600"/>
          <p14:tracePt t="70704" x="7867650" y="3001963"/>
          <p14:tracePt t="70705" x="7864475" y="2982913"/>
          <p14:tracePt t="70706" x="7864475" y="2970213"/>
          <p14:tracePt t="70707" x="7859713" y="2954338"/>
          <p14:tracePt t="70708" x="7854950" y="2943225"/>
          <p14:tracePt t="70709" x="7851775" y="2927350"/>
          <p14:tracePt t="70710" x="7843838" y="2909888"/>
          <p14:tracePt t="70711" x="7839075" y="2894013"/>
          <p14:tracePt t="70712" x="7839075" y="2886075"/>
          <p14:tracePt t="70714" x="7831138" y="2854325"/>
          <p14:tracePt t="70715" x="7827963" y="2843213"/>
          <p14:tracePt t="70716" x="7827963" y="2830513"/>
          <p14:tracePt t="70717" x="7823200" y="2822575"/>
          <p14:tracePt t="70718" x="7815263" y="2814638"/>
          <p14:tracePt t="70719" x="7815263" y="2798763"/>
          <p14:tracePt t="70720" x="7812088" y="2790825"/>
          <p14:tracePt t="70721" x="7812088" y="2778125"/>
          <p14:tracePt t="70722" x="7812088" y="2770188"/>
          <p14:tracePt t="70723" x="7807325" y="2759075"/>
          <p14:tracePt t="70724" x="7807325" y="2751138"/>
          <p14:tracePt t="70725" x="7804150" y="2741613"/>
          <p14:tracePt t="70726" x="7804150" y="2738438"/>
          <p14:tracePt t="70727" x="7804150" y="2730500"/>
          <p14:tracePt t="70728" x="7804150" y="2725738"/>
          <p14:tracePt t="70729" x="7804150" y="2717800"/>
          <p14:tracePt t="70730" x="7804150" y="2709863"/>
          <p14:tracePt t="70731" x="7799388" y="2706688"/>
          <p14:tracePt t="70733" x="7799388" y="2698750"/>
          <p14:tracePt t="70734" x="7799388" y="2693988"/>
          <p14:tracePt t="70735" x="7799388" y="2690813"/>
          <p14:tracePt t="70736" x="7799388" y="2682875"/>
          <p14:tracePt t="70737" x="7799388" y="2678113"/>
          <p14:tracePt t="70738" x="7799388" y="2674938"/>
          <p14:tracePt t="70739" x="7799388" y="2670175"/>
          <p14:tracePt t="70740" x="7796213" y="2667000"/>
          <p14:tracePt t="70741" x="7796213" y="2662238"/>
          <p14:tracePt t="70742" x="7796213" y="2659063"/>
          <p14:tracePt t="70743" x="7796213" y="2654300"/>
          <p14:tracePt t="70745" x="7796213" y="2649538"/>
          <p14:tracePt t="70746" x="7796213" y="2646363"/>
          <p14:tracePt t="70747" x="7796213" y="2641600"/>
          <p14:tracePt t="70749" x="7796213" y="2638425"/>
          <p14:tracePt t="70750" x="7796213" y="2633663"/>
          <p14:tracePt t="70751" x="7796213" y="2630488"/>
          <p14:tracePt t="70752" x="7796213" y="2625725"/>
          <p14:tracePt t="70753" x="7796213" y="2622550"/>
          <p14:tracePt t="70754" x="7796213" y="2617788"/>
          <p14:tracePt t="70755" x="7796213" y="2614613"/>
          <p14:tracePt t="70757" x="7796213" y="2609850"/>
          <p14:tracePt t="70758" x="7796213" y="2606675"/>
          <p14:tracePt t="70759" x="7796213" y="2601913"/>
          <p14:tracePt t="70760" x="7796213" y="2598738"/>
          <p14:tracePt t="70761" x="7796213" y="2593975"/>
          <p14:tracePt t="70762" x="7796213" y="2590800"/>
          <p14:tracePt t="70764" x="7796213" y="2582863"/>
          <p14:tracePt t="70765" x="7796213" y="2574925"/>
          <p14:tracePt t="70766" x="7796213" y="2570163"/>
          <p14:tracePt t="70768" x="7796213" y="2566988"/>
          <p14:tracePt t="70769" x="7799388" y="2562225"/>
          <p14:tracePt t="70770" x="7799388" y="2557463"/>
          <p14:tracePt t="70771" x="7799388" y="2554288"/>
          <p14:tracePt t="70772" x="7804150" y="2549525"/>
          <p14:tracePt t="70773" x="7804150" y="2546350"/>
          <p14:tracePt t="70774" x="7804150" y="2538413"/>
          <p14:tracePt t="70775" x="7804150" y="2533650"/>
          <p14:tracePt t="70776" x="7804150" y="2525713"/>
          <p14:tracePt t="70777" x="7807325" y="2522538"/>
          <p14:tracePt t="70778" x="7807325" y="2517775"/>
          <p14:tracePt t="70779" x="7807325" y="2514600"/>
          <p14:tracePt t="70780" x="7812088" y="2501900"/>
          <p14:tracePt t="70781" x="7812088" y="2498725"/>
          <p14:tracePt t="70782" x="7812088" y="2490788"/>
          <p14:tracePt t="70783" x="7812088" y="2482850"/>
          <p14:tracePt t="70784" x="7815263" y="2482850"/>
          <p14:tracePt t="70785" x="7815263" y="2474913"/>
          <p14:tracePt t="70786" x="7820025" y="2462213"/>
          <p14:tracePt t="70787" x="7820025" y="2457450"/>
          <p14:tracePt t="70788" x="7823200" y="2449513"/>
          <p14:tracePt t="70789" x="7823200" y="2441575"/>
          <p14:tracePt t="70790" x="7823200" y="2433638"/>
          <p14:tracePt t="70791" x="7827963" y="2425700"/>
          <p14:tracePt t="70792" x="7827963" y="2422525"/>
          <p14:tracePt t="70793" x="7827963" y="2414588"/>
          <p14:tracePt t="70794" x="7831138" y="2406650"/>
          <p14:tracePt t="70795" x="7831138" y="2398713"/>
          <p14:tracePt t="70796" x="7835900" y="2390775"/>
          <p14:tracePt t="70797" x="7835900" y="2382838"/>
          <p14:tracePt t="70798" x="7839075" y="2373313"/>
          <p14:tracePt t="70799" x="7839075" y="2370138"/>
          <p14:tracePt t="70800" x="7847013" y="2357438"/>
          <p14:tracePt t="70801" x="7847013" y="2354263"/>
          <p14:tracePt t="70802" x="7851775" y="2346325"/>
          <p14:tracePt t="70803" x="7851775" y="2338388"/>
          <p14:tracePt t="70804" x="7851775" y="2333625"/>
          <p14:tracePt t="70805" x="7851775" y="2325688"/>
          <p14:tracePt t="70806" x="7859713" y="2309813"/>
          <p14:tracePt t="70807" x="7864475" y="2306638"/>
          <p14:tracePt t="70808" x="7864475" y="2301875"/>
          <p14:tracePt t="70809" x="7867650" y="2290763"/>
          <p14:tracePt t="70810" x="7872413" y="2281238"/>
          <p14:tracePt t="70811" x="7875588" y="2278063"/>
          <p14:tracePt t="70812" x="7875588" y="2270125"/>
          <p14:tracePt t="70813" x="7880350" y="2262188"/>
          <p14:tracePt t="70814" x="7883525" y="2254250"/>
          <p14:tracePt t="70815" x="7883525" y="2249488"/>
          <p14:tracePt t="70816" x="7888288" y="2238375"/>
          <p14:tracePt t="70817" x="7891463" y="2230438"/>
          <p14:tracePt t="70818" x="7896225" y="2225675"/>
          <p14:tracePt t="70819" x="7899400" y="2217738"/>
          <p14:tracePt t="70820" x="7904163" y="2209800"/>
          <p14:tracePt t="70821" x="7907338" y="2198688"/>
          <p14:tracePt t="70822" x="7912100" y="2189163"/>
          <p14:tracePt t="70823" x="7915275" y="2181225"/>
          <p14:tracePt t="70824" x="7915275" y="2173288"/>
          <p14:tracePt t="70825" x="7920038" y="2165350"/>
          <p14:tracePt t="70826" x="7923213" y="2157413"/>
          <p14:tracePt t="70827" x="7927975" y="2146300"/>
          <p14:tracePt t="70828" x="7935913" y="2138363"/>
          <p14:tracePt t="70829" x="7939088" y="2130425"/>
          <p14:tracePt t="70830" x="7943850" y="2122488"/>
          <p14:tracePt t="70831" x="7948613" y="2114550"/>
          <p14:tracePt t="70832" x="7951788" y="2106613"/>
          <p14:tracePt t="70833" x="7956550" y="2093913"/>
          <p14:tracePt t="70834" x="7964488" y="2085975"/>
          <p14:tracePt t="70835" x="7967663" y="2078038"/>
          <p14:tracePt t="70836" x="7975600" y="2062163"/>
          <p14:tracePt t="70837" x="7980363" y="2054225"/>
          <p14:tracePt t="70838" x="7983538" y="2046288"/>
          <p14:tracePt t="70839" x="7988300" y="2041525"/>
          <p14:tracePt t="70840" x="7991475" y="2033588"/>
          <p14:tracePt t="70841" x="7996238" y="2022475"/>
          <p14:tracePt t="70842" x="7999413" y="2009775"/>
          <p14:tracePt t="70843" x="8004175" y="2001838"/>
          <p14:tracePt t="70844" x="8007350" y="1993900"/>
          <p14:tracePt t="70845" x="8012113" y="1985963"/>
          <p14:tracePt t="70846" x="8015288" y="1978025"/>
          <p14:tracePt t="70847" x="8015288" y="1970088"/>
          <p14:tracePt t="70848" x="8020050" y="1957388"/>
          <p14:tracePt t="70849" x="8027988" y="1949450"/>
          <p14:tracePt t="70851" x="8031163" y="1941513"/>
          <p14:tracePt t="70852" x="8040688" y="1917700"/>
          <p14:tracePt t="70853" x="8040688" y="1905000"/>
          <p14:tracePt t="70854" x="8043863" y="1897063"/>
          <p14:tracePt t="70855" x="8048625" y="1889125"/>
          <p14:tracePt t="70856" x="8051800" y="1878013"/>
          <p14:tracePt t="70857" x="8051800" y="1870075"/>
          <p14:tracePt t="70858" x="8056563" y="1857375"/>
          <p14:tracePt t="70859" x="8056563" y="1849438"/>
          <p14:tracePt t="70860" x="8059738" y="1841500"/>
          <p14:tracePt t="70861" x="8059738" y="1830388"/>
          <p14:tracePt t="70862" x="8067675" y="1820863"/>
          <p14:tracePt t="70863" x="8067675" y="1812925"/>
          <p14:tracePt t="70864" x="8072438" y="1804988"/>
          <p14:tracePt t="70865" x="8072438" y="1797050"/>
          <p14:tracePt t="70866" x="8075613" y="1785938"/>
          <p14:tracePt t="70867" x="8075613" y="1773238"/>
          <p14:tracePt t="70868" x="8080375" y="1765300"/>
          <p14:tracePt t="70869" x="8080375" y="1762125"/>
          <p14:tracePt t="70870" x="8080375" y="1754188"/>
          <p14:tracePt t="70871" x="8083550" y="1746250"/>
          <p14:tracePt t="70872" x="8083550" y="1741488"/>
          <p14:tracePt t="70873" x="8088313" y="1733550"/>
          <p14:tracePt t="70874" x="8088313" y="1725613"/>
          <p14:tracePt t="70875" x="8088313" y="1717675"/>
          <p14:tracePt t="70876" x="8091488" y="1712913"/>
          <p14:tracePt t="70877" x="8091488" y="1704975"/>
          <p14:tracePt t="70878" x="8091488" y="1701800"/>
          <p14:tracePt t="70879" x="8096250" y="1693863"/>
          <p14:tracePt t="70881" x="8096250" y="1689100"/>
          <p14:tracePt t="70883" x="8099425" y="1681163"/>
          <p14:tracePt t="70884" x="8099425" y="1677988"/>
          <p14:tracePt t="70885" x="8099425" y="1673225"/>
          <p14:tracePt t="70886" x="8104188" y="1665288"/>
          <p14:tracePt t="70887" x="8104188" y="1662113"/>
          <p14:tracePt t="70888" x="8107363" y="1657350"/>
          <p14:tracePt t="70889" x="8107363" y="1654175"/>
          <p14:tracePt t="70891" x="8107363" y="1649413"/>
          <p14:tracePt t="70892" x="8107363" y="1644650"/>
          <p14:tracePt t="70894" x="8112125" y="1641475"/>
          <p14:tracePt t="70895" x="8112125" y="1636713"/>
          <p14:tracePt t="70897" x="8115300" y="1633538"/>
          <p14:tracePt t="70899" x="8115300" y="1625600"/>
          <p14:tracePt t="70901" x="8115300" y="1620838"/>
          <p14:tracePt t="70903" x="8115300" y="1617663"/>
          <p14:tracePt t="70905" x="8115300" y="1612900"/>
          <p14:tracePt t="70906" x="8115300" y="1609725"/>
          <p14:tracePt t="70909" x="8120063" y="1604963"/>
          <p14:tracePt t="70912" x="8123238" y="1604963"/>
          <p14:tracePt t="70916" x="8123238" y="1601788"/>
          <p14:tracePt t="70919" x="8123238" y="1597025"/>
          <p14:tracePt t="70924" x="8123238" y="1593850"/>
          <p14:tracePt t="70933" x="8123238" y="1589088"/>
          <p14:tracePt t="70941" x="8123238" y="1585913"/>
          <p14:tracePt t="70946" x="8123238" y="1581150"/>
          <p14:tracePt t="70948" x="8123238" y="1577975"/>
          <p14:tracePt t="70951" x="8123238" y="1573213"/>
          <p14:tracePt t="70953" x="8123238" y="1570038"/>
          <p14:tracePt t="70955" x="8123238" y="1565275"/>
          <p14:tracePt t="70959" x="8123238" y="1562100"/>
          <p14:tracePt t="70961" x="8123238" y="1557338"/>
          <p14:tracePt t="70964" x="8123238" y="1552575"/>
          <p14:tracePt t="70965" x="8123238" y="1549400"/>
          <p14:tracePt t="70966" x="8123238" y="1544638"/>
          <p14:tracePt t="70968" x="8123238" y="1541463"/>
          <p14:tracePt t="70969" x="8123238" y="1536700"/>
          <p14:tracePt t="70970" x="8123238" y="1533525"/>
          <p14:tracePt t="70971" x="8123238" y="1528763"/>
          <p14:tracePt t="70973" x="8123238" y="1525588"/>
          <p14:tracePt t="70975" x="8120063" y="1520825"/>
          <p14:tracePt t="70976" x="8120063" y="1517650"/>
          <p14:tracePt t="70977" x="8120063" y="1512888"/>
          <p14:tracePt t="70978" x="8120063" y="1509713"/>
          <p14:tracePt t="70980" x="8120063" y="1504950"/>
          <p14:tracePt t="70982" x="8120063" y="1497013"/>
          <p14:tracePt t="70982" x="8120063" y="1493838"/>
          <p14:tracePt t="70983" x="8120063" y="1489075"/>
          <p14:tracePt t="70984" x="8120063" y="1485900"/>
          <p14:tracePt t="70986" x="8120063" y="1481138"/>
          <p14:tracePt t="70987" x="8120063" y="1477963"/>
          <p14:tracePt t="70988" x="8120063" y="1473200"/>
          <p14:tracePt t="70989" x="8120063" y="1470025"/>
          <p14:tracePt t="70990" x="8120063" y="1465263"/>
          <p14:tracePt t="70991" x="8115300" y="1460500"/>
          <p14:tracePt t="70992" x="8115300" y="1457325"/>
          <p14:tracePt t="70993" x="8115300" y="1449388"/>
          <p14:tracePt t="70994" x="8115300" y="1444625"/>
          <p14:tracePt t="70995" x="8115300" y="1441450"/>
          <p14:tracePt t="70996" x="8115300" y="1436688"/>
          <p14:tracePt t="70998" x="8115300" y="1428750"/>
          <p14:tracePt t="70999" x="8112125" y="1425575"/>
          <p14:tracePt t="71000" x="8112125" y="1420813"/>
          <p14:tracePt t="71001" x="8112125" y="1417638"/>
          <p14:tracePt t="71002" x="8112125" y="1412875"/>
          <p14:tracePt t="71003" x="8112125" y="1404938"/>
          <p14:tracePt t="71004" x="8112125" y="1401763"/>
          <p14:tracePt t="71005" x="8112125" y="1393825"/>
          <p14:tracePt t="71006" x="8112125" y="1389063"/>
          <p14:tracePt t="71007" x="8112125" y="1385888"/>
          <p14:tracePt t="71008" x="8112125" y="1377950"/>
          <p14:tracePt t="71010" x="8112125" y="1373188"/>
          <p14:tracePt t="71011" x="8112125" y="1365250"/>
          <p14:tracePt t="71012" x="8112125" y="1360488"/>
          <p14:tracePt t="71014" x="8107363" y="1349375"/>
          <p14:tracePt t="71015" x="8107363" y="1341438"/>
          <p14:tracePt t="71016" x="8107363" y="1336675"/>
          <p14:tracePt t="71017" x="8107363" y="1333500"/>
          <p14:tracePt t="71018" x="8107363" y="1325563"/>
          <p14:tracePt t="71019" x="8107363" y="1317625"/>
          <p14:tracePt t="71020" x="8107363" y="1312863"/>
          <p14:tracePt t="71021" x="8104188" y="1304925"/>
          <p14:tracePt t="71022" x="8104188" y="1301750"/>
          <p14:tracePt t="71023" x="8104188" y="1293813"/>
          <p14:tracePt t="71025" x="8104188" y="1285875"/>
          <p14:tracePt t="71026" x="8104188" y="1281113"/>
          <p14:tracePt t="71027" x="8099425" y="1273175"/>
          <p14:tracePt t="71028" x="8099425" y="1265238"/>
          <p14:tracePt t="71029" x="8099425" y="1260475"/>
          <p14:tracePt t="71031" x="8099425" y="1257300"/>
          <p14:tracePt t="71032" x="8096250" y="1244600"/>
          <p14:tracePt t="71033" x="8096250" y="1236663"/>
          <p14:tracePt t="71034" x="8096250" y="1233488"/>
          <p14:tracePt t="71035" x="8096250" y="1228725"/>
          <p14:tracePt t="71036" x="8091488" y="1220788"/>
          <p14:tracePt t="71037" x="8091488" y="1217613"/>
          <p14:tracePt t="71038" x="8091488" y="1212850"/>
          <p14:tracePt t="71039" x="8091488" y="1209675"/>
          <p14:tracePt t="71041" x="8088313" y="1204913"/>
          <p14:tracePt t="71042" x="8088313" y="1201738"/>
          <p14:tracePt t="71043" x="8088313" y="1193800"/>
          <p14:tracePt t="71044" x="8088313" y="1189038"/>
          <p14:tracePt t="71045" x="8083550" y="1189038"/>
          <p14:tracePt t="71046" x="8083550" y="1184275"/>
          <p14:tracePt t="71048" x="8083550" y="1181100"/>
          <p14:tracePt t="71049" x="8080375" y="1176338"/>
          <p14:tracePt t="71050" x="8080375" y="1173163"/>
          <p14:tracePt t="71051" x="8080375" y="1168400"/>
          <p14:tracePt t="71053" x="8080375" y="1165225"/>
          <p14:tracePt t="71057" x="8075613" y="1165225"/>
          <p14:tracePt t="71058" x="8075613" y="1160463"/>
          <p14:tracePt t="71060" x="8075613" y="1157288"/>
          <p14:tracePt t="71063" x="8075613" y="1152525"/>
          <p14:tracePt t="71064" x="8072438" y="1152525"/>
          <p14:tracePt t="71068" x="8072438" y="1149350"/>
          <p14:tracePt t="71143" x="8072438" y="1152525"/>
          <p14:tracePt t="71146" x="8072438" y="1157288"/>
          <p14:tracePt t="71149" x="8067675" y="1157288"/>
          <p14:tracePt t="71151" x="8067675" y="1160463"/>
          <p14:tracePt t="71154" x="8064500" y="1160463"/>
          <p14:tracePt t="71159" x="8064500" y="1165225"/>
          <p14:tracePt t="71162" x="8064500" y="1168400"/>
          <p14:tracePt t="71165" x="8059738" y="1173163"/>
          <p14:tracePt t="71171" x="8059738" y="1176338"/>
          <p14:tracePt t="71176" x="8056563" y="1181100"/>
          <p14:tracePt t="71187" x="8056563" y="1184275"/>
          <p14:tracePt t="71194" x="8056563" y="1189038"/>
          <p14:tracePt t="71197" x="8051800" y="1189038"/>
          <p14:tracePt t="71200" x="8051800" y="1193800"/>
          <p14:tracePt t="71205" x="8051800" y="1196975"/>
          <p14:tracePt t="71211" x="8051800" y="1201738"/>
          <p14:tracePt t="71221" x="8048625" y="1204913"/>
          <p14:tracePt t="71225" x="8048625" y="1209675"/>
          <p14:tracePt t="71228" x="8048625" y="1212850"/>
          <p14:tracePt t="71231" x="8048625" y="1217613"/>
          <p14:tracePt t="71234" x="8048625" y="1220788"/>
          <p14:tracePt t="71236" x="8043863" y="1225550"/>
          <p14:tracePt t="71238" x="8043863" y="1228725"/>
          <p14:tracePt t="71240" x="8043863" y="1233488"/>
          <p14:tracePt t="71243" x="8043863" y="1236663"/>
          <p14:tracePt t="71245" x="8043863" y="1241425"/>
          <p14:tracePt t="71249" x="8043863" y="1244600"/>
          <p14:tracePt t="71250" x="8040688" y="1244600"/>
          <p14:tracePt t="71251" x="8040688" y="1249363"/>
          <p14:tracePt t="71253" x="8040688" y="1252538"/>
          <p14:tracePt t="71255" x="8040688" y="1257300"/>
          <p14:tracePt t="71257" x="8040688" y="1260475"/>
          <p14:tracePt t="71259" x="8040688" y="1265238"/>
          <p14:tracePt t="71261" x="8040688" y="1268413"/>
          <p14:tracePt t="71263" x="8040688" y="1273175"/>
          <p14:tracePt t="71266" x="8040688" y="1276350"/>
          <p14:tracePt t="71267" x="8040688" y="1281113"/>
          <p14:tracePt t="71270" x="8035925" y="1281113"/>
          <p14:tracePt t="71271" x="8035925" y="1285875"/>
          <p14:tracePt t="71273" x="8035925" y="1289050"/>
          <p14:tracePt t="71275" x="8035925" y="1293813"/>
          <p14:tracePt t="71277" x="8035925" y="1296988"/>
          <p14:tracePt t="71278" x="8035925" y="1301750"/>
          <p14:tracePt t="71281" x="8035925" y="1304925"/>
          <p14:tracePt t="71282" x="8035925" y="1309688"/>
          <p14:tracePt t="71284" x="8031163" y="1312863"/>
          <p14:tracePt t="71286" x="8031163" y="1317625"/>
          <p14:tracePt t="71287" x="8031163" y="1320800"/>
          <p14:tracePt t="71289" x="8031163" y="1325563"/>
          <p14:tracePt t="71292" x="8031163" y="1328738"/>
          <p14:tracePt t="71294" x="8031163" y="1333500"/>
          <p14:tracePt t="71295" x="8031163" y="1336675"/>
          <p14:tracePt t="71296" x="8031163" y="1341438"/>
          <p14:tracePt t="71298" x="8031163" y="1344613"/>
          <p14:tracePt t="71299" x="8031163" y="1349375"/>
          <p14:tracePt t="71301" x="8031163" y="1357313"/>
          <p14:tracePt t="71303" x="8031163" y="1360488"/>
          <p14:tracePt t="71304" x="8031163" y="1365250"/>
          <p14:tracePt t="71305" x="8031163" y="1368425"/>
          <p14:tracePt t="71307" x="8031163" y="1373188"/>
          <p14:tracePt t="71309" x="8031163" y="1377950"/>
          <p14:tracePt t="71310" x="8031163" y="1381125"/>
          <p14:tracePt t="71311" x="8031163" y="1385888"/>
          <p14:tracePt t="71312" x="8031163" y="1389063"/>
          <p14:tracePt t="71313" x="8031163" y="1393825"/>
          <p14:tracePt t="71314" x="8031163" y="1397000"/>
          <p14:tracePt t="71316" x="8031163" y="1404938"/>
          <p14:tracePt t="71318" x="8031163" y="1409700"/>
          <p14:tracePt t="71319" x="8031163" y="1412875"/>
          <p14:tracePt t="71321" x="8031163" y="1417638"/>
          <p14:tracePt t="71322" x="8031163" y="1420813"/>
          <p14:tracePt t="71324" x="8031163" y="1425575"/>
          <p14:tracePt t="71325" x="8031163" y="1428750"/>
          <p14:tracePt t="71326" x="8031163" y="1433513"/>
          <p14:tracePt t="71328" x="8031163" y="1436688"/>
          <p14:tracePt t="71329" x="8031163" y="1441450"/>
          <p14:tracePt t="71331" x="8031163" y="1449388"/>
          <p14:tracePt t="71332" x="8031163" y="1452563"/>
          <p14:tracePt t="71334" x="8031163" y="1457325"/>
          <p14:tracePt t="71336" x="8031163" y="1460500"/>
          <p14:tracePt t="71338" x="8031163" y="1465263"/>
          <p14:tracePt t="71339" x="8031163" y="1470025"/>
          <p14:tracePt t="71340" x="8031163" y="1473200"/>
          <p14:tracePt t="71342" x="8031163" y="1477963"/>
          <p14:tracePt t="71343" x="8031163" y="1481138"/>
          <p14:tracePt t="71345" x="8031163" y="1485900"/>
          <p14:tracePt t="71346" x="8031163" y="1489075"/>
          <p14:tracePt t="71348" x="8031163" y="1493838"/>
          <p14:tracePt t="71350" x="8031163" y="1497013"/>
          <p14:tracePt t="71352" x="8031163" y="1501775"/>
          <p14:tracePt t="71354" x="8031163" y="1504950"/>
          <p14:tracePt t="71356" x="8031163" y="1509713"/>
          <p14:tracePt t="71357" x="8031163" y="1512888"/>
          <p14:tracePt t="71359" x="8031163" y="1517650"/>
          <p14:tracePt t="71361" x="8031163" y="1520825"/>
          <p14:tracePt t="71362" x="8031163" y="1525588"/>
          <p14:tracePt t="71364" x="8031163" y="1528763"/>
          <p14:tracePt t="71366" x="8031163" y="1533525"/>
          <p14:tracePt t="71369" x="8031163" y="1536700"/>
          <p14:tracePt t="71372" x="8031163" y="1541463"/>
          <p14:tracePt t="71374" x="8031163" y="1544638"/>
          <p14:tracePt t="71376" x="8031163" y="1549400"/>
          <p14:tracePt t="71378" x="8031163" y="1552575"/>
          <p14:tracePt t="71381" x="8031163" y="1557338"/>
          <p14:tracePt t="71382" x="8031163" y="1562100"/>
          <p14:tracePt t="71386" x="8031163" y="1570038"/>
          <p14:tracePt t="71389" x="8031163" y="1573213"/>
          <p14:tracePt t="71391" x="8031163" y="1577975"/>
          <p14:tracePt t="71396" x="8031163" y="1581150"/>
          <p14:tracePt t="71398" x="8031163" y="1585913"/>
          <p14:tracePt t="71400" x="8031163" y="1589088"/>
          <p14:tracePt t="71403" x="8031163" y="1593850"/>
          <p14:tracePt t="71405" x="8031163" y="1597025"/>
          <p14:tracePt t="71408" x="8031163" y="1601788"/>
          <p14:tracePt t="71411" x="8031163" y="1604963"/>
          <p14:tracePt t="71413" x="8031163" y="1609725"/>
          <p14:tracePt t="71417" x="8031163" y="1612900"/>
          <p14:tracePt t="71420" x="8031163" y="1617663"/>
          <p14:tracePt t="71427" x="8031163" y="1620838"/>
          <p14:tracePt t="71431" x="8031163" y="1625600"/>
          <p14:tracePt t="71434" x="8031163" y="1628775"/>
          <p14:tracePt t="71437" x="8031163" y="1633538"/>
          <p14:tracePt t="71440" x="8031163" y="1636713"/>
          <p14:tracePt t="71443" x="8031163" y="1641475"/>
          <p14:tracePt t="71445" x="8031163" y="1644650"/>
          <p14:tracePt t="71449" x="8031163" y="1649413"/>
          <p14:tracePt t="71450" x="8031163" y="1654175"/>
          <p14:tracePt t="71453" x="8031163" y="1657350"/>
          <p14:tracePt t="71458" x="8031163" y="1662113"/>
          <p14:tracePt t="71460" x="8031163" y="1665288"/>
          <p14:tracePt t="71461" x="8031163" y="1670050"/>
          <p14:tracePt t="71464" x="8031163" y="1673225"/>
          <p14:tracePt t="71465" x="8031163" y="1677988"/>
          <p14:tracePt t="71467" x="8031163" y="1681163"/>
          <p14:tracePt t="71468" x="8031163" y="1685925"/>
          <p14:tracePt t="71470" x="8031163" y="1689100"/>
          <p14:tracePt t="71472" x="8031163" y="1693863"/>
          <p14:tracePt t="71473" x="8031163" y="1697038"/>
          <p14:tracePt t="71475" x="8031163" y="1701800"/>
          <p14:tracePt t="71477" x="8031163" y="1704975"/>
          <p14:tracePt t="71478" x="8031163" y="1709738"/>
          <p14:tracePt t="71480" x="8027988" y="1717675"/>
          <p14:tracePt t="71481" x="8027988" y="1720850"/>
          <p14:tracePt t="71482" x="8027988" y="1725613"/>
          <p14:tracePt t="71483" x="8027988" y="1728788"/>
          <p14:tracePt t="71484" x="8027988" y="1733550"/>
          <p14:tracePt t="71485" x="8027988" y="1738313"/>
          <p14:tracePt t="71487" x="8027988" y="1741488"/>
          <p14:tracePt t="71488" x="8027988" y="1749425"/>
          <p14:tracePt t="71489" x="8027988" y="1754188"/>
          <p14:tracePt t="71490" x="8027988" y="1757363"/>
          <p14:tracePt t="71491" x="8027988" y="1762125"/>
          <p14:tracePt t="71492" x="8027988" y="1765300"/>
          <p14:tracePt t="71493" x="8027988" y="1770063"/>
          <p14:tracePt t="71494" x="8027988" y="1773238"/>
          <p14:tracePt t="71495" x="8027988" y="1778000"/>
          <p14:tracePt t="71496" x="8027988" y="1781175"/>
          <p14:tracePt t="71497" x="8027988" y="1785938"/>
          <p14:tracePt t="71499" x="8027988" y="1789113"/>
          <p14:tracePt t="71500" x="8027988" y="1793875"/>
          <p14:tracePt t="71501" x="8027988" y="1797050"/>
          <p14:tracePt t="71502" x="8027988" y="1801813"/>
          <p14:tracePt t="71503" x="8027988" y="1804988"/>
          <p14:tracePt t="71504" x="8027988" y="1812925"/>
          <p14:tracePt t="71505" x="8027988" y="1817688"/>
          <p14:tracePt t="71506" x="8027988" y="1820863"/>
          <p14:tracePt t="71507" x="8027988" y="1825625"/>
          <p14:tracePt t="71508" x="8027988" y="1830388"/>
          <p14:tracePt t="71510" x="8027988" y="1833563"/>
          <p14:tracePt t="71511" x="8027988" y="1838325"/>
          <p14:tracePt t="71512" x="8023225" y="1841500"/>
          <p14:tracePt t="71513" x="8023225" y="1846263"/>
          <p14:tracePt t="71514" x="8023225" y="1849438"/>
          <p14:tracePt t="71515" x="8023225" y="1854200"/>
          <p14:tracePt t="71516" x="8023225" y="1857375"/>
          <p14:tracePt t="71518" x="8023225" y="1865313"/>
          <p14:tracePt t="71519" x="8023225" y="1870075"/>
          <p14:tracePt t="71520" x="8023225" y="1873250"/>
          <p14:tracePt t="71522" x="8023225" y="1878013"/>
          <p14:tracePt t="71524" x="8023225" y="1881188"/>
          <p14:tracePt t="71525" x="8023225" y="1885950"/>
          <p14:tracePt t="71526" x="8023225" y="1889125"/>
          <p14:tracePt t="71527" x="8023225" y="1893888"/>
          <p14:tracePt t="71528" x="8023225" y="1897063"/>
          <p14:tracePt t="71529" x="8023225" y="1901825"/>
          <p14:tracePt t="71531" x="8023225" y="1905000"/>
          <p14:tracePt t="71532" x="8023225" y="1909763"/>
          <p14:tracePt t="71533" x="8020050" y="1912938"/>
          <p14:tracePt t="71534" x="8020050" y="1917700"/>
          <p14:tracePt t="71536" x="8020050" y="1922463"/>
          <p14:tracePt t="71537" x="8015288" y="1922463"/>
          <p14:tracePt t="71538" x="8015288" y="1925638"/>
          <p14:tracePt t="71539" x="8015288" y="1930400"/>
          <p14:tracePt t="71540" x="8015288" y="1933575"/>
          <p14:tracePt t="71542" x="8015288" y="1941513"/>
          <p14:tracePt t="71544" x="8015288" y="1949450"/>
          <p14:tracePt t="71546" x="8015288" y="1954213"/>
          <p14:tracePt t="71547" x="8012113" y="1957388"/>
          <p14:tracePt t="71548" x="8012113" y="1962150"/>
          <p14:tracePt t="71550" x="8012113" y="1965325"/>
          <p14:tracePt t="71552" x="8012113" y="1970088"/>
          <p14:tracePt t="71553" x="8012113" y="1973263"/>
          <p14:tracePt t="71554" x="8012113" y="1978025"/>
          <p14:tracePt t="71556" x="8012113" y="1981200"/>
          <p14:tracePt t="71558" x="8007350" y="1989138"/>
          <p14:tracePt t="71559" x="8007350" y="1993900"/>
          <p14:tracePt t="71561" x="8007350" y="1997075"/>
          <p14:tracePt t="71562" x="8007350" y="2001838"/>
          <p14:tracePt t="71564" x="8007350" y="2005013"/>
          <p14:tracePt t="71565" x="8007350" y="2009775"/>
          <p14:tracePt t="71567" x="8007350" y="2014538"/>
          <p14:tracePt t="71568" x="8004175" y="2017713"/>
          <p14:tracePt t="71569" x="8004175" y="2022475"/>
          <p14:tracePt t="71570" x="8004175" y="2025650"/>
          <p14:tracePt t="71572" x="8004175" y="2030413"/>
          <p14:tracePt t="71573" x="8004175" y="2033588"/>
          <p14:tracePt t="71574" x="8004175" y="2038350"/>
          <p14:tracePt t="71575" x="8004175" y="2041525"/>
          <p14:tracePt t="71576" x="7999413" y="2041525"/>
          <p14:tracePt t="71577" x="7999413" y="2046288"/>
          <p14:tracePt t="71578" x="7999413" y="2049463"/>
          <p14:tracePt t="71579" x="7999413" y="2054225"/>
          <p14:tracePt t="71581" x="7999413" y="2057400"/>
          <p14:tracePt t="71582" x="7999413" y="2062163"/>
          <p14:tracePt t="71583" x="7999413" y="2065338"/>
          <p14:tracePt t="71584" x="7996238" y="2070100"/>
          <p14:tracePt t="71585" x="7996238" y="2073275"/>
          <p14:tracePt t="71588" x="7996238" y="2081213"/>
          <p14:tracePt t="71589" x="7996238" y="2085975"/>
          <p14:tracePt t="71591" x="7991475" y="2089150"/>
          <p14:tracePt t="71592" x="7991475" y="2093913"/>
          <p14:tracePt t="71594" x="7991475" y="2097088"/>
          <p14:tracePt t="71595" x="7991475" y="2101850"/>
          <p14:tracePt t="71596" x="7988300" y="2106613"/>
          <p14:tracePt t="71597" x="7988300" y="2109788"/>
          <p14:tracePt t="71598" x="7988300" y="2114550"/>
          <p14:tracePt t="71599" x="7988300" y="2117725"/>
          <p14:tracePt t="71600" x="7988300" y="2122488"/>
          <p14:tracePt t="71601" x="7988300" y="2125663"/>
          <p14:tracePt t="71602" x="7983538" y="2125663"/>
          <p14:tracePt t="71604" x="7983538" y="2130425"/>
          <p14:tracePt t="71605" x="7983538" y="2133600"/>
          <p14:tracePt t="71606" x="7983538" y="2138363"/>
          <p14:tracePt t="71607" x="7983538" y="2141538"/>
          <p14:tracePt t="71608" x="7983538" y="2146300"/>
          <p14:tracePt t="71609" x="7983538" y="2149475"/>
          <p14:tracePt t="71610" x="7980363" y="2154238"/>
          <p14:tracePt t="71611" x="7980363" y="2157413"/>
          <p14:tracePt t="71612" x="7980363" y="2162175"/>
          <p14:tracePt t="71613" x="7980363" y="2165350"/>
          <p14:tracePt t="71614" x="7975600" y="2165350"/>
          <p14:tracePt t="71616" x="7975600" y="2173288"/>
          <p14:tracePt t="71617" x="7975600" y="2178050"/>
          <p14:tracePt t="71618" x="7972425" y="2181225"/>
          <p14:tracePt t="71620" x="7972425" y="2185988"/>
          <p14:tracePt t="71621" x="7972425" y="2189163"/>
          <p14:tracePt t="71622" x="7972425" y="2193925"/>
          <p14:tracePt t="71623" x="7972425" y="2198688"/>
          <p14:tracePt t="71624" x="7972425" y="2201863"/>
          <p14:tracePt t="71625" x="7972425" y="2206625"/>
          <p14:tracePt t="71627" x="7972425" y="2209800"/>
          <p14:tracePt t="71629" x="7967663" y="2214563"/>
          <p14:tracePt t="71630" x="7967663" y="2217738"/>
          <p14:tracePt t="71632" x="7967663" y="2225675"/>
          <p14:tracePt t="71633" x="7967663" y="2230438"/>
          <p14:tracePt t="71635" x="7967663" y="2233613"/>
          <p14:tracePt t="71636" x="7967663" y="2238375"/>
          <p14:tracePt t="71637" x="7964488" y="2241550"/>
          <p14:tracePt t="71639" x="7964488" y="2246313"/>
          <p14:tracePt t="71641" x="7964488" y="2249488"/>
          <p14:tracePt t="71643" x="7964488" y="2254250"/>
          <p14:tracePt t="71645" x="7964488" y="2257425"/>
          <p14:tracePt t="71646" x="7964488" y="2262188"/>
          <p14:tracePt t="71649" x="7964488" y="2270125"/>
          <p14:tracePt t="71651" x="7959725" y="2273300"/>
          <p14:tracePt t="71654" x="7959725" y="2278063"/>
          <p14:tracePt t="71655" x="7956550" y="2278063"/>
          <p14:tracePt t="71657" x="7956550" y="2281238"/>
          <p14:tracePt t="71660" x="7956550" y="2286000"/>
          <p14:tracePt t="71674" x="7956550" y="2290763"/>
          <p14:tracePt t="71710" x="7951788" y="2290763"/>
          <p14:tracePt t="71727" x="7951788" y="2286000"/>
          <p14:tracePt t="71734" x="7951788" y="2281238"/>
          <p14:tracePt t="71737" x="7951788" y="2278063"/>
          <p14:tracePt t="71740" x="7951788" y="2273300"/>
          <p14:tracePt t="71741" x="7948613" y="2270125"/>
          <p14:tracePt t="71743" x="7948613" y="2265363"/>
          <p14:tracePt t="71745" x="7943850" y="2262188"/>
          <p14:tracePt t="71746" x="7943850" y="2257425"/>
          <p14:tracePt t="71747" x="7943850" y="2254250"/>
          <p14:tracePt t="71748" x="7943850" y="2249488"/>
          <p14:tracePt t="71750" x="7943850" y="2246313"/>
          <p14:tracePt t="71751" x="7939088" y="2238375"/>
          <p14:tracePt t="71753" x="7939088" y="2233613"/>
          <p14:tracePt t="71754" x="7935913" y="2230438"/>
          <p14:tracePt t="71755" x="7935913" y="2225675"/>
          <p14:tracePt t="71756" x="7935913" y="2217738"/>
          <p14:tracePt t="71757" x="7935913" y="2214563"/>
          <p14:tracePt t="71758" x="7931150" y="2209800"/>
          <p14:tracePt t="71759" x="7931150" y="2206625"/>
          <p14:tracePt t="71760" x="7931150" y="2201863"/>
          <p14:tracePt t="71761" x="7931150" y="2198688"/>
          <p14:tracePt t="71762" x="7927975" y="2198688"/>
          <p14:tracePt t="71763" x="7927975" y="2193925"/>
          <p14:tracePt t="71764" x="7927975" y="2185988"/>
          <p14:tracePt t="71765" x="7927975" y="2181225"/>
          <p14:tracePt t="71766" x="7923213" y="2178050"/>
          <p14:tracePt t="71767" x="7923213" y="2170113"/>
          <p14:tracePt t="71768" x="7920038" y="2165350"/>
          <p14:tracePt t="71769" x="7920038" y="2162175"/>
          <p14:tracePt t="71770" x="7920038" y="2154238"/>
          <p14:tracePt t="71771" x="7915275" y="2149475"/>
          <p14:tracePt t="71772" x="7915275" y="2141538"/>
          <p14:tracePt t="71773" x="7915275" y="2138363"/>
          <p14:tracePt t="71774" x="7912100" y="2138363"/>
          <p14:tracePt t="71775" x="7912100" y="2133600"/>
          <p14:tracePt t="71776" x="7912100" y="2125663"/>
          <p14:tracePt t="71777" x="7912100" y="2122488"/>
          <p14:tracePt t="71778" x="7907338" y="2117725"/>
          <p14:tracePt t="71779" x="7907338" y="2114550"/>
          <p14:tracePt t="71781" x="7907338" y="2109788"/>
          <p14:tracePt t="71781" x="7907338" y="2106613"/>
          <p14:tracePt t="71782" x="7907338" y="2097088"/>
          <p14:tracePt t="71783" x="7907338" y="2093913"/>
          <p14:tracePt t="71784" x="7907338" y="2089150"/>
          <p14:tracePt t="71785" x="7904163" y="2085975"/>
          <p14:tracePt t="71788" x="7904163" y="2081213"/>
          <p14:tracePt t="71788" x="7904163" y="2078038"/>
          <p14:tracePt t="71789" x="7904163" y="2073275"/>
          <p14:tracePt t="71790" x="7904163" y="2070100"/>
          <p14:tracePt t="71791" x="7904163" y="2065338"/>
          <p14:tracePt t="71792" x="7904163" y="2062163"/>
          <p14:tracePt t="71793" x="7904163" y="2057400"/>
          <p14:tracePt t="71794" x="7899400" y="2054225"/>
          <p14:tracePt t="71795" x="7899400" y="2049463"/>
          <p14:tracePt t="71796" x="7899400" y="2041525"/>
          <p14:tracePt t="71798" x="7899400" y="2038350"/>
          <p14:tracePt t="71800" x="7899400" y="2033588"/>
          <p14:tracePt t="71801" x="7899400" y="2030413"/>
          <p14:tracePt t="71802" x="7899400" y="2025650"/>
          <p14:tracePt t="71803" x="7899400" y="2022475"/>
          <p14:tracePt t="71805" x="7899400" y="2017713"/>
          <p14:tracePt t="71807" x="7899400" y="2014538"/>
          <p14:tracePt t="71808" x="7899400" y="2009775"/>
          <p14:tracePt t="71809" x="7899400" y="2005013"/>
          <p14:tracePt t="71811" x="7899400" y="2001838"/>
          <p14:tracePt t="71812" x="7899400" y="1997075"/>
          <p14:tracePt t="71815" x="7899400" y="1993900"/>
          <p14:tracePt t="71817" x="7899400" y="1989138"/>
          <p14:tracePt t="71818" x="7899400" y="1985963"/>
          <p14:tracePt t="71820" x="7899400" y="1981200"/>
          <p14:tracePt t="71821" x="7896225" y="1978025"/>
          <p14:tracePt t="71822" x="7896225" y="1973263"/>
          <p14:tracePt t="71824" x="7896225" y="1970088"/>
          <p14:tracePt t="71825" x="7896225" y="1965325"/>
          <p14:tracePt t="71827" x="7896225" y="1962150"/>
          <p14:tracePt t="71828" x="7896225" y="1957388"/>
          <p14:tracePt t="71831" x="7896225" y="1954213"/>
          <p14:tracePt t="71832" x="7896225" y="1949450"/>
          <p14:tracePt t="71833" x="7896225" y="1946275"/>
          <p14:tracePt t="71835" x="7896225" y="1941513"/>
          <p14:tracePt t="71837" x="7896225" y="1938338"/>
          <p14:tracePt t="71838" x="7896225" y="1930400"/>
          <p14:tracePt t="71839" x="7891463" y="1925638"/>
          <p14:tracePt t="71841" x="7891463" y="1922463"/>
          <p14:tracePt t="71842" x="7891463" y="1912938"/>
          <p14:tracePt t="71845" x="7891463" y="1909763"/>
          <p14:tracePt t="71846" x="7891463" y="1905000"/>
          <p14:tracePt t="71847" x="7891463" y="1901825"/>
          <p14:tracePt t="71848" x="7891463" y="1897063"/>
          <p14:tracePt t="71850" x="7891463" y="1893888"/>
          <p14:tracePt t="71851" x="7891463" y="1889125"/>
          <p14:tracePt t="71852" x="7891463" y="1885950"/>
          <p14:tracePt t="71853" x="7888288" y="1881188"/>
          <p14:tracePt t="71854" x="7888288" y="1878013"/>
          <p14:tracePt t="71856" x="7888288" y="1873250"/>
          <p14:tracePt t="71858" x="7888288" y="1870075"/>
          <p14:tracePt t="71859" x="7888288" y="1865313"/>
          <p14:tracePt t="71860" x="7888288" y="1862138"/>
          <p14:tracePt t="71861" x="7888288" y="1857375"/>
          <p14:tracePt t="71862" x="7883525" y="1854200"/>
          <p14:tracePt t="71864" x="7883525" y="1849438"/>
          <p14:tracePt t="71865" x="7883525" y="1846263"/>
          <p14:tracePt t="71866" x="7883525" y="1841500"/>
          <p14:tracePt t="71867" x="7883525" y="1838325"/>
          <p14:tracePt t="71868" x="7883525" y="1833563"/>
          <p14:tracePt t="71871" x="7883525" y="1830388"/>
          <p14:tracePt t="71882" x="7880350" y="1797050"/>
          <p14:tracePt t="71883" x="7880350" y="1793875"/>
          <p14:tracePt t="71885" x="7880350" y="1789113"/>
          <p14:tracePt t="71888" x="7880350" y="1785938"/>
          <p14:tracePt t="71889" x="7880350" y="1781175"/>
          <p14:tracePt t="71891" x="7880350" y="1778000"/>
          <p14:tracePt t="71893" x="7880350" y="1773238"/>
          <p14:tracePt t="71894" x="7880350" y="1770063"/>
          <p14:tracePt t="71896" x="7880350" y="1765300"/>
          <p14:tracePt t="71898" x="7875588" y="1762125"/>
          <p14:tracePt t="71899" x="7875588" y="1757363"/>
          <p14:tracePt t="71902" x="7875588" y="1754188"/>
          <p14:tracePt t="71903" x="7875588" y="1749425"/>
          <p14:tracePt t="71906" x="7875588" y="1746250"/>
          <p14:tracePt t="71908" x="7875588" y="1741488"/>
          <p14:tracePt t="71910" x="7872413" y="1738313"/>
          <p14:tracePt t="71912" x="7872413" y="1733550"/>
          <p14:tracePt t="71914" x="7872413" y="1728788"/>
          <p14:tracePt t="71915" x="7872413" y="1725613"/>
          <p14:tracePt t="71917" x="7872413" y="1720850"/>
          <p14:tracePt t="71919" x="7872413" y="1717675"/>
          <p14:tracePt t="71921" x="7872413" y="1712913"/>
          <p14:tracePt t="71922" x="7872413" y="1709738"/>
          <p14:tracePt t="71925" x="7872413" y="1704975"/>
          <p14:tracePt t="71927" x="7872413" y="1701800"/>
          <p14:tracePt t="71929" x="7867650" y="1697038"/>
          <p14:tracePt t="71931" x="7867650" y="1693863"/>
          <p14:tracePt t="71932" x="7867650" y="1689100"/>
          <p14:tracePt t="71934" x="7867650" y="1685925"/>
          <p14:tracePt t="71935" x="7867650" y="1681163"/>
          <p14:tracePt t="71938" x="7867650" y="1677988"/>
          <p14:tracePt t="71940" x="7867650" y="1673225"/>
          <p14:tracePt t="71941" x="7867650" y="1670050"/>
          <p14:tracePt t="71945" x="7867650" y="1665288"/>
          <p14:tracePt t="71949" x="7867650" y="1662113"/>
          <p14:tracePt t="71950" x="7867650" y="1657350"/>
          <p14:tracePt t="71952" x="7867650" y="1654175"/>
          <p14:tracePt t="71954" x="7867650" y="1649413"/>
          <p14:tracePt t="71958" x="7867650" y="1644650"/>
          <p14:tracePt t="71961" x="7864475" y="1644650"/>
          <p14:tracePt t="71964" x="7864475" y="1641475"/>
          <p14:tracePt t="71968" x="7864475" y="1636713"/>
          <p14:tracePt t="71976" x="7864475" y="1633538"/>
          <p14:tracePt t="72084" x="7867650" y="1633538"/>
          <p14:tracePt t="72109" x="7872413" y="1633538"/>
          <p14:tracePt t="72133" x="7875588" y="1633538"/>
          <p14:tracePt t="72152" x="7875588" y="1628775"/>
          <p14:tracePt t="72155" x="7880350" y="1628775"/>
          <p14:tracePt t="72249" x="7880350" y="1633538"/>
          <p14:tracePt t="72252" x="7880350" y="1636713"/>
          <p14:tracePt t="72256" x="7883525" y="1641475"/>
          <p14:tracePt t="72258" x="7883525" y="1644650"/>
          <p14:tracePt t="72260" x="7883525" y="1649413"/>
          <p14:tracePt t="72262" x="7888288" y="1654175"/>
          <p14:tracePt t="72263" x="7888288" y="1662113"/>
          <p14:tracePt t="72265" x="7888288" y="1665288"/>
          <p14:tracePt t="72267" x="7888288" y="1670050"/>
          <p14:tracePt t="72268" x="7888288" y="1673225"/>
          <p14:tracePt t="72269" x="7888288" y="1677988"/>
          <p14:tracePt t="72270" x="7888288" y="1681163"/>
          <p14:tracePt t="72272" x="7891463" y="1693863"/>
          <p14:tracePt t="72274" x="7891463" y="1701800"/>
          <p14:tracePt t="72275" x="7891463" y="1704975"/>
          <p14:tracePt t="72276" x="7891463" y="1709738"/>
          <p14:tracePt t="72278" x="7891463" y="1717675"/>
          <p14:tracePt t="72280" x="7891463" y="1720850"/>
          <p14:tracePt t="72282" x="7891463" y="1738313"/>
          <p14:tracePt t="72284" x="7891463" y="1749425"/>
          <p14:tracePt t="72286" x="7891463" y="1757363"/>
          <p14:tracePt t="72287" x="7891463" y="1765300"/>
          <p14:tracePt t="72288" x="7891463" y="1770063"/>
          <p14:tracePt t="72289" x="7891463" y="1778000"/>
          <p14:tracePt t="72290" x="7891463" y="1781175"/>
          <p14:tracePt t="72291" x="7891463" y="1785938"/>
          <p14:tracePt t="72292" x="7896225" y="1789113"/>
          <p14:tracePt t="72293" x="7896225" y="1797050"/>
          <p14:tracePt t="72294" x="7896225" y="1801813"/>
          <p14:tracePt t="72295" x="7896225" y="1809750"/>
          <p14:tracePt t="72296" x="7896225" y="1812925"/>
          <p14:tracePt t="72297" x="7896225" y="1820863"/>
          <p14:tracePt t="72298" x="7896225" y="1830388"/>
          <p14:tracePt t="72299" x="7896225" y="1833563"/>
          <p14:tracePt t="72300" x="7896225" y="1838325"/>
          <p14:tracePt t="72301" x="7896225" y="1846263"/>
          <p14:tracePt t="72302" x="7896225" y="1854200"/>
          <p14:tracePt t="72303" x="7896225" y="1857375"/>
          <p14:tracePt t="72304" x="7896225" y="1862138"/>
          <p14:tracePt t="72305" x="7896225" y="1870075"/>
          <p14:tracePt t="72307" x="7896225" y="1878013"/>
          <p14:tracePt t="72308" x="7896225" y="1881188"/>
          <p14:tracePt t="72309" x="7899400" y="1885950"/>
          <p14:tracePt t="72310" x="7899400" y="1889125"/>
          <p14:tracePt t="72311" x="7899400" y="1893888"/>
          <p14:tracePt t="72312" x="7899400" y="1901825"/>
          <p14:tracePt t="72313" x="7899400" y="1909763"/>
          <p14:tracePt t="72314" x="7899400" y="1912938"/>
          <p14:tracePt t="72315" x="7899400" y="1917700"/>
          <p14:tracePt t="72316" x="7899400" y="1922463"/>
          <p14:tracePt t="72317" x="7899400" y="1925638"/>
          <p14:tracePt t="72318" x="7899400" y="1933575"/>
          <p14:tracePt t="72319" x="7899400" y="1938338"/>
          <p14:tracePt t="72320" x="7899400" y="1941513"/>
          <p14:tracePt t="72321" x="7899400" y="1946275"/>
          <p14:tracePt t="72322" x="7899400" y="1949450"/>
          <p14:tracePt t="72323" x="7899400" y="1954213"/>
          <p14:tracePt t="72324" x="7899400" y="1957388"/>
          <p14:tracePt t="72325" x="7899400" y="1962150"/>
          <p14:tracePt t="72326" x="7899400" y="1965325"/>
          <p14:tracePt t="72327" x="7899400" y="1970088"/>
          <p14:tracePt t="72328" x="7899400" y="1973263"/>
          <p14:tracePt t="72329" x="7904163" y="1978025"/>
          <p14:tracePt t="72330" x="7904163" y="1981200"/>
          <p14:tracePt t="72332" x="7904163" y="1985963"/>
          <p14:tracePt t="72333" x="7904163" y="1989138"/>
          <p14:tracePt t="72335" x="7904163" y="1993900"/>
          <p14:tracePt t="72336" x="7904163" y="1997075"/>
          <p14:tracePt t="72338" x="7904163" y="2005013"/>
          <p14:tracePt t="72340" x="7904163" y="2009775"/>
          <p14:tracePt t="72342" x="7904163" y="2014538"/>
          <p14:tracePt t="72343" x="7904163" y="2017713"/>
          <p14:tracePt t="72345" x="7907338" y="2022475"/>
          <p14:tracePt t="72350" x="7907338" y="2025650"/>
          <p14:tracePt t="72353" x="7907338" y="2030413"/>
          <p14:tracePt t="72355" x="7907338" y="2033588"/>
          <p14:tracePt t="72356" x="7907338" y="2038350"/>
          <p14:tracePt t="72359" x="7907338" y="2041525"/>
          <p14:tracePt t="72366" x="7907338" y="2046288"/>
          <p14:tracePt t="72370" x="7907338" y="2049463"/>
          <p14:tracePt t="72527" x="7904163" y="2049463"/>
          <p14:tracePt t="72529" x="7904163" y="2054225"/>
          <p14:tracePt t="72541" x="7904163" y="2057400"/>
          <p14:tracePt t="72554" x="7904163" y="2062163"/>
          <p14:tracePt t="72556" x="7899400" y="2062163"/>
          <p14:tracePt t="72572" x="7896225" y="2062163"/>
          <p14:tracePt t="72591" x="7891463" y="2062163"/>
          <p14:tracePt t="72606" x="7888288" y="2062163"/>
          <p14:tracePt t="72617" x="7883525" y="2062163"/>
          <p14:tracePt t="72622" x="7880350" y="2062163"/>
          <p14:tracePt t="72629" x="7880350" y="2057400"/>
          <p14:tracePt t="72635" x="7875588" y="2057400"/>
          <p14:tracePt t="72642" x="7875588" y="2054225"/>
          <p14:tracePt t="72644" x="7872413" y="2054225"/>
          <p14:tracePt t="73596" x="7875588" y="2054225"/>
          <p14:tracePt t="73601" x="7880350" y="2057400"/>
          <p14:tracePt t="73606" x="7883525" y="2057400"/>
          <p14:tracePt t="73647" x="7883525" y="2062163"/>
          <p14:tracePt t="73658" x="7883525" y="2065338"/>
          <p14:tracePt t="73663" x="7888288" y="2065338"/>
          <p14:tracePt t="73665" x="7888288" y="2070100"/>
          <p14:tracePt t="73667" x="7888288" y="2073275"/>
          <p14:tracePt t="73668" x="7891463" y="2078038"/>
          <p14:tracePt t="73671" x="7891463" y="2081213"/>
          <p14:tracePt t="73675" x="7891463" y="2085975"/>
          <p14:tracePt t="73676" x="7891463" y="2089150"/>
          <p14:tracePt t="73677" x="7891463" y="2093913"/>
          <p14:tracePt t="73679" x="7891463" y="2097088"/>
          <p14:tracePt t="73683" x="7891463" y="2101850"/>
          <p14:tracePt t="73684" x="7891463" y="2106613"/>
          <p14:tracePt t="73689" x="7891463" y="2109788"/>
          <p14:tracePt t="73691" x="7891463" y="2114550"/>
          <p14:tracePt t="73693" x="7891463" y="2117725"/>
          <p14:tracePt t="73694" x="7891463" y="2122488"/>
          <p14:tracePt t="73696" x="7891463" y="2125663"/>
          <p14:tracePt t="73699" x="7888288" y="2133600"/>
          <p14:tracePt t="73701" x="7883525" y="2133600"/>
          <p14:tracePt t="73703" x="7880350" y="2138363"/>
          <p14:tracePt t="73704" x="7875588" y="2146300"/>
          <p14:tracePt t="73706" x="7872413" y="2149475"/>
          <p14:tracePt t="73708" x="7867650" y="2154238"/>
          <p14:tracePt t="73710" x="7864475" y="2157413"/>
          <p14:tracePt t="73712" x="7859713" y="2162175"/>
          <p14:tracePt t="73715" x="7851775" y="2170113"/>
          <p14:tracePt t="73718" x="7847013" y="2173288"/>
          <p14:tracePt t="73719" x="7839075" y="2178050"/>
          <p14:tracePt t="73721" x="7835900" y="2181225"/>
          <p14:tracePt t="73722" x="7827963" y="2185988"/>
          <p14:tracePt t="73723" x="7823200" y="2185988"/>
          <p14:tracePt t="73724" x="7823200" y="2189163"/>
          <p14:tracePt t="73725" x="7820025" y="2189163"/>
          <p14:tracePt t="73726" x="7815263" y="2193925"/>
          <p14:tracePt t="73727" x="7812088" y="2193925"/>
          <p14:tracePt t="73729" x="7804150" y="2198688"/>
          <p14:tracePt t="73731" x="7796213" y="2206625"/>
          <p14:tracePt t="73732" x="7788275" y="2206625"/>
          <p14:tracePt t="73733" x="7783513" y="2206625"/>
          <p14:tracePt t="73734" x="7780338" y="2209800"/>
          <p14:tracePt t="73735" x="7772400" y="2209800"/>
          <p14:tracePt t="73736" x="7772400" y="2214563"/>
          <p14:tracePt t="73737" x="7767638" y="2214563"/>
          <p14:tracePt t="73738" x="7759700" y="2217738"/>
          <p14:tracePt t="73739" x="7754938" y="2217738"/>
          <p14:tracePt t="73740" x="7747000" y="2222500"/>
          <p14:tracePt t="73741" x="7743825" y="2222500"/>
          <p14:tracePt t="73742" x="7735888" y="2225675"/>
          <p14:tracePt t="73743" x="7731125" y="2225675"/>
          <p14:tracePt t="73744" x="7723188" y="2225675"/>
          <p14:tracePt t="73745" x="7715250" y="2230438"/>
          <p14:tracePt t="73746" x="7712075" y="2230438"/>
          <p14:tracePt t="73747" x="7704138" y="2230438"/>
          <p14:tracePt t="73748" x="7696200" y="2230438"/>
          <p14:tracePt t="73749" x="7691438" y="2230438"/>
          <p14:tracePt t="73750" x="7680325" y="2230438"/>
          <p14:tracePt t="73751" x="7675563" y="2233613"/>
          <p14:tracePt t="73752" x="7667625" y="2233613"/>
          <p14:tracePt t="73753" x="7659688" y="2233613"/>
          <p14:tracePt t="73754" x="7651750" y="2233613"/>
          <p14:tracePt t="73755" x="7643813" y="2233613"/>
          <p14:tracePt t="73756" x="7635875" y="2233613"/>
          <p14:tracePt t="73757" x="7627938" y="2233613"/>
          <p14:tracePt t="73758" x="7620000" y="2233613"/>
          <p14:tracePt t="73759" x="7612063" y="2233613"/>
          <p14:tracePt t="73760" x="7596188" y="2233613"/>
          <p14:tracePt t="73761" x="7588250" y="2233613"/>
          <p14:tracePt t="73762" x="7578725" y="2233613"/>
          <p14:tracePt t="73763" x="7570788" y="2233613"/>
          <p14:tracePt t="73764" x="7562850" y="2233613"/>
          <p14:tracePt t="73765" x="7554913" y="2233613"/>
          <p14:tracePt t="73766" x="7546975" y="2233613"/>
          <p14:tracePt t="73767" x="7539038" y="2233613"/>
          <p14:tracePt t="73768" x="7531100" y="2233613"/>
          <p14:tracePt t="73769" x="7523163" y="2233613"/>
          <p14:tracePt t="73770" x="7515225" y="2233613"/>
          <p14:tracePt t="73771" x="7507288" y="2233613"/>
          <p14:tracePt t="73772" x="7499350" y="2233613"/>
          <p14:tracePt t="73773" x="7491413" y="2233613"/>
          <p14:tracePt t="73774" x="7486650" y="2233613"/>
          <p14:tracePt t="73775" x="7478713" y="2233613"/>
          <p14:tracePt t="73776" x="7470775" y="2233613"/>
          <p14:tracePt t="73777" x="7467600" y="2233613"/>
          <p14:tracePt t="73778" x="7462838" y="2233613"/>
          <p14:tracePt t="73779" x="7454900" y="2233613"/>
          <p14:tracePt t="73780" x="7451725" y="2233613"/>
          <p14:tracePt t="73781" x="7446963" y="2233613"/>
          <p14:tracePt t="73782" x="7439025" y="2233613"/>
          <p14:tracePt t="73783" x="7435850" y="2233613"/>
          <p14:tracePt t="73784" x="7431088" y="2233613"/>
          <p14:tracePt t="73787" x="7427913" y="2233613"/>
          <p14:tracePt t="73788" x="7423150" y="2233613"/>
          <p14:tracePt t="73789" x="7419975" y="2233613"/>
          <p14:tracePt t="73791" x="7415213" y="2233613"/>
          <p14:tracePt t="73794" x="7412038" y="2233613"/>
          <p14:tracePt t="73798" x="7407275" y="2233613"/>
          <p14:tracePt t="73821" x="7407275" y="2230438"/>
          <p14:tracePt t="73831" x="7407275" y="2225675"/>
          <p14:tracePt t="73838" x="7415213" y="2222500"/>
          <p14:tracePt t="73840" x="7419975" y="2217738"/>
          <p14:tracePt t="73842" x="7423150" y="2214563"/>
          <p14:tracePt t="73844" x="7423150" y="2209800"/>
          <p14:tracePt t="73845" x="7427913" y="2209800"/>
          <p14:tracePt t="73848" x="7427913" y="2206625"/>
          <p14:tracePt t="73849" x="7435850" y="2201863"/>
          <p14:tracePt t="73850" x="7435850" y="2198688"/>
          <p14:tracePt t="73851" x="7439025" y="2193925"/>
          <p14:tracePt t="73852" x="7443788" y="2189163"/>
          <p14:tracePt t="73854" x="7451725" y="2185988"/>
          <p14:tracePt t="73855" x="7451725" y="2181225"/>
          <p14:tracePt t="73856" x="7454900" y="2178050"/>
          <p14:tracePt t="73857" x="7459663" y="2173288"/>
          <p14:tracePt t="73858" x="7462838" y="2170113"/>
          <p14:tracePt t="73859" x="7467600" y="2170113"/>
          <p14:tracePt t="73860" x="7467600" y="2165350"/>
          <p14:tracePt t="73861" x="7470775" y="2162175"/>
          <p14:tracePt t="73862" x="7475538" y="2154238"/>
          <p14:tracePt t="73863" x="7478713" y="2149475"/>
          <p14:tracePt t="73864" x="7483475" y="2146300"/>
          <p14:tracePt t="73865" x="7483475" y="2141538"/>
          <p14:tracePt t="73866" x="7486650" y="2138363"/>
          <p14:tracePt t="73867" x="7491413" y="2130425"/>
          <p14:tracePt t="73868" x="7494588" y="2125663"/>
          <p14:tracePt t="73869" x="7499350" y="2117725"/>
          <p14:tracePt t="73870" x="7504113" y="2114550"/>
          <p14:tracePt t="73871" x="7507288" y="2109788"/>
          <p14:tracePt t="73872" x="7512050" y="2101850"/>
          <p14:tracePt t="73873" x="7515225" y="2093913"/>
          <p14:tracePt t="73874" x="7515225" y="2085975"/>
          <p14:tracePt t="73875" x="7519988" y="2081213"/>
          <p14:tracePt t="73876" x="7523163" y="2073275"/>
          <p14:tracePt t="73877" x="7531100" y="2062163"/>
          <p14:tracePt t="73878" x="7535863" y="2057400"/>
          <p14:tracePt t="73879" x="7539038" y="2049463"/>
          <p14:tracePt t="73880" x="7543800" y="2038350"/>
          <p14:tracePt t="73881" x="7546975" y="2030413"/>
          <p14:tracePt t="73882" x="7551738" y="2022475"/>
          <p14:tracePt t="73885" x="7567613" y="1997075"/>
          <p14:tracePt t="73887" x="7575550" y="1973263"/>
          <p14:tracePt t="73888" x="7583488" y="1965325"/>
          <p14:tracePt t="73889" x="7588250" y="1954213"/>
          <p14:tracePt t="73890" x="7591425" y="1946275"/>
          <p14:tracePt t="73891" x="7599363" y="1938338"/>
          <p14:tracePt t="73892" x="7604125" y="1925638"/>
          <p14:tracePt t="73893" x="7607300" y="1912938"/>
          <p14:tracePt t="73894" x="7607300" y="1905000"/>
          <p14:tracePt t="73895" x="7612063" y="1897063"/>
          <p14:tracePt t="73898" x="7623175" y="1862138"/>
          <p14:tracePt t="73899" x="7627938" y="1854200"/>
          <p14:tracePt t="73902" x="7643813" y="1820863"/>
          <p14:tracePt t="73903" x="7643813" y="1812925"/>
          <p14:tracePt t="73904" x="7646988" y="1804988"/>
          <p14:tracePt t="73905" x="7651750" y="1789113"/>
          <p14:tracePt t="73906" x="7651750" y="1781175"/>
          <p14:tracePt t="73907" x="7654925" y="1765300"/>
          <p14:tracePt t="73908" x="7654925" y="1757363"/>
          <p14:tracePt t="73909" x="7659688" y="1749425"/>
          <p14:tracePt t="73910" x="7662863" y="1741488"/>
          <p14:tracePt t="73911" x="7662863" y="1728788"/>
          <p14:tracePt t="73912" x="7667625" y="1717675"/>
          <p14:tracePt t="73913" x="7667625" y="1704975"/>
          <p14:tracePt t="73914" x="7675563" y="1697038"/>
          <p14:tracePt t="73915" x="7680325" y="1689100"/>
          <p14:tracePt t="73917" x="7683500" y="1670050"/>
          <p14:tracePt t="73918" x="7688263" y="1662113"/>
          <p14:tracePt t="73919" x="7688263" y="1654175"/>
          <p14:tracePt t="73920" x="7691438" y="1644650"/>
          <p14:tracePt t="73921" x="7691438" y="1636713"/>
          <p14:tracePt t="73922" x="7696200" y="1628775"/>
          <p14:tracePt t="73923" x="7696200" y="1620838"/>
          <p14:tracePt t="73924" x="7699375" y="1612900"/>
          <p14:tracePt t="73925" x="7699375" y="1604963"/>
          <p14:tracePt t="73926" x="7704138" y="1601788"/>
          <p14:tracePt t="73927" x="7704138" y="1593850"/>
          <p14:tracePt t="73928" x="7707313" y="1581150"/>
          <p14:tracePt t="73929" x="7707313" y="1573213"/>
          <p14:tracePt t="73930" x="7712075" y="1565275"/>
          <p14:tracePt t="73931" x="7712075" y="1562100"/>
          <p14:tracePt t="73932" x="7712075" y="1552575"/>
          <p14:tracePt t="73935" x="7715250" y="1533525"/>
          <p14:tracePt t="73936" x="7715250" y="1528763"/>
          <p14:tracePt t="73937" x="7715250" y="1525588"/>
          <p14:tracePt t="73938" x="7715250" y="1520825"/>
          <p14:tracePt t="73939" x="7715250" y="1512888"/>
          <p14:tracePt t="73940" x="7715250" y="1509713"/>
          <p14:tracePt t="73941" x="7715250" y="1504950"/>
          <p14:tracePt t="73942" x="7715250" y="1501775"/>
          <p14:tracePt t="73943" x="7715250" y="1493838"/>
          <p14:tracePt t="73944" x="7715250" y="1489075"/>
          <p14:tracePt t="73945" x="7715250" y="1485900"/>
          <p14:tracePt t="73946" x="7715250" y="1481138"/>
          <p14:tracePt t="73947" x="7715250" y="1477963"/>
          <p14:tracePt t="73948" x="7715250" y="1473200"/>
          <p14:tracePt t="73951" x="7715250" y="1470025"/>
          <p14:tracePt t="73953" x="7712075" y="1465263"/>
          <p14:tracePt t="73954" x="7712075" y="1460500"/>
          <p14:tracePt t="73956" x="7707313" y="1460500"/>
          <p14:tracePt t="73958" x="7707313" y="1457325"/>
          <p14:tracePt t="73993" x="7707313" y="1460500"/>
          <p14:tracePt t="73996" x="7707313" y="1465263"/>
          <p14:tracePt t="73998" x="7707313" y="1470025"/>
          <p14:tracePt t="74001" x="7707313" y="1473200"/>
          <p14:tracePt t="74002" x="7707313" y="1477963"/>
          <p14:tracePt t="74003" x="7707313" y="1481138"/>
          <p14:tracePt t="74004" x="7707313" y="1485900"/>
          <p14:tracePt t="74005" x="7707313" y="1489075"/>
          <p14:tracePt t="74006" x="7707313" y="1497013"/>
          <p14:tracePt t="74007" x="7707313" y="1501775"/>
          <p14:tracePt t="74008" x="7707313" y="1504950"/>
          <p14:tracePt t="74009" x="7707313" y="1512888"/>
          <p14:tracePt t="74010" x="7707313" y="1517650"/>
          <p14:tracePt t="74011" x="7707313" y="1520825"/>
          <p14:tracePt t="74012" x="7707313" y="1525588"/>
          <p14:tracePt t="74013" x="7712075" y="1528763"/>
          <p14:tracePt t="74014" x="7712075" y="1541463"/>
          <p14:tracePt t="74015" x="7712075" y="1544638"/>
          <p14:tracePt t="74016" x="7712075" y="1552575"/>
          <p14:tracePt t="74017" x="7715250" y="1557338"/>
          <p14:tracePt t="74018" x="7715250" y="1565275"/>
          <p14:tracePt t="74019" x="7720013" y="1573213"/>
          <p14:tracePt t="74020" x="7727950" y="1585913"/>
          <p14:tracePt t="74021" x="7731125" y="1593850"/>
          <p14:tracePt t="74022" x="7731125" y="1597025"/>
          <p14:tracePt t="74023" x="7735888" y="1604963"/>
          <p14:tracePt t="74024" x="7743825" y="1617663"/>
          <p14:tracePt t="74026" x="7747000" y="1633538"/>
          <p14:tracePt t="74027" x="7751763" y="1636713"/>
          <p14:tracePt t="74028" x="7754938" y="1644650"/>
          <p14:tracePt t="74029" x="7759700" y="1662113"/>
          <p14:tracePt t="74031" x="7775575" y="1677988"/>
          <p14:tracePt t="74032" x="7780338" y="1689100"/>
          <p14:tracePt t="74033" x="7783513" y="1697038"/>
          <p14:tracePt t="74034" x="7788275" y="1704975"/>
          <p14:tracePt t="74035" x="7791450" y="1712913"/>
          <p14:tracePt t="74036" x="7799388" y="1720850"/>
          <p14:tracePt t="74037" x="7804150" y="1733550"/>
          <p14:tracePt t="74038" x="7807325" y="1741488"/>
          <p14:tracePt t="74039" x="7820025" y="1749425"/>
          <p14:tracePt t="74040" x="7823200" y="1757363"/>
          <p14:tracePt t="74041" x="7827963" y="1765300"/>
          <p14:tracePt t="74042" x="7831138" y="1778000"/>
          <p14:tracePt t="74043" x="7835900" y="1778000"/>
          <p14:tracePt t="74044" x="7843838" y="1793875"/>
          <p14:tracePt t="74045" x="7847013" y="1801813"/>
          <p14:tracePt t="74046" x="7854950" y="1804988"/>
          <p14:tracePt t="74047" x="7859713" y="1812925"/>
          <p14:tracePt t="74048" x="7864475" y="1820863"/>
          <p14:tracePt t="74050" x="7880350" y="1841500"/>
          <p14:tracePt t="74051" x="7883525" y="1846263"/>
          <p14:tracePt t="74052" x="7888288" y="1854200"/>
          <p14:tracePt t="74053" x="7891463" y="1862138"/>
          <p14:tracePt t="74054" x="7899400" y="1870075"/>
          <p14:tracePt t="74055" x="7904163" y="1878013"/>
          <p14:tracePt t="74056" x="7907338" y="1881188"/>
          <p14:tracePt t="74057" x="7912100" y="1889125"/>
          <p14:tracePt t="74058" x="7915275" y="1893888"/>
          <p14:tracePt t="74059" x="7920038" y="1901825"/>
          <p14:tracePt t="74060" x="7927975" y="1905000"/>
          <p14:tracePt t="74061" x="7931150" y="1912938"/>
          <p14:tracePt t="74062" x="7935913" y="1917700"/>
          <p14:tracePt t="74063" x="7939088" y="1922463"/>
          <p14:tracePt t="74064" x="7943850" y="1930400"/>
          <p14:tracePt t="74065" x="7948613" y="1938338"/>
          <p14:tracePt t="74066" x="7951788" y="1941513"/>
          <p14:tracePt t="74068" x="7959725" y="1954213"/>
          <p14:tracePt t="74069" x="7964488" y="1957388"/>
          <p14:tracePt t="74070" x="7967663" y="1965325"/>
          <p14:tracePt t="74071" x="7972425" y="1970088"/>
          <p14:tracePt t="74072" x="7975600" y="1973263"/>
          <p14:tracePt t="74073" x="7980363" y="1978025"/>
          <p14:tracePt t="74074" x="7980363" y="1981200"/>
          <p14:tracePt t="74075" x="7988300" y="1989138"/>
          <p14:tracePt t="74076" x="7988300" y="1993900"/>
          <p14:tracePt t="74077" x="7991475" y="1997075"/>
          <p14:tracePt t="74078" x="7996238" y="2001838"/>
          <p14:tracePt t="74080" x="7999413" y="2009775"/>
          <p14:tracePt t="74081" x="7999413" y="2014538"/>
          <p14:tracePt t="74082" x="7999413" y="2017713"/>
          <p14:tracePt t="74083" x="8004175" y="2022475"/>
          <p14:tracePt t="74086" x="8012113" y="2033588"/>
          <p14:tracePt t="74087" x="8015288" y="2038350"/>
          <p14:tracePt t="74088" x="8015288" y="2041525"/>
          <p14:tracePt t="74089" x="8015288" y="2046288"/>
          <p14:tracePt t="74090" x="8020050" y="2049463"/>
          <p14:tracePt t="74091" x="8023225" y="2049463"/>
          <p14:tracePt t="74092" x="8023225" y="2054225"/>
          <p14:tracePt t="74093" x="8023225" y="2057400"/>
          <p14:tracePt t="74094" x="8027988" y="2062163"/>
          <p14:tracePt t="74095" x="8027988" y="2070100"/>
          <p14:tracePt t="74096" x="8027988" y="2073275"/>
          <p14:tracePt t="74097" x="8031163" y="2073275"/>
          <p14:tracePt t="74098" x="8031163" y="2078038"/>
          <p14:tracePt t="74100" x="8035925" y="2089150"/>
          <p14:tracePt t="74101" x="8035925" y="2093913"/>
          <p14:tracePt t="74102" x="8040688" y="2097088"/>
          <p14:tracePt t="74104" x="8040688" y="2106613"/>
          <p14:tracePt t="74105" x="8043863" y="2114550"/>
          <p14:tracePt t="74107" x="8043863" y="2117725"/>
          <p14:tracePt t="74108" x="8043863" y="2122488"/>
          <p14:tracePt t="74109" x="8043863" y="2125663"/>
          <p14:tracePt t="74110" x="8043863" y="2133600"/>
          <p14:tracePt t="74111" x="8043863" y="2141538"/>
          <p14:tracePt t="74112" x="8048625" y="2146300"/>
          <p14:tracePt t="74113" x="8048625" y="2154238"/>
          <p14:tracePt t="74114" x="8048625" y="2157413"/>
          <p14:tracePt t="74116" x="8051800" y="2173288"/>
          <p14:tracePt t="74117" x="8051800" y="2178050"/>
          <p14:tracePt t="74118" x="8056563" y="2185988"/>
          <p14:tracePt t="74119" x="8056563" y="2193925"/>
          <p14:tracePt t="74120" x="8056563" y="2201863"/>
          <p14:tracePt t="74121" x="8059738" y="2209800"/>
          <p14:tracePt t="74122" x="8059738" y="2214563"/>
          <p14:tracePt t="74123" x="8059738" y="2222500"/>
          <p14:tracePt t="74124" x="8059738" y="2230438"/>
          <p14:tracePt t="74125" x="8059738" y="2238375"/>
          <p14:tracePt t="74126" x="8064500" y="2246313"/>
          <p14:tracePt t="74127" x="8064500" y="2254250"/>
          <p14:tracePt t="74128" x="8064500" y="2262188"/>
          <p14:tracePt t="74129" x="8064500" y="2270125"/>
          <p14:tracePt t="74130" x="8064500" y="2286000"/>
          <p14:tracePt t="74131" x="8067675" y="2293938"/>
          <p14:tracePt t="74133" x="8067675" y="2309813"/>
          <p14:tracePt t="74134" x="8067675" y="2317750"/>
          <p14:tracePt t="74135" x="8067675" y="2325688"/>
          <p14:tracePt t="74136" x="8067675" y="2341563"/>
          <p14:tracePt t="74137" x="8067675" y="2349500"/>
          <p14:tracePt t="74138" x="8067675" y="2357438"/>
          <p14:tracePt t="74139" x="8067675" y="2365375"/>
          <p14:tracePt t="74140" x="8067675" y="2386013"/>
          <p14:tracePt t="74141" x="8067675" y="2393950"/>
          <p14:tracePt t="74142" x="8072438" y="2401888"/>
          <p14:tracePt t="74143" x="8072438" y="2414588"/>
          <p14:tracePt t="74144" x="8072438" y="2422525"/>
          <p14:tracePt t="74145" x="8072438" y="2430463"/>
          <p14:tracePt t="74146" x="8072438" y="2449513"/>
          <p14:tracePt t="74147" x="8072438" y="2457450"/>
          <p14:tracePt t="74149" x="8072438" y="2482850"/>
          <p14:tracePt t="74150" x="8072438" y="2490788"/>
          <p14:tracePt t="74151" x="8072438" y="2506663"/>
          <p14:tracePt t="74152" x="8072438" y="2514600"/>
          <p14:tracePt t="74153" x="8072438" y="2525713"/>
          <p14:tracePt t="74154" x="8072438" y="2538413"/>
          <p14:tracePt t="74155" x="8072438" y="2546350"/>
          <p14:tracePt t="74156" x="8072438" y="2566988"/>
          <p14:tracePt t="74157" x="8072438" y="2574925"/>
          <p14:tracePt t="74158" x="8072438" y="2586038"/>
          <p14:tracePt t="74159" x="8072438" y="2593975"/>
          <p14:tracePt t="74160" x="8072438" y="2609850"/>
          <p14:tracePt t="74161" x="8072438" y="2622550"/>
          <p14:tracePt t="74162" x="8072438" y="2630488"/>
          <p14:tracePt t="74163" x="8072438" y="2646363"/>
          <p14:tracePt t="74164" x="8072438" y="2654300"/>
          <p14:tracePt t="74165" x="8072438" y="2667000"/>
          <p14:tracePt t="74166" x="8072438" y="2678113"/>
          <p14:tracePt t="74167" x="8072438" y="2690813"/>
          <p14:tracePt t="74168" x="8072438" y="2701925"/>
          <p14:tracePt t="74169" x="8072438" y="2709863"/>
          <p14:tracePt t="74170" x="8072438" y="2717800"/>
          <p14:tracePt t="74171" x="8072438" y="2733675"/>
          <p14:tracePt t="74172" x="8072438" y="2741613"/>
          <p14:tracePt t="74173" x="8072438" y="2751138"/>
          <p14:tracePt t="74174" x="8072438" y="2759075"/>
          <p14:tracePt t="74175" x="8067675" y="2767013"/>
          <p14:tracePt t="74176" x="8067675" y="2778125"/>
          <p14:tracePt t="74177" x="8067675" y="2786063"/>
          <p14:tracePt t="74178" x="8067675" y="2790825"/>
          <p14:tracePt t="74179" x="8067675" y="2798763"/>
          <p14:tracePt t="74181" x="8064500" y="2814638"/>
          <p14:tracePt t="74182" x="8064500" y="2822575"/>
          <p14:tracePt t="74183" x="8064500" y="2825750"/>
          <p14:tracePt t="74184" x="8059738" y="2830513"/>
          <p14:tracePt t="74185" x="8059738" y="2833688"/>
          <p14:tracePt t="74186" x="8059738" y="2843213"/>
          <p14:tracePt t="74187" x="8056563" y="2846388"/>
          <p14:tracePt t="74188" x="8056563" y="2851150"/>
          <p14:tracePt t="74189" x="8056563" y="2854325"/>
          <p14:tracePt t="74191" x="8056563" y="2859088"/>
          <p14:tracePt t="74193" x="8056563" y="2862263"/>
          <p14:tracePt t="74195" x="8051800" y="2862263"/>
          <p14:tracePt t="74224" x="8051800" y="2859088"/>
          <p14:tracePt t="74227" x="8051800" y="2854325"/>
          <p14:tracePt t="74231" x="8051800" y="2851150"/>
          <p14:tracePt t="74234" x="8051800" y="2846388"/>
          <p14:tracePt t="74238" x="8051800" y="2843213"/>
          <p14:tracePt t="74242" x="8051800" y="2838450"/>
          <p14:tracePt t="74245" x="8051800" y="2833688"/>
          <p14:tracePt t="74251" x="8051800" y="2830513"/>
          <p14:tracePt t="74254" x="8051800" y="2825750"/>
          <p14:tracePt t="74258" x="8051800" y="2822575"/>
          <p14:tracePt t="74261" x="8051800" y="2817813"/>
          <p14:tracePt t="74263" x="8051800" y="2814638"/>
          <p14:tracePt t="74267" x="8051800" y="2809875"/>
          <p14:tracePt t="74273" x="8056563" y="2809875"/>
          <p14:tracePt t="74277" x="8056563" y="2806700"/>
          <p14:tracePt t="74293" x="8056563" y="2801938"/>
          <p14:tracePt t="74306" x="8059738" y="2801938"/>
          <p14:tracePt t="74317" x="8059738" y="2798763"/>
          <p14:tracePt t="74322" x="8059738" y="2794000"/>
          <p14:tracePt t="74323" x="8064500" y="2794000"/>
          <p14:tracePt t="74325" x="8064500" y="2790825"/>
          <p14:tracePt t="74327" x="8067675" y="2790825"/>
          <p14:tracePt t="74331" x="8072438" y="2786063"/>
          <p14:tracePt t="74333" x="8072438" y="2782888"/>
          <p14:tracePt t="74334" x="8075613" y="2782888"/>
          <p14:tracePt t="74335" x="8075613" y="2778125"/>
          <p14:tracePt t="74336" x="8080375" y="2778125"/>
          <p14:tracePt t="74338" x="8080375" y="2774950"/>
          <p14:tracePt t="74339" x="8083550" y="2770188"/>
          <p14:tracePt t="76479" x="8083550" y="2767013"/>
          <p14:tracePt t="76488" x="8088313" y="2767013"/>
          <p14:tracePt t="76490" x="8088313" y="2762250"/>
          <p14:tracePt t="76491" x="8088313" y="2759075"/>
          <p14:tracePt t="76493" x="8091488" y="2754313"/>
          <p14:tracePt t="76496" x="8091488" y="2751138"/>
          <p14:tracePt t="76501" x="8091488" y="2746375"/>
          <p14:tracePt t="76502" x="8096250" y="2741613"/>
          <p14:tracePt t="76504" x="8096250" y="2738438"/>
          <p14:tracePt t="76509" x="8096250" y="2733675"/>
          <p14:tracePt t="76526" x="8099425" y="2733675"/>
          <p14:tracePt t="76537" x="8104188" y="2733675"/>
          <p14:tracePt t="76539" x="8107363" y="2733675"/>
          <p14:tracePt t="76541" x="8112125" y="2733675"/>
          <p14:tracePt t="76544" x="8128000" y="2733675"/>
          <p14:tracePt t="76546" x="8132763" y="2733675"/>
          <p14:tracePt t="76547" x="8135938" y="2733675"/>
          <p14:tracePt t="76550" x="8156575" y="2733675"/>
          <p14:tracePt t="76551" x="8159750" y="2733675"/>
          <p14:tracePt t="76554" x="8175625" y="2738438"/>
          <p14:tracePt t="76556" x="8188325" y="2741613"/>
          <p14:tracePt t="76558" x="8204200" y="2746375"/>
          <p14:tracePt t="76561" x="8215313" y="2751138"/>
          <p14:tracePt t="76562" x="8228013" y="2754313"/>
          <p14:tracePt t="76563" x="8235950" y="2754313"/>
          <p14:tracePt t="76564" x="8240713" y="2759075"/>
          <p14:tracePt t="76567" x="8264525" y="2767013"/>
          <p14:tracePt t="76570" x="8275638" y="2770188"/>
          <p14:tracePt t="76571" x="8283575" y="2774950"/>
          <p14:tracePt t="76572" x="8296275" y="2774950"/>
          <p14:tracePt t="76573" x="8304213" y="2778125"/>
          <p14:tracePt t="76576" x="8324850" y="2790825"/>
          <p14:tracePt t="76578" x="8340725" y="2798763"/>
          <p14:tracePt t="76579" x="8343900" y="2798763"/>
          <p14:tracePt t="76580" x="8351838" y="2801938"/>
          <p14:tracePt t="76581" x="8359775" y="2806700"/>
          <p14:tracePt t="76582" x="8364538" y="2809875"/>
          <p14:tracePt t="76583" x="8372475" y="2814638"/>
          <p14:tracePt t="76584" x="8375650" y="2814638"/>
          <p14:tracePt t="76585" x="8383588" y="2817813"/>
          <p14:tracePt t="76586" x="8391525" y="2822575"/>
          <p14:tracePt t="76587" x="8396288" y="2825750"/>
          <p14:tracePt t="76588" x="8401050" y="2830513"/>
          <p14:tracePt t="76589" x="8408988" y="2833688"/>
          <p14:tracePt t="76590" x="8416925" y="2838450"/>
          <p14:tracePt t="76591" x="8420100" y="2843213"/>
          <p14:tracePt t="76592" x="8428038" y="2846388"/>
          <p14:tracePt t="76593" x="8432800" y="2851150"/>
          <p14:tracePt t="76594" x="8435975" y="2851150"/>
          <p14:tracePt t="76595" x="8440738" y="2854325"/>
          <p14:tracePt t="76596" x="8448675" y="2862263"/>
          <p14:tracePt t="76597" x="8451850" y="2862263"/>
          <p14:tracePt t="76598" x="8456613" y="2862263"/>
          <p14:tracePt t="76599" x="8459788" y="2867025"/>
          <p14:tracePt t="76601" x="8467725" y="2874963"/>
          <p14:tracePt t="76601" x="8472488" y="2874963"/>
          <p14:tracePt t="76602" x="8475663" y="2878138"/>
          <p14:tracePt t="76604" x="8480425" y="2886075"/>
          <p14:tracePt t="76605" x="8483600" y="2890838"/>
          <p14:tracePt t="76606" x="8493125" y="2894013"/>
          <p14:tracePt t="76607" x="8493125" y="2898775"/>
          <p14:tracePt t="76608" x="8493125" y="2901950"/>
          <p14:tracePt t="76609" x="8496300" y="2906713"/>
          <p14:tracePt t="76610" x="8501063" y="2909888"/>
          <p14:tracePt t="76611" x="8504238" y="2914650"/>
          <p14:tracePt t="76612" x="8509000" y="2917825"/>
          <p14:tracePt t="76613" x="8512175" y="2917825"/>
          <p14:tracePt t="76614" x="8516938" y="2922588"/>
          <p14:tracePt t="76615" x="8520113" y="2930525"/>
          <p14:tracePt t="76616" x="8524875" y="2935288"/>
          <p14:tracePt t="76617" x="8528050" y="2938463"/>
          <p14:tracePt t="76618" x="8528050" y="2943225"/>
          <p14:tracePt t="76620" x="8535988" y="2954338"/>
          <p14:tracePt t="76621" x="8540750" y="2959100"/>
          <p14:tracePt t="76622" x="8543925" y="2962275"/>
          <p14:tracePt t="76623" x="8548688" y="2970213"/>
          <p14:tracePt t="76624" x="8548688" y="2974975"/>
          <p14:tracePt t="76625" x="8551863" y="2978150"/>
          <p14:tracePt t="76626" x="8556625" y="2986088"/>
          <p14:tracePt t="76627" x="8559800" y="2994025"/>
          <p14:tracePt t="76628" x="8564563" y="2998788"/>
          <p14:tracePt t="76629" x="8567738" y="3001963"/>
          <p14:tracePt t="76630" x="8572500" y="3009900"/>
          <p14:tracePt t="76631" x="8585200" y="3019425"/>
          <p14:tracePt t="76632" x="8585200" y="3022600"/>
          <p14:tracePt t="76633" x="8588375" y="3030538"/>
          <p14:tracePt t="76634" x="8596313" y="3038475"/>
          <p14:tracePt t="76636" x="8609013" y="3054350"/>
          <p14:tracePt t="76637" x="8609013" y="3059113"/>
          <p14:tracePt t="76638" x="8620125" y="3067050"/>
          <p14:tracePt t="76639" x="8624888" y="3074988"/>
          <p14:tracePt t="76640" x="8632825" y="3078163"/>
          <p14:tracePt t="76641" x="8640763" y="3094038"/>
          <p14:tracePt t="76642" x="8648700" y="3101975"/>
          <p14:tracePt t="76643" x="8651875" y="3106738"/>
          <p14:tracePt t="76644" x="8659813" y="3114675"/>
          <p14:tracePt t="76645" x="8672513" y="3122613"/>
          <p14:tracePt t="76646" x="8685213" y="3138488"/>
          <p14:tracePt t="76648" x="8704263" y="3159125"/>
          <p14:tracePt t="76649" x="8712200" y="3167063"/>
          <p14:tracePt t="76651" x="8720138" y="3175000"/>
          <p14:tracePt t="76653" x="8756650" y="3206750"/>
          <p14:tracePt t="76654" x="8764588" y="3219450"/>
          <p14:tracePt t="76655" x="8772525" y="3227388"/>
          <p14:tracePt t="76656" x="8788400" y="3243263"/>
          <p14:tracePt t="76657" x="8804275" y="3251200"/>
          <p14:tracePt t="76658" x="8812213" y="3259138"/>
          <p14:tracePt t="76659" x="8824913" y="3267075"/>
          <p14:tracePt t="76660" x="8836025" y="3275013"/>
          <p14:tracePt t="76661" x="8848725" y="3282950"/>
          <p14:tracePt t="76662" x="8864600" y="3295650"/>
          <p14:tracePt t="76663" x="8877300" y="3303588"/>
          <p14:tracePt t="76664" x="8888413" y="3311525"/>
          <p14:tracePt t="76665" x="8901113" y="3322638"/>
          <p14:tracePt t="76666" x="8916988" y="3330575"/>
          <p14:tracePt t="76668" x="8940800" y="3346450"/>
          <p14:tracePt t="76669" x="8948738" y="3351213"/>
          <p14:tracePt t="76670" x="8956675" y="3359150"/>
          <p14:tracePt t="76671" x="8964613" y="3362325"/>
          <p14:tracePt t="76672" x="8985250" y="3375025"/>
          <p14:tracePt t="76673" x="8996363" y="3378200"/>
          <p14:tracePt t="76674" x="9004300" y="3387725"/>
          <p14:tracePt t="76675" x="9012238" y="3390900"/>
          <p14:tracePt t="76676" x="9020175" y="3395663"/>
          <p14:tracePt t="76677" x="9028113" y="3398838"/>
          <p14:tracePt t="76678" x="9040813" y="3403600"/>
          <p14:tracePt t="76679" x="9048750" y="3406775"/>
          <p14:tracePt t="76680" x="9056688" y="3414713"/>
          <p14:tracePt t="76681" x="9064625" y="3414713"/>
          <p14:tracePt t="76682" x="9072563" y="3419475"/>
          <p14:tracePt t="76683" x="9080500" y="3422650"/>
          <p14:tracePt t="76685" x="9088438" y="3422650"/>
          <p14:tracePt t="76686" x="9101138" y="3427413"/>
          <p14:tracePt t="76687" x="9104313" y="3430588"/>
          <p14:tracePt t="76688" x="9109075" y="3430588"/>
          <p14:tracePt t="76689" x="9112250" y="3430588"/>
          <p14:tracePt t="76690" x="9117013" y="3430588"/>
          <p14:tracePt t="76691" x="9120188" y="3430588"/>
          <p14:tracePt t="76692" x="9129713" y="3430588"/>
          <p14:tracePt t="76694" x="9132888" y="3430588"/>
          <p14:tracePt t="76696" x="9137650" y="3430588"/>
          <p14:tracePt t="76711" x="9137650" y="3427413"/>
          <p14:tracePt t="76713" x="9137650" y="3422650"/>
          <p14:tracePt t="76716" x="9137650" y="3419475"/>
          <p14:tracePt t="76717" x="9137650" y="3414713"/>
          <p14:tracePt t="76719" x="9137650" y="3411538"/>
          <p14:tracePt t="76720" x="9137650" y="3406775"/>
          <p14:tracePt t="76722" x="9137650" y="3403600"/>
          <p14:tracePt t="76723" x="9137650" y="3398838"/>
          <p14:tracePt t="76724" x="9137650" y="3395663"/>
          <p14:tracePt t="76726" x="9132888" y="3390900"/>
          <p14:tracePt t="76727" x="9132888" y="3387725"/>
          <p14:tracePt t="76728" x="9129713" y="3382963"/>
          <p14:tracePt t="76729" x="9129713" y="3378200"/>
          <p14:tracePt t="76730" x="9124950" y="3375025"/>
          <p14:tracePt t="76731" x="9120188" y="3370263"/>
          <p14:tracePt t="76732" x="9120188" y="3362325"/>
          <p14:tracePt t="76733" x="9117013" y="3359150"/>
          <p14:tracePt t="76734" x="9112250" y="3354388"/>
          <p14:tracePt t="76735" x="9109075" y="3351213"/>
          <p14:tracePt t="76736" x="9109075" y="3346450"/>
          <p14:tracePt t="76737" x="9104313" y="3346450"/>
          <p14:tracePt t="76738" x="9101138" y="3338513"/>
          <p14:tracePt t="76739" x="9096375" y="3335338"/>
          <p14:tracePt t="76740" x="9096375" y="3330575"/>
          <p14:tracePt t="76741" x="9093200" y="3327400"/>
          <p14:tracePt t="76742" x="9088438" y="3319463"/>
          <p14:tracePt t="76743" x="9085263" y="3314700"/>
          <p14:tracePt t="76744" x="9080500" y="3311525"/>
          <p14:tracePt t="76745" x="9072563" y="3306763"/>
          <p14:tracePt t="76746" x="9069388" y="3303588"/>
          <p14:tracePt t="76747" x="9064625" y="3298825"/>
          <p14:tracePt t="76748" x="9061450" y="3290888"/>
          <p14:tracePt t="76749" x="9056688" y="3286125"/>
          <p14:tracePt t="76750" x="9053513" y="3282950"/>
          <p14:tracePt t="76751" x="9045575" y="3278188"/>
          <p14:tracePt t="76752" x="9040813" y="3270250"/>
          <p14:tracePt t="76753" x="9037638" y="3267075"/>
          <p14:tracePt t="76754" x="9032875" y="3262313"/>
          <p14:tracePt t="76755" x="9028113" y="3259138"/>
          <p14:tracePt t="76756" x="9020175" y="3254375"/>
          <p14:tracePt t="76757" x="9017000" y="3246438"/>
          <p14:tracePt t="76758" x="9009063" y="3243263"/>
          <p14:tracePt t="76759" x="9004300" y="3238500"/>
          <p14:tracePt t="76760" x="9001125" y="3235325"/>
          <p14:tracePt t="76761" x="8993188" y="3230563"/>
          <p14:tracePt t="76762" x="8988425" y="3227388"/>
          <p14:tracePt t="76763" x="8980488" y="3219450"/>
          <p14:tracePt t="76764" x="8977313" y="3214688"/>
          <p14:tracePt t="76765" x="8969375" y="3211513"/>
          <p14:tracePt t="76767" x="8964613" y="3206750"/>
          <p14:tracePt t="76768" x="8956675" y="3203575"/>
          <p14:tracePt t="76769" x="8953500" y="3198813"/>
          <p14:tracePt t="76770" x="8945563" y="3190875"/>
          <p14:tracePt t="76771" x="8940800" y="3186113"/>
          <p14:tracePt t="76772" x="8932863" y="3182938"/>
          <p14:tracePt t="76773" x="8928100" y="3178175"/>
          <p14:tracePt t="76774" x="8924925" y="3175000"/>
          <p14:tracePt t="76775" x="8920163" y="3170238"/>
          <p14:tracePt t="76776" x="8916988" y="3167063"/>
          <p14:tracePt t="76777" x="8909050" y="3162300"/>
          <p14:tracePt t="76778" x="8904288" y="3159125"/>
          <p14:tracePt t="76779" x="8901113" y="3154363"/>
          <p14:tracePt t="76780" x="8896350" y="3154363"/>
          <p14:tracePt t="76781" x="8893175" y="3151188"/>
          <p14:tracePt t="76782" x="8888413" y="3146425"/>
          <p14:tracePt t="76784" x="8880475" y="3143250"/>
          <p14:tracePt t="76785" x="8877300" y="3143250"/>
          <p14:tracePt t="76787" x="8872538" y="3138488"/>
          <p14:tracePt t="76788" x="8869363" y="3138488"/>
          <p14:tracePt t="76789" x="8864600" y="3135313"/>
          <p14:tracePt t="76790" x="8861425" y="3135313"/>
          <p14:tracePt t="76792" x="8856663" y="3130550"/>
          <p14:tracePt t="76793" x="8853488" y="3130550"/>
          <p14:tracePt t="76795" x="8848725" y="3130550"/>
          <p14:tracePt t="76796" x="8848725" y="3127375"/>
          <p14:tracePt t="76797" x="8843963" y="3127375"/>
          <p14:tracePt t="76799" x="8840788" y="3127375"/>
          <p14:tracePt t="76804" x="8836025" y="3127375"/>
          <p14:tracePt t="76805" x="8836025" y="3122613"/>
          <p14:tracePt t="76808" x="8832850" y="3122613"/>
          <p14:tracePt t="76810" x="8828088" y="3122613"/>
          <p14:tracePt t="76813" x="8824913" y="3122613"/>
          <p14:tracePt t="76816" x="8820150" y="3122613"/>
          <p14:tracePt t="76818" x="8816975" y="3122613"/>
          <p14:tracePt t="76824" x="8812213" y="3122613"/>
          <p14:tracePt t="76828" x="8809038" y="3122613"/>
          <p14:tracePt t="76832" x="8804275" y="3122613"/>
          <p14:tracePt t="76838" x="8801100" y="3122613"/>
          <p14:tracePt t="76840" x="8801100" y="3127375"/>
          <p14:tracePt t="76842" x="8801100" y="3130550"/>
          <p14:tracePt t="76845" x="8801100" y="3135313"/>
          <p14:tracePt t="76847" x="8796338" y="3135313"/>
          <p14:tracePt t="76848" x="8796338" y="3138488"/>
          <p14:tracePt t="76850" x="8793163" y="3138488"/>
          <p14:tracePt t="76851" x="8793163" y="3143250"/>
          <p14:tracePt t="76852" x="8788400" y="3146425"/>
          <p14:tracePt t="76853" x="8788400" y="3151188"/>
          <p14:tracePt t="76855" x="8785225" y="3154363"/>
          <p14:tracePt t="76856" x="8785225" y="3159125"/>
          <p14:tracePt t="76857" x="8780463" y="3159125"/>
          <p14:tracePt t="76858" x="8780463" y="3162300"/>
          <p14:tracePt t="76859" x="8777288" y="3170238"/>
          <p14:tracePt t="76861" x="8772525" y="3175000"/>
          <p14:tracePt t="76862" x="8772525" y="3178175"/>
          <p14:tracePt t="76863" x="8769350" y="3182938"/>
          <p14:tracePt t="76864" x="8764588" y="3190875"/>
          <p14:tracePt t="76865" x="8764588" y="3194050"/>
          <p14:tracePt t="76866" x="8764588" y="3198813"/>
          <p14:tracePt t="76867" x="8761413" y="3206750"/>
          <p14:tracePt t="76869" x="8756650" y="3211513"/>
          <p14:tracePt t="76871" x="8751888" y="3222625"/>
          <p14:tracePt t="76872" x="8751888" y="3227388"/>
          <p14:tracePt t="76873" x="8751888" y="3235325"/>
          <p14:tracePt t="76874" x="8748713" y="3243263"/>
          <p14:tracePt t="76875" x="8748713" y="3246438"/>
          <p14:tracePt t="76876" x="8743950" y="3254375"/>
          <p14:tracePt t="76877" x="8743950" y="3259138"/>
          <p14:tracePt t="76878" x="8743950" y="3267075"/>
          <p14:tracePt t="76879" x="8743950" y="3275013"/>
          <p14:tracePt t="76880" x="8740775" y="3278188"/>
          <p14:tracePt t="76881" x="8740775" y="3286125"/>
          <p14:tracePt t="76882" x="8740775" y="3290888"/>
          <p14:tracePt t="76883" x="8740775" y="3298825"/>
          <p14:tracePt t="76884" x="8736013" y="3306763"/>
          <p14:tracePt t="76886" x="8736013" y="3322638"/>
          <p14:tracePt t="76887" x="8736013" y="3327400"/>
          <p14:tracePt t="76888" x="8736013" y="3335338"/>
          <p14:tracePt t="76889" x="8732838" y="3343275"/>
          <p14:tracePt t="76890" x="8732838" y="3351213"/>
          <p14:tracePt t="76891" x="8732838" y="3354388"/>
          <p14:tracePt t="76892" x="8732838" y="3362325"/>
          <p14:tracePt t="76893" x="8728075" y="3370263"/>
          <p14:tracePt t="76894" x="8728075" y="3378200"/>
          <p14:tracePt t="76895" x="8728075" y="3387725"/>
          <p14:tracePt t="76896" x="8728075" y="3390900"/>
          <p14:tracePt t="76898" x="8728075" y="3406775"/>
          <p14:tracePt t="76899" x="8728075" y="3414713"/>
          <p14:tracePt t="76900" x="8724900" y="3422650"/>
          <p14:tracePt t="76901" x="8724900" y="3430588"/>
          <p14:tracePt t="76902" x="8724900" y="3435350"/>
          <p14:tracePt t="76903" x="8724900" y="3443288"/>
          <p14:tracePt t="76904" x="8724900" y="3451225"/>
          <p14:tracePt t="76905" x="8724900" y="3459163"/>
          <p14:tracePt t="76906" x="8724900" y="3462338"/>
          <p14:tracePt t="76907" x="8724900" y="3470275"/>
          <p14:tracePt t="76908" x="8724900" y="3479800"/>
          <p14:tracePt t="76909" x="8724900" y="3482975"/>
          <p14:tracePt t="76910" x="8724900" y="3490913"/>
          <p14:tracePt t="76911" x="8724900" y="3498850"/>
          <p14:tracePt t="76912" x="8724900" y="3506788"/>
          <p14:tracePt t="76913" x="8724900" y="3511550"/>
          <p14:tracePt t="76914" x="8724900" y="3519488"/>
          <p14:tracePt t="76915" x="8724900" y="3522663"/>
          <p14:tracePt t="76916" x="8724900" y="3530600"/>
          <p14:tracePt t="76917" x="8724900" y="3535363"/>
          <p14:tracePt t="76918" x="8724900" y="3543300"/>
          <p14:tracePt t="76919" x="8724900" y="3546475"/>
          <p14:tracePt t="76920" x="8724900" y="3554413"/>
          <p14:tracePt t="76922" x="8724900" y="3562350"/>
          <p14:tracePt t="76923" x="8724900" y="3567113"/>
          <p14:tracePt t="76924" x="8724900" y="3575050"/>
          <p14:tracePt t="76925" x="8724900" y="3579813"/>
          <p14:tracePt t="76926" x="8724900" y="3582988"/>
          <p14:tracePt t="76927" x="8724900" y="3587750"/>
          <p14:tracePt t="76928" x="8724900" y="3595688"/>
          <p14:tracePt t="76929" x="8724900" y="3598863"/>
          <p14:tracePt t="76930" x="8724900" y="3603625"/>
          <p14:tracePt t="76931" x="8724900" y="3606800"/>
          <p14:tracePt t="76933" x="8724900" y="3611563"/>
          <p14:tracePt t="76934" x="8724900" y="3614738"/>
          <p14:tracePt t="76935" x="8724900" y="3622675"/>
          <p14:tracePt t="76937" x="8724900" y="3627438"/>
          <p14:tracePt t="76938" x="8728075" y="3630613"/>
          <p14:tracePt t="76939" x="8728075" y="3635375"/>
          <p14:tracePt t="76940" x="8728075" y="3638550"/>
          <p14:tracePt t="76942" x="8732838" y="3643313"/>
          <p14:tracePt t="76943" x="8732838" y="3646488"/>
          <p14:tracePt t="76944" x="8732838" y="3651250"/>
          <p14:tracePt t="76945" x="8732838" y="3654425"/>
          <p14:tracePt t="76947" x="8736013" y="3654425"/>
          <p14:tracePt t="76950" x="8736013" y="3659188"/>
          <p14:tracePt t="76951" x="8740775" y="3659188"/>
          <p14:tracePt t="76952" x="8740775" y="3663950"/>
          <p14:tracePt t="76954" x="8740775" y="3667125"/>
          <p14:tracePt t="76957" x="8740775" y="3671888"/>
          <p14:tracePt t="76960" x="8743950" y="3671888"/>
          <p14:tracePt t="76962" x="8743950" y="3675063"/>
          <p14:tracePt t="76963" x="8748713" y="3675063"/>
          <p14:tracePt t="76966" x="8748713" y="3679825"/>
          <p14:tracePt t="76969" x="8748713" y="3683000"/>
          <p14:tracePt t="76970" x="8751888" y="3683000"/>
          <p14:tracePt t="76972" x="8751888" y="3687763"/>
          <p14:tracePt t="76974" x="8756650" y="3687763"/>
          <p14:tracePt t="76976" x="8756650" y="3690938"/>
          <p14:tracePt t="76978" x="8761413" y="3690938"/>
          <p14:tracePt t="76982" x="8764588" y="3690938"/>
          <p14:tracePt t="77010" x="8769350" y="3690938"/>
          <p14:tracePt t="77049" x="8769350" y="3687763"/>
          <p14:tracePt t="77059" x="8772525" y="3687763"/>
          <p14:tracePt t="77062" x="8777288" y="3683000"/>
          <p14:tracePt t="77065" x="8780463" y="3683000"/>
          <p14:tracePt t="77068" x="8780463" y="3679825"/>
          <p14:tracePt t="77070" x="8785225" y="3679825"/>
          <p14:tracePt t="77072" x="8788400" y="3679825"/>
          <p14:tracePt t="77075" x="8793163" y="3679825"/>
          <p14:tracePt t="77077" x="8796338" y="3679825"/>
          <p14:tracePt t="77078" x="8801100" y="3679825"/>
          <p14:tracePt t="77080" x="8804275" y="3679825"/>
          <p14:tracePt t="77082" x="8809038" y="3675063"/>
          <p14:tracePt t="77084" x="8812213" y="3675063"/>
          <p14:tracePt t="77087" x="8816975" y="3675063"/>
          <p14:tracePt t="77089" x="8820150" y="3675063"/>
          <p14:tracePt t="77092" x="8824913" y="3675063"/>
          <p14:tracePt t="77094" x="8828088" y="3675063"/>
          <p14:tracePt t="77095" x="8832850" y="3675063"/>
          <p14:tracePt t="77098" x="8840788" y="3675063"/>
          <p14:tracePt t="77100" x="8843963" y="3675063"/>
          <p14:tracePt t="77102" x="8848725" y="3675063"/>
          <p14:tracePt t="77103" x="8853488" y="3675063"/>
          <p14:tracePt t="77106" x="8861425" y="3675063"/>
          <p14:tracePt t="77107" x="8864600" y="3675063"/>
          <p14:tracePt t="77108" x="8869363" y="3675063"/>
          <p14:tracePt t="77109" x="8872538" y="3675063"/>
          <p14:tracePt t="77111" x="8877300" y="3675063"/>
          <p14:tracePt t="77112" x="8880475" y="3675063"/>
          <p14:tracePt t="77113" x="8885238" y="3675063"/>
          <p14:tracePt t="77114" x="8888413" y="3675063"/>
          <p14:tracePt t="77115" x="8893175" y="3675063"/>
          <p14:tracePt t="77116" x="8896350" y="3675063"/>
          <p14:tracePt t="77117" x="8901113" y="3675063"/>
          <p14:tracePt t="77118" x="8904288" y="3679825"/>
          <p14:tracePt t="77120" x="8909050" y="3679825"/>
          <p14:tracePt t="77121" x="8912225" y="3679825"/>
          <p14:tracePt t="77122" x="8916988" y="3683000"/>
          <p14:tracePt t="77124" x="8920163" y="3683000"/>
          <p14:tracePt t="77125" x="8924925" y="3683000"/>
          <p14:tracePt t="77126" x="8928100" y="3683000"/>
          <p14:tracePt t="77127" x="8932863" y="3683000"/>
          <p14:tracePt t="77128" x="8936038" y="3687763"/>
          <p14:tracePt t="77129" x="8940800" y="3687763"/>
          <p14:tracePt t="77130" x="8945563" y="3687763"/>
          <p14:tracePt t="77131" x="8948738" y="3687763"/>
          <p14:tracePt t="77133" x="8953500" y="3687763"/>
          <p14:tracePt t="77134" x="8953500" y="3690938"/>
          <p14:tracePt t="77136" x="8961438" y="3690938"/>
          <p14:tracePt t="77137" x="8964613" y="3690938"/>
          <p14:tracePt t="77138" x="8969375" y="3690938"/>
          <p14:tracePt t="77139" x="8972550" y="3690938"/>
          <p14:tracePt t="77140" x="8977313" y="3690938"/>
          <p14:tracePt t="77142" x="8985250" y="3690938"/>
          <p14:tracePt t="77144" x="8988425" y="3690938"/>
          <p14:tracePt t="77145" x="8993188" y="3690938"/>
          <p14:tracePt t="77148" x="9001125" y="3690938"/>
          <p14:tracePt t="77150" x="9004300" y="3690938"/>
          <p14:tracePt t="77153" x="9012238" y="3690938"/>
          <p14:tracePt t="77154" x="9017000" y="3690938"/>
          <p14:tracePt t="77155" x="9020175" y="3690938"/>
          <p14:tracePt t="77157" x="9024938" y="3690938"/>
          <p14:tracePt t="77159" x="9028113" y="3690938"/>
          <p14:tracePt t="77161" x="9032875" y="3690938"/>
          <p14:tracePt t="77163" x="9037638" y="3690938"/>
          <p14:tracePt t="77167" x="9040813" y="3690938"/>
          <p14:tracePt t="77170" x="9045575" y="3690938"/>
          <p14:tracePt t="77172" x="9045575" y="3687763"/>
          <p14:tracePt t="77174" x="9053513" y="3683000"/>
          <p14:tracePt t="77176" x="9056688" y="3683000"/>
          <p14:tracePt t="77178" x="9061450" y="3679825"/>
          <p14:tracePt t="77180" x="9064625" y="3679825"/>
          <p14:tracePt t="77181" x="9064625" y="3675063"/>
          <p14:tracePt t="77183" x="9069388" y="3671888"/>
          <p14:tracePt t="77184" x="9069388" y="3667125"/>
          <p14:tracePt t="77185" x="9072563" y="3663950"/>
          <p14:tracePt t="77187" x="9077325" y="3659188"/>
          <p14:tracePt t="77191" x="9080500" y="3654425"/>
          <p14:tracePt t="77192" x="9080500" y="3651250"/>
          <p14:tracePt t="77193" x="9080500" y="3646488"/>
          <p14:tracePt t="77194" x="9085263" y="3646488"/>
          <p14:tracePt t="77195" x="9085263" y="3643313"/>
          <p14:tracePt t="77197" x="9088438" y="3638550"/>
          <p14:tracePt t="77198" x="9088438" y="3635375"/>
          <p14:tracePt t="77200" x="9093200" y="3630613"/>
          <p14:tracePt t="77201" x="9093200" y="3627438"/>
          <p14:tracePt t="77202" x="9096375" y="3627438"/>
          <p14:tracePt t="77203" x="9096375" y="3622675"/>
          <p14:tracePt t="77204" x="9101138" y="3619500"/>
          <p14:tracePt t="77207" x="9101138" y="3614738"/>
          <p14:tracePt t="77208" x="9104313" y="3611563"/>
          <p14:tracePt t="77209" x="9104313" y="3606800"/>
          <p14:tracePt t="77211" x="9109075" y="3603625"/>
          <p14:tracePt t="77212" x="9109075" y="3598863"/>
          <p14:tracePt t="77214" x="9112250" y="3595688"/>
          <p14:tracePt t="77215" x="9112250" y="3590925"/>
          <p14:tracePt t="77217" x="9117013" y="3582988"/>
          <p14:tracePt t="77219" x="9117013" y="3579813"/>
          <p14:tracePt t="77221" x="9120188" y="3575050"/>
          <p14:tracePt t="77222" x="9120188" y="3571875"/>
          <p14:tracePt t="77224" x="9120188" y="3567113"/>
          <p14:tracePt t="77225" x="9120188" y="3562350"/>
          <p14:tracePt t="77226" x="9120188" y="3559175"/>
          <p14:tracePt t="77228" x="9124950" y="3554413"/>
          <p14:tracePt t="77229" x="9124950" y="3551238"/>
          <p14:tracePt t="77230" x="9124950" y="3546475"/>
          <p14:tracePt t="77231" x="9124950" y="3543300"/>
          <p14:tracePt t="77233" x="9124950" y="3538538"/>
          <p14:tracePt t="77234" x="9124950" y="3535363"/>
          <p14:tracePt t="77235" x="9129713" y="3535363"/>
          <p14:tracePt t="77237" x="9129713" y="3530600"/>
          <p14:tracePt t="77239" x="9129713" y="3527425"/>
          <p14:tracePt t="77240" x="9129713" y="3522663"/>
          <p14:tracePt t="77241" x="9129713" y="3519488"/>
          <p14:tracePt t="77242" x="9129713" y="3514725"/>
          <p14:tracePt t="77244" x="9129713" y="3511550"/>
          <p14:tracePt t="77245" x="9129713" y="3506788"/>
          <p14:tracePt t="77246" x="9129713" y="3503613"/>
          <p14:tracePt t="77247" x="9129713" y="3498850"/>
          <p14:tracePt t="77248" x="9129713" y="3495675"/>
          <p14:tracePt t="77250" x="9129713" y="3490913"/>
          <p14:tracePt t="77251" x="9129713" y="3487738"/>
          <p14:tracePt t="77252" x="9129713" y="3482975"/>
          <p14:tracePt t="77253" x="9129713" y="3479800"/>
          <p14:tracePt t="77254" x="9129713" y="3475038"/>
          <p14:tracePt t="77255" x="9129713" y="3470275"/>
          <p14:tracePt t="77256" x="9129713" y="3467100"/>
          <p14:tracePt t="77258" x="9129713" y="3459163"/>
          <p14:tracePt t="77260" x="9124950" y="3454400"/>
          <p14:tracePt t="77261" x="9124950" y="3451225"/>
          <p14:tracePt t="77262" x="9124950" y="3446463"/>
          <p14:tracePt t="77263" x="9124950" y="3443288"/>
          <p14:tracePt t="77264" x="9124950" y="3438525"/>
          <p14:tracePt t="77265" x="9120188" y="3435350"/>
          <p14:tracePt t="77266" x="9120188" y="3430588"/>
          <p14:tracePt t="77267" x="9120188" y="3427413"/>
          <p14:tracePt t="77268" x="9120188" y="3422650"/>
          <p14:tracePt t="77269" x="9120188" y="3419475"/>
          <p14:tracePt t="77270" x="9117013" y="3414713"/>
          <p14:tracePt t="77273" x="9117013" y="3411538"/>
          <p14:tracePt t="77274" x="9112250" y="3406775"/>
          <p14:tracePt t="77275" x="9112250" y="3403600"/>
          <p14:tracePt t="77276" x="9112250" y="3398838"/>
          <p14:tracePt t="77277" x="9112250" y="3395663"/>
          <p14:tracePt t="77278" x="9109075" y="3390900"/>
          <p14:tracePt t="77280" x="9109075" y="3387725"/>
          <p14:tracePt t="77281" x="9109075" y="3382963"/>
          <p14:tracePt t="77282" x="9104313" y="3378200"/>
          <p14:tracePt t="77283" x="9104313" y="3375025"/>
          <p14:tracePt t="77285" x="9101138" y="3375025"/>
          <p14:tracePt t="77286" x="9101138" y="3370263"/>
          <p14:tracePt t="77287" x="9101138" y="3367088"/>
          <p14:tracePt t="77289" x="9101138" y="3362325"/>
          <p14:tracePt t="77290" x="9096375" y="3359150"/>
          <p14:tracePt t="77291" x="9096375" y="3354388"/>
          <p14:tracePt t="77292" x="9096375" y="3351213"/>
          <p14:tracePt t="77293" x="9093200" y="3346450"/>
          <p14:tracePt t="77294" x="9093200" y="3343275"/>
          <p14:tracePt t="77295" x="9088438" y="3338513"/>
          <p14:tracePt t="77296" x="9088438" y="3335338"/>
          <p14:tracePt t="77297" x="9085263" y="3335338"/>
          <p14:tracePt t="77298" x="9085263" y="3330575"/>
          <p14:tracePt t="77299" x="9080500" y="3330575"/>
          <p14:tracePt t="77300" x="9080500" y="3327400"/>
          <p14:tracePt t="77301" x="9080500" y="3322638"/>
          <p14:tracePt t="77303" x="9077325" y="3314700"/>
          <p14:tracePt t="77304" x="9077325" y="3311525"/>
          <p14:tracePt t="77305" x="9072563" y="3306763"/>
          <p14:tracePt t="77307" x="9069388" y="3303588"/>
          <p14:tracePt t="77308" x="9069388" y="3298825"/>
          <p14:tracePt t="77309" x="9064625" y="3295650"/>
          <p14:tracePt t="77310" x="9061450" y="3295650"/>
          <p14:tracePt t="77311" x="9061450" y="3290888"/>
          <p14:tracePt t="77312" x="9056688" y="3286125"/>
          <p14:tracePt t="77313" x="9056688" y="3282950"/>
          <p14:tracePt t="77314" x="9053513" y="3278188"/>
          <p14:tracePt t="77316" x="9048750" y="3275013"/>
          <p14:tracePt t="77317" x="9048750" y="3270250"/>
          <p14:tracePt t="77318" x="9045575" y="3267075"/>
          <p14:tracePt t="77319" x="9045575" y="3262313"/>
          <p14:tracePt t="77320" x="9040813" y="3262313"/>
          <p14:tracePt t="77321" x="9040813" y="3259138"/>
          <p14:tracePt t="77323" x="9040813" y="3254375"/>
          <p14:tracePt t="77325" x="9040813" y="3251200"/>
          <p14:tracePt t="77327" x="9037638" y="3246438"/>
          <p14:tracePt t="77329" x="9037638" y="3243263"/>
          <p14:tracePt t="77330" x="9032875" y="3243263"/>
          <p14:tracePt t="77333" x="9032875" y="3238500"/>
          <p14:tracePt t="77335" x="9032875" y="3235325"/>
          <p14:tracePt t="77336" x="9032875" y="3230563"/>
          <p14:tracePt t="77338" x="9028113" y="3230563"/>
          <p14:tracePt t="77340" x="9028113" y="3227388"/>
          <p14:tracePt t="77343" x="9024938" y="3227388"/>
          <p14:tracePt t="77344" x="9024938" y="3222625"/>
          <p14:tracePt t="77351" x="9024938" y="3219450"/>
          <p14:tracePt t="77354" x="9020175" y="3219450"/>
          <p14:tracePt t="77358" x="9020175" y="3214688"/>
          <p14:tracePt t="77530" x="9020175" y="3211513"/>
          <p14:tracePt t="77613" x="9017000" y="3211513"/>
          <p14:tracePt t="77615" x="9017000" y="3206750"/>
          <p14:tracePt t="77624" x="9017000" y="3203575"/>
          <p14:tracePt t="77629" x="9017000" y="3198813"/>
          <p14:tracePt t="77635" x="9012238" y="3194050"/>
          <p14:tracePt t="77640" x="9012238" y="3190875"/>
          <p14:tracePt t="77652" x="9012238" y="3186113"/>
          <p14:tracePt t="77655" x="9012238" y="3182938"/>
          <p14:tracePt t="77664" x="9012238" y="3178175"/>
          <p14:tracePt t="77666" x="9009063" y="3178175"/>
          <p14:tracePt t="77667" x="9009063" y="3175000"/>
          <p14:tracePt t="77670" x="9009063" y="3170238"/>
          <p14:tracePt t="77674" x="9004300" y="3170238"/>
          <p14:tracePt t="77682" x="9004300" y="3167063"/>
          <p14:tracePt t="77685" x="9004300" y="3162300"/>
          <p14:tracePt t="77689" x="9004300" y="3159125"/>
          <p14:tracePt t="77692" x="9004300" y="3154363"/>
          <p14:tracePt t="77695" x="9004300" y="3151188"/>
          <p14:tracePt t="77699" x="9004300" y="3146425"/>
          <p14:tracePt t="77703" x="9001125" y="3143250"/>
          <p14:tracePt t="77705" x="9001125" y="3138488"/>
          <p14:tracePt t="77708" x="9001125" y="3135313"/>
          <p14:tracePt t="77711" x="9001125" y="3130550"/>
          <p14:tracePt t="77716" x="9001125" y="3127375"/>
          <p14:tracePt t="77718" x="9001125" y="3122613"/>
          <p14:tracePt t="77719" x="8996363" y="3122613"/>
          <p14:tracePt t="77720" x="8996363" y="3119438"/>
          <p14:tracePt t="77722" x="8996363" y="3114675"/>
          <p14:tracePt t="77723" x="8993188" y="3114675"/>
          <p14:tracePt t="77726" x="8993188" y="3111500"/>
          <p14:tracePt t="77731" x="8993188" y="3106738"/>
          <p14:tracePt t="77736" x="8993188" y="3101975"/>
          <p14:tracePt t="77740" x="8988425" y="3101975"/>
          <p14:tracePt t="77741" x="8988425" y="3098800"/>
          <p14:tracePt t="77746" x="8988425" y="3094038"/>
          <p14:tracePt t="77751" x="8985250" y="3094038"/>
          <p14:tracePt t="77754" x="8985250" y="3090863"/>
          <p14:tracePt t="77760" x="8985250" y="3086100"/>
          <p14:tracePt t="77765" x="8985250" y="3082925"/>
          <p14:tracePt t="77766" x="8980488" y="3082925"/>
          <p14:tracePt t="77768" x="8980488" y="3078163"/>
          <p14:tracePt t="77771" x="8980488" y="3074988"/>
          <p14:tracePt t="77773" x="8977313" y="3074988"/>
          <p14:tracePt t="77776" x="8977313" y="3070225"/>
          <p14:tracePt t="77780" x="8977313" y="3067050"/>
          <p14:tracePt t="77782" x="8972550" y="3067050"/>
          <p14:tracePt t="77786" x="8972550" y="3062288"/>
          <p14:tracePt t="77787" x="8969375" y="3062288"/>
          <p14:tracePt t="77841" x="8964613" y="3062288"/>
          <p14:tracePt t="77876" x="8961438" y="3062288"/>
          <p14:tracePt t="77884" x="8956675" y="3062288"/>
          <p14:tracePt t="77891" x="8953500" y="3062288"/>
          <p14:tracePt t="77905" x="8948738" y="3062288"/>
          <p14:tracePt t="77910" x="8945563" y="3062288"/>
          <p14:tracePt t="77915" x="8940800" y="3062288"/>
          <p14:tracePt t="77918" x="8936038" y="3062288"/>
          <p14:tracePt t="77920" x="8932863" y="3062288"/>
          <p14:tracePt t="77922" x="8932863" y="3067050"/>
          <p14:tracePt t="77925" x="8928100" y="3067050"/>
          <p14:tracePt t="77930" x="8924925" y="3067050"/>
          <p14:tracePt t="77934" x="8920163" y="3067050"/>
          <p14:tracePt t="77942" x="8920163" y="3070225"/>
          <p14:tracePt t="77944" x="8916988" y="3070225"/>
          <p14:tracePt t="77951" x="8912225" y="3070225"/>
          <p14:tracePt t="77964" x="8909050" y="3070225"/>
          <p14:tracePt t="77967" x="8904288" y="3070225"/>
          <p14:tracePt t="77975" x="8901113" y="3070225"/>
          <p14:tracePt t="77980" x="8896350" y="3070225"/>
          <p14:tracePt t="77990" x="8896350" y="3067050"/>
          <p14:tracePt t="77991" x="8893175" y="3067050"/>
          <p14:tracePt t="77997" x="8888413" y="3067050"/>
          <p14:tracePt t="77998" x="8888413" y="3062288"/>
          <p14:tracePt t="78000" x="8885238" y="3062288"/>
          <p14:tracePt t="78001" x="8885238" y="3059113"/>
          <p14:tracePt t="78002" x="8880475" y="3059113"/>
          <p14:tracePt t="78004" x="8880475" y="3054350"/>
          <p14:tracePt t="78007" x="8877300" y="3051175"/>
          <p14:tracePt t="78008" x="8872538" y="3051175"/>
          <p14:tracePt t="78010" x="8869363" y="3051175"/>
          <p14:tracePt t="78011" x="8864600" y="3046413"/>
          <p14:tracePt t="78013" x="8861425" y="3043238"/>
          <p14:tracePt t="78014" x="8856663" y="3043238"/>
          <p14:tracePt t="78016" x="8853488" y="3038475"/>
          <p14:tracePt t="78017" x="8848725" y="3035300"/>
          <p14:tracePt t="78019" x="8843963" y="3030538"/>
          <p14:tracePt t="78020" x="8840788" y="3027363"/>
          <p14:tracePt t="78022" x="8840788" y="3022600"/>
          <p14:tracePt t="78024" x="8836025" y="3019425"/>
          <p14:tracePt t="78025" x="8832850" y="3014663"/>
          <p14:tracePt t="78026" x="8828088" y="3014663"/>
          <p14:tracePt t="78027" x="8824913" y="3009900"/>
          <p14:tracePt t="78029" x="8820150" y="3009900"/>
          <p14:tracePt t="78030" x="8816975" y="3006725"/>
          <p14:tracePt t="78031" x="8812213" y="3001963"/>
          <p14:tracePt t="78033" x="8809038" y="2998788"/>
          <p14:tracePt t="78034" x="8804275" y="2994025"/>
          <p14:tracePt t="78035" x="8804275" y="2990850"/>
          <p14:tracePt t="78036" x="8801100" y="2990850"/>
          <p14:tracePt t="78037" x="8801100" y="2986088"/>
          <p14:tracePt t="78038" x="8796338" y="2986088"/>
          <p14:tracePt t="78039" x="8793163" y="2982913"/>
          <p14:tracePt t="78040" x="8788400" y="2978150"/>
          <p14:tracePt t="78041" x="8785225" y="2974975"/>
          <p14:tracePt t="78042" x="8780463" y="2970213"/>
          <p14:tracePt t="78044" x="8777288" y="2967038"/>
          <p14:tracePt t="78045" x="8769350" y="2962275"/>
          <p14:tracePt t="78046" x="8769350" y="2959100"/>
          <p14:tracePt t="78047" x="8764588" y="2959100"/>
          <p14:tracePt t="78048" x="8761413" y="2954338"/>
          <p14:tracePt t="78049" x="8756650" y="2951163"/>
          <p14:tracePt t="78050" x="8751888" y="2946400"/>
          <p14:tracePt t="78051" x="8748713" y="2943225"/>
          <p14:tracePt t="78052" x="8748713" y="2938463"/>
          <p14:tracePt t="78053" x="8743950" y="2935288"/>
          <p14:tracePt t="78054" x="8740775" y="2930525"/>
          <p14:tracePt t="78055" x="8736013" y="2927350"/>
          <p14:tracePt t="78056" x="8732838" y="2922588"/>
          <p14:tracePt t="78057" x="8728075" y="2922588"/>
          <p14:tracePt t="78058" x="8724900" y="2917825"/>
          <p14:tracePt t="78060" x="8720138" y="2914650"/>
          <p14:tracePt t="78061" x="8716963" y="2909888"/>
          <p14:tracePt t="78062" x="8712200" y="2906713"/>
          <p14:tracePt t="78063" x="8709025" y="2901950"/>
          <p14:tracePt t="78064" x="8709025" y="2898775"/>
          <p14:tracePt t="78065" x="8704263" y="2898775"/>
          <p14:tracePt t="78066" x="8701088" y="2894013"/>
          <p14:tracePt t="78067" x="8696325" y="2890838"/>
          <p14:tracePt t="78068" x="8696325" y="2886075"/>
          <p14:tracePt t="78070" x="8693150" y="2882900"/>
          <p14:tracePt t="78070" x="8688388" y="2882900"/>
          <p14:tracePt t="78071" x="8685213" y="2882900"/>
          <p14:tracePt t="78072" x="8685213" y="2878138"/>
          <p14:tracePt t="78073" x="8680450" y="2874963"/>
          <p14:tracePt t="78074" x="8677275" y="2870200"/>
          <p14:tracePt t="78075" x="8672513" y="2870200"/>
          <p14:tracePt t="78076" x="8672513" y="2867025"/>
          <p14:tracePt t="78077" x="8667750" y="2867025"/>
          <p14:tracePt t="78078" x="8667750" y="2862263"/>
          <p14:tracePt t="78080" x="8667750" y="2859088"/>
          <p14:tracePt t="78081" x="8664575" y="2854325"/>
          <p14:tracePt t="78083" x="8659813" y="2851150"/>
          <p14:tracePt t="78085" x="8656638" y="2846388"/>
          <p14:tracePt t="78089" x="8651875" y="2846388"/>
          <p14:tracePt t="78091" x="8651875" y="2843213"/>
          <p14:tracePt t="78094" x="8648700" y="2838450"/>
          <p14:tracePt t="78096" x="8648700" y="2833688"/>
          <p14:tracePt t="78098" x="8643938" y="2833688"/>
          <p14:tracePt t="78100" x="8643938" y="2830513"/>
          <p14:tracePt t="78103" x="8643938" y="2825750"/>
          <p14:tracePt t="78106" x="8640763" y="2822575"/>
          <p14:tracePt t="78108" x="8636000" y="2822575"/>
          <p14:tracePt t="78109" x="8636000" y="2817813"/>
          <p14:tracePt t="78111" x="8632825" y="2817813"/>
          <p14:tracePt t="78112" x="8632825" y="2814638"/>
          <p14:tracePt t="78117" x="8632825" y="2809875"/>
          <p14:tracePt t="78121" x="8628063" y="2809875"/>
          <p14:tracePt t="78123" x="8628063" y="2806700"/>
          <p14:tracePt t="78132" x="8628063" y="2801938"/>
          <p14:tracePt t="78235" x="8624888" y="2798763"/>
          <p14:tracePt t="78238" x="8620125" y="2798763"/>
          <p14:tracePt t="78240" x="8616950" y="2798763"/>
          <p14:tracePt t="78243" x="8612188" y="2798763"/>
          <p14:tracePt t="78245" x="8609013" y="2798763"/>
          <p14:tracePt t="78249" x="8609013" y="2794000"/>
          <p14:tracePt t="78251" x="8604250" y="2794000"/>
          <p14:tracePt t="78254" x="8601075" y="2794000"/>
          <p14:tracePt t="78256" x="8596313" y="2794000"/>
          <p14:tracePt t="78259" x="8593138" y="2794000"/>
          <p14:tracePt t="78263" x="8588375" y="2794000"/>
          <p14:tracePt t="78270" x="8585200" y="2794000"/>
          <p14:tracePt t="78271" x="8580438" y="2790825"/>
          <p14:tracePt t="78273" x="8575675" y="2790825"/>
          <p14:tracePt t="78280" x="8572500" y="2790825"/>
          <p14:tracePt t="78282" x="8567738" y="2786063"/>
          <p14:tracePt t="78284" x="8564563" y="2786063"/>
          <p14:tracePt t="78288" x="8559800" y="2786063"/>
          <p14:tracePt t="78291" x="8556625" y="2786063"/>
          <p14:tracePt t="78294" x="8551863" y="2786063"/>
          <p14:tracePt t="78299" x="8548688" y="2786063"/>
          <p14:tracePt t="78304" x="8543925" y="2786063"/>
          <p14:tracePt t="78306" x="8540750" y="2786063"/>
          <p14:tracePt t="78311" x="8535988" y="2786063"/>
          <p14:tracePt t="78316" x="8532813" y="2786063"/>
          <p14:tracePt t="78317" x="8528050" y="2786063"/>
          <p14:tracePt t="78318" x="8524875" y="2786063"/>
          <p14:tracePt t="78320" x="8520113" y="2786063"/>
          <p14:tracePt t="78324" x="8516938" y="2786063"/>
          <p14:tracePt t="78325" x="8512175" y="2786063"/>
          <p14:tracePt t="78327" x="8509000" y="2786063"/>
          <p14:tracePt t="78329" x="8504238" y="2786063"/>
          <p14:tracePt t="78330" x="8501063" y="2786063"/>
          <p14:tracePt t="78333" x="8496300" y="2786063"/>
          <p14:tracePt t="78334" x="8493125" y="2786063"/>
          <p14:tracePt t="78335" x="8488363" y="2786063"/>
          <p14:tracePt t="78337" x="8483600" y="2786063"/>
          <p14:tracePt t="78341" x="8472488" y="2786063"/>
          <p14:tracePt t="78342" x="8467725" y="2786063"/>
          <p14:tracePt t="78343" x="8464550" y="2786063"/>
          <p14:tracePt t="78345" x="8459788" y="2786063"/>
          <p14:tracePt t="78346" x="8456613" y="2786063"/>
          <p14:tracePt t="78347" x="8451850" y="2786063"/>
          <p14:tracePt t="78349" x="8443913" y="2786063"/>
          <p14:tracePt t="78350" x="8440738" y="2786063"/>
          <p14:tracePt t="78352" x="8435975" y="2786063"/>
          <p14:tracePt t="78353" x="8432800" y="2786063"/>
          <p14:tracePt t="78355" x="8420100" y="2786063"/>
          <p14:tracePt t="78357" x="8416925" y="2786063"/>
          <p14:tracePt t="78358" x="8412163" y="2786063"/>
          <p14:tracePt t="78359" x="8408988" y="2786063"/>
          <p14:tracePt t="78360" x="8404225" y="2786063"/>
          <p14:tracePt t="78361" x="8401050" y="2786063"/>
          <p14:tracePt t="78362" x="8396288" y="2786063"/>
          <p14:tracePt t="78363" x="8391525" y="2786063"/>
          <p14:tracePt t="78365" x="8380413" y="2786063"/>
          <p14:tracePt t="78366" x="8375650" y="2786063"/>
          <p14:tracePt t="78368" x="8372475" y="2786063"/>
          <p14:tracePt t="78369" x="8364538" y="2786063"/>
          <p14:tracePt t="78370" x="8359775" y="2786063"/>
          <p14:tracePt t="78371" x="8356600" y="2786063"/>
          <p14:tracePt t="78372" x="8351838" y="2786063"/>
          <p14:tracePt t="78373" x="8348663" y="2786063"/>
          <p14:tracePt t="78374" x="8340725" y="2786063"/>
          <p14:tracePt t="78375" x="8335963" y="2786063"/>
          <p14:tracePt t="78376" x="8332788" y="2786063"/>
          <p14:tracePt t="78377" x="8328025" y="2786063"/>
          <p14:tracePt t="78378" x="8324850" y="2786063"/>
          <p14:tracePt t="78379" x="8320088" y="2786063"/>
          <p14:tracePt t="78380" x="8316913" y="2786063"/>
          <p14:tracePt t="78381" x="8307388" y="2786063"/>
          <p14:tracePt t="78382" x="8304213" y="2786063"/>
          <p14:tracePt t="78383" x="8296275" y="2786063"/>
          <p14:tracePt t="78384" x="8291513" y="2786063"/>
          <p14:tracePt t="78386" x="8280400" y="2786063"/>
          <p14:tracePt t="78387" x="8272463" y="2786063"/>
          <p14:tracePt t="78388" x="8267700" y="2786063"/>
          <p14:tracePt t="78389" x="8264525" y="2786063"/>
          <p14:tracePt t="78390" x="8256588" y="2786063"/>
          <p14:tracePt t="78391" x="8251825" y="2786063"/>
          <p14:tracePt t="78392" x="8248650" y="2786063"/>
          <p14:tracePt t="78393" x="8243888" y="2786063"/>
          <p14:tracePt t="78394" x="8235950" y="2786063"/>
          <p14:tracePt t="78395" x="8232775" y="2786063"/>
          <p14:tracePt t="78396" x="8224838" y="2786063"/>
          <p14:tracePt t="78397" x="8220075" y="2786063"/>
          <p14:tracePt t="78398" x="8215313" y="2786063"/>
          <p14:tracePt t="78399" x="8212138" y="2786063"/>
          <p14:tracePt t="78400" x="8204200" y="2786063"/>
          <p14:tracePt t="78401" x="8199438" y="2786063"/>
          <p14:tracePt t="78402" x="8196263" y="2786063"/>
          <p14:tracePt t="78403" x="8188325" y="2786063"/>
          <p14:tracePt t="78404" x="8183563" y="2786063"/>
          <p14:tracePt t="78405" x="8180388" y="2786063"/>
          <p14:tracePt t="78406" x="8175625" y="2786063"/>
          <p14:tracePt t="78407" x="8172450" y="2786063"/>
          <p14:tracePt t="78408" x="8164513" y="2786063"/>
          <p14:tracePt t="78409" x="8159750" y="2786063"/>
          <p14:tracePt t="78410" x="8151813" y="2786063"/>
          <p14:tracePt t="78411" x="8148638" y="2786063"/>
          <p14:tracePt t="78412" x="8143875" y="2786063"/>
          <p14:tracePt t="78413" x="8140700" y="2786063"/>
          <p14:tracePt t="78415" x="8128000" y="2786063"/>
          <p14:tracePt t="78416" x="8123238" y="2786063"/>
          <p14:tracePt t="78417" x="8115300" y="2786063"/>
          <p14:tracePt t="78419" x="8112125" y="2786063"/>
          <p14:tracePt t="78420" x="8104188" y="2786063"/>
          <p14:tracePt t="78421" x="8099425" y="2786063"/>
          <p14:tracePt t="78422" x="8096250" y="2786063"/>
          <p14:tracePt t="78423" x="8091488" y="2786063"/>
          <p14:tracePt t="78424" x="8088313" y="2786063"/>
          <p14:tracePt t="78425" x="8080375" y="2786063"/>
          <p14:tracePt t="78426" x="8075613" y="2786063"/>
          <p14:tracePt t="78427" x="8072438" y="2786063"/>
          <p14:tracePt t="78428" x="8067675" y="2786063"/>
          <p14:tracePt t="78429" x="8064500" y="2786063"/>
          <p14:tracePt t="78430" x="8059738" y="2782888"/>
          <p14:tracePt t="78431" x="8056563" y="2782888"/>
          <p14:tracePt t="78432" x="8051800" y="2782888"/>
          <p14:tracePt t="78433" x="8048625" y="2782888"/>
          <p14:tracePt t="78434" x="8040688" y="2782888"/>
          <p14:tracePt t="78435" x="8035925" y="2782888"/>
          <p14:tracePt t="78436" x="8031163" y="2782888"/>
          <p14:tracePt t="78437" x="8027988" y="2782888"/>
          <p14:tracePt t="78438" x="8023225" y="2782888"/>
          <p14:tracePt t="78439" x="8015288" y="2782888"/>
          <p14:tracePt t="78440" x="8012113" y="2782888"/>
          <p14:tracePt t="78441" x="8007350" y="2782888"/>
          <p14:tracePt t="78442" x="8004175" y="2782888"/>
          <p14:tracePt t="78443" x="7999413" y="2782888"/>
          <p14:tracePt t="78444" x="7996238" y="2782888"/>
          <p14:tracePt t="78445" x="7988300" y="2782888"/>
          <p14:tracePt t="78446" x="7983538" y="2782888"/>
          <p14:tracePt t="78447" x="7980363" y="2782888"/>
          <p14:tracePt t="78448" x="7972425" y="2782888"/>
          <p14:tracePt t="78449" x="7967663" y="2782888"/>
          <p14:tracePt t="78450" x="7959725" y="2782888"/>
          <p14:tracePt t="78451" x="7956550" y="2782888"/>
          <p14:tracePt t="78452" x="7951788" y="2782888"/>
          <p14:tracePt t="78453" x="7943850" y="2782888"/>
          <p14:tracePt t="78455" x="7939088" y="2782888"/>
          <p14:tracePt t="78456" x="7931150" y="2782888"/>
          <p14:tracePt t="78457" x="7927975" y="2782888"/>
          <p14:tracePt t="78458" x="7920038" y="2782888"/>
          <p14:tracePt t="78459" x="7915275" y="2782888"/>
          <p14:tracePt t="78460" x="7907338" y="2782888"/>
          <p14:tracePt t="78461" x="7904163" y="2782888"/>
          <p14:tracePt t="78463" x="7891463" y="2782888"/>
          <p14:tracePt t="78465" x="7883525" y="2782888"/>
          <p14:tracePt t="78465" x="7880350" y="2782888"/>
          <p14:tracePt t="78466" x="7875588" y="2782888"/>
          <p14:tracePt t="78467" x="7864475" y="2782888"/>
          <p14:tracePt t="78469" x="7854950" y="2782888"/>
          <p14:tracePt t="78470" x="7847013" y="2782888"/>
          <p14:tracePt t="78471" x="7839075" y="2782888"/>
          <p14:tracePt t="78472" x="7827963" y="2782888"/>
          <p14:tracePt t="78474" x="7820025" y="2782888"/>
          <p14:tracePt t="78475" x="7812088" y="2782888"/>
          <p14:tracePt t="78476" x="7804150" y="2782888"/>
          <p14:tracePt t="78477" x="7791450" y="2782888"/>
          <p14:tracePt t="78478" x="7783513" y="2782888"/>
          <p14:tracePt t="78479" x="7775575" y="2782888"/>
          <p14:tracePt t="78480" x="7767638" y="2782888"/>
          <p14:tracePt t="78481" x="7754938" y="2782888"/>
          <p14:tracePt t="78482" x="7751763" y="2782888"/>
          <p14:tracePt t="78483" x="7743825" y="2782888"/>
          <p14:tracePt t="78484" x="7735888" y="2782888"/>
          <p14:tracePt t="78485" x="7727950" y="2782888"/>
          <p14:tracePt t="78486" x="7715250" y="2782888"/>
          <p14:tracePt t="78487" x="7707313" y="2782888"/>
          <p14:tracePt t="78488" x="7696200" y="2782888"/>
          <p14:tracePt t="78489" x="7688263" y="2782888"/>
          <p14:tracePt t="78490" x="7675563" y="2782888"/>
          <p14:tracePt t="78491" x="7667625" y="2782888"/>
          <p14:tracePt t="78492" x="7654925" y="2782888"/>
          <p14:tracePt t="78493" x="7646988" y="2782888"/>
          <p14:tracePt t="78494" x="7635875" y="2782888"/>
          <p14:tracePt t="78495" x="7627938" y="2782888"/>
          <p14:tracePt t="78496" x="7615238" y="2782888"/>
          <p14:tracePt t="78497" x="7607300" y="2782888"/>
          <p14:tracePt t="78498" x="7596188" y="2782888"/>
          <p14:tracePt t="78499" x="7583488" y="2778125"/>
          <p14:tracePt t="78500" x="7575550" y="2778125"/>
          <p14:tracePt t="78501" x="7562850" y="2778125"/>
          <p14:tracePt t="78502" x="7546975" y="2778125"/>
          <p14:tracePt t="78503" x="7539038" y="2778125"/>
          <p14:tracePt t="78504" x="7531100" y="2778125"/>
          <p14:tracePt t="78505" x="7523163" y="2778125"/>
          <p14:tracePt t="78506" x="7507288" y="2778125"/>
          <p14:tracePt t="78507" x="7494588" y="2778125"/>
          <p14:tracePt t="78508" x="7486650" y="2778125"/>
          <p14:tracePt t="78509" x="7478713" y="2778125"/>
          <p14:tracePt t="78510" x="7470775" y="2778125"/>
          <p14:tracePt t="78511" x="7459663" y="2778125"/>
          <p14:tracePt t="78512" x="7451725" y="2778125"/>
          <p14:tracePt t="78513" x="7443788" y="2778125"/>
          <p14:tracePt t="78514" x="7435850" y="2778125"/>
          <p14:tracePt t="78515" x="7427913" y="2778125"/>
          <p14:tracePt t="78516" x="7412038" y="2778125"/>
          <p14:tracePt t="78517" x="7402513" y="2778125"/>
          <p14:tracePt t="78518" x="7394575" y="2778125"/>
          <p14:tracePt t="78519" x="7386638" y="2778125"/>
          <p14:tracePt t="78520" x="7378700" y="2778125"/>
          <p14:tracePt t="78521" x="7367588" y="2778125"/>
          <p14:tracePt t="78522" x="7359650" y="2778125"/>
          <p14:tracePt t="78523" x="7351713" y="2778125"/>
          <p14:tracePt t="78524" x="7343775" y="2778125"/>
          <p14:tracePt t="78525" x="7339013" y="2778125"/>
          <p14:tracePt t="78526" x="7327900" y="2778125"/>
          <p14:tracePt t="78527" x="7319963" y="2778125"/>
          <p14:tracePt t="78528" x="7315200" y="2778125"/>
          <p14:tracePt t="78529" x="7307263" y="2778125"/>
          <p14:tracePt t="78530" x="7299325" y="2778125"/>
          <p14:tracePt t="78531" x="7291388" y="2778125"/>
          <p14:tracePt t="78532" x="7283450" y="2778125"/>
          <p14:tracePt t="78533" x="7278688" y="2778125"/>
          <p14:tracePt t="78534" x="7270750" y="2778125"/>
          <p14:tracePt t="78535" x="7267575" y="2778125"/>
          <p14:tracePt t="78536" x="7259638" y="2778125"/>
          <p14:tracePt t="78537" x="7251700" y="2778125"/>
          <p14:tracePt t="78538" x="7243763" y="2778125"/>
          <p14:tracePt t="78539" x="7239000" y="2778125"/>
          <p14:tracePt t="78540" x="7231063" y="2778125"/>
          <p14:tracePt t="78541" x="7223125" y="2778125"/>
          <p14:tracePt t="78542" x="7218363" y="2778125"/>
          <p14:tracePt t="78543" x="7215188" y="2778125"/>
          <p14:tracePt t="78544" x="7207250" y="2778125"/>
          <p14:tracePt t="78545" x="7202488" y="2778125"/>
          <p14:tracePt t="78546" x="7194550" y="2778125"/>
          <p14:tracePt t="78547" x="7191375" y="2778125"/>
          <p14:tracePt t="78548" x="7186613" y="2778125"/>
          <p14:tracePt t="78550" x="7183438" y="2778125"/>
          <p14:tracePt t="78551" x="7175500" y="2778125"/>
          <p14:tracePt t="78552" x="7170738" y="2778125"/>
          <p14:tracePt t="78553" x="7167563" y="2778125"/>
          <p14:tracePt t="78554" x="7162800" y="2778125"/>
          <p14:tracePt t="78555" x="7159625" y="2778125"/>
          <p14:tracePt t="78557" x="7154863" y="2778125"/>
          <p14:tracePt t="78558" x="7151688" y="2778125"/>
          <p14:tracePt t="78560" x="7146925" y="2778125"/>
          <p14:tracePt t="78562" x="7143750" y="2778125"/>
          <p14:tracePt t="78598" x="7143750" y="2774950"/>
          <p14:tracePt t="78626" x="7146925" y="2774950"/>
          <p14:tracePt t="78630" x="7151688" y="2774950"/>
          <p14:tracePt t="78634" x="7154863" y="2770188"/>
          <p14:tracePt t="78636" x="7159625" y="2770188"/>
          <p14:tracePt t="78638" x="7162800" y="2770188"/>
          <p14:tracePt t="78639" x="7167563" y="2767013"/>
          <p14:tracePt t="78641" x="7170738" y="2767013"/>
          <p14:tracePt t="78642" x="7175500" y="2767013"/>
          <p14:tracePt t="78643" x="7178675" y="2762250"/>
          <p14:tracePt t="78645" x="7183438" y="2762250"/>
          <p14:tracePt t="78646" x="7186613" y="2762250"/>
          <p14:tracePt t="78647" x="7191375" y="2762250"/>
          <p14:tracePt t="78648" x="7199313" y="2759075"/>
          <p14:tracePt t="78651" x="7215188" y="2759075"/>
          <p14:tracePt t="78652" x="7223125" y="2759075"/>
          <p14:tracePt t="78653" x="7227888" y="2759075"/>
          <p14:tracePt t="78654" x="7231063" y="2759075"/>
          <p14:tracePt t="78655" x="7239000" y="2759075"/>
          <p14:tracePt t="78656" x="7243763" y="2754313"/>
          <p14:tracePt t="78657" x="7251700" y="2754313"/>
          <p14:tracePt t="78658" x="7259638" y="2754313"/>
          <p14:tracePt t="78659" x="7267575" y="2754313"/>
          <p14:tracePt t="78660" x="7270750" y="2754313"/>
          <p14:tracePt t="78661" x="7278688" y="2751138"/>
          <p14:tracePt t="78662" x="7286625" y="2751138"/>
          <p14:tracePt t="78663" x="7294563" y="2751138"/>
          <p14:tracePt t="78664" x="7299325" y="2746375"/>
          <p14:tracePt t="78666" x="7315200" y="2741613"/>
          <p14:tracePt t="78667" x="7319963" y="2741613"/>
          <p14:tracePt t="78668" x="7327900" y="2738438"/>
          <p14:tracePt t="78669" x="7335838" y="2738438"/>
          <p14:tracePt t="78670" x="7343775" y="2738438"/>
          <p14:tracePt t="78671" x="7351713" y="2738438"/>
          <p14:tracePt t="78672" x="7359650" y="2733675"/>
          <p14:tracePt t="78673" x="7367588" y="2733675"/>
          <p14:tracePt t="78674" x="7375525" y="2733675"/>
          <p14:tracePt t="78675" x="7383463" y="2733675"/>
          <p14:tracePt t="78676" x="7391400" y="2730500"/>
          <p14:tracePt t="78677" x="7394575" y="2730500"/>
          <p14:tracePt t="78678" x="7407275" y="2730500"/>
          <p14:tracePt t="78679" x="7415213" y="2725738"/>
          <p14:tracePt t="78680" x="7423150" y="2725738"/>
          <p14:tracePt t="78681" x="7427913" y="2722563"/>
          <p14:tracePt t="78684" x="7454900" y="2717800"/>
          <p14:tracePt t="78685" x="7462838" y="2714625"/>
          <p14:tracePt t="78686" x="7470775" y="2714625"/>
          <p14:tracePt t="78687" x="7478713" y="2714625"/>
          <p14:tracePt t="78688" x="7486650" y="2709863"/>
          <p14:tracePt t="78689" x="7494588" y="2709863"/>
          <p14:tracePt t="78690" x="7504113" y="2709863"/>
          <p14:tracePt t="78691" x="7512050" y="2706688"/>
          <p14:tracePt t="78692" x="7515225" y="2701925"/>
          <p14:tracePt t="78693" x="7523163" y="2701925"/>
          <p14:tracePt t="78694" x="7531100" y="2698750"/>
          <p14:tracePt t="78695" x="7535863" y="2698750"/>
          <p14:tracePt t="78696" x="7539038" y="2693988"/>
          <p14:tracePt t="78697" x="7546975" y="2693988"/>
          <p14:tracePt t="78698" x="7554913" y="2693988"/>
          <p14:tracePt t="78699" x="7559675" y="2690813"/>
          <p14:tracePt t="78701" x="7570788" y="2686050"/>
          <p14:tracePt t="78702" x="7575550" y="2686050"/>
          <p14:tracePt t="78703" x="7583488" y="2682875"/>
          <p14:tracePt t="78704" x="7588250" y="2682875"/>
          <p14:tracePt t="78705" x="7591425" y="2678113"/>
          <p14:tracePt t="78706" x="7596188" y="2678113"/>
          <p14:tracePt t="78708" x="7599363" y="2674938"/>
          <p14:tracePt t="78709" x="7604125" y="2674938"/>
          <p14:tracePt t="78710" x="7607300" y="2674938"/>
          <p14:tracePt t="78711" x="7612063" y="2670175"/>
          <p14:tracePt t="78713" x="7615238" y="2670175"/>
          <p14:tracePt t="78714" x="7620000" y="2667000"/>
          <p14:tracePt t="78715" x="7623175" y="2667000"/>
          <p14:tracePt t="78718" x="7627938" y="2662238"/>
          <p14:tracePt t="78724" x="7631113" y="2662238"/>
          <p14:tracePt t="78725" x="7631113" y="2659063"/>
          <p14:tracePt t="78764" x="7627938" y="2659063"/>
          <p14:tracePt t="78767" x="7623175" y="2659063"/>
          <p14:tracePt t="78769" x="7620000" y="2659063"/>
          <p14:tracePt t="78770" x="7615238" y="2659063"/>
          <p14:tracePt t="78772" x="7612063" y="2659063"/>
          <p14:tracePt t="78773" x="7607300" y="2659063"/>
          <p14:tracePt t="78774" x="7604125" y="2659063"/>
          <p14:tracePt t="78776" x="7599363" y="2659063"/>
          <p14:tracePt t="78778" x="7596188" y="2659063"/>
          <p14:tracePt t="78779" x="7588250" y="2659063"/>
          <p14:tracePt t="78780" x="7583488" y="2659063"/>
          <p14:tracePt t="78781" x="7578725" y="2659063"/>
          <p14:tracePt t="78782" x="7570788" y="2659063"/>
          <p14:tracePt t="78783" x="7567613" y="2659063"/>
          <p14:tracePt t="78784" x="7559675" y="2662238"/>
          <p14:tracePt t="78785" x="7554913" y="2662238"/>
          <p14:tracePt t="78786" x="7551738" y="2662238"/>
          <p14:tracePt t="78787" x="7543800" y="2662238"/>
          <p14:tracePt t="78788" x="7539038" y="2662238"/>
          <p14:tracePt t="78789" x="7527925" y="2662238"/>
          <p14:tracePt t="78790" x="7523163" y="2662238"/>
          <p14:tracePt t="78791" x="7515225" y="2662238"/>
          <p14:tracePt t="78792" x="7507288" y="2662238"/>
          <p14:tracePt t="78793" x="7504113" y="2662238"/>
          <p14:tracePt t="78794" x="7491413" y="2662238"/>
          <p14:tracePt t="78795" x="7483475" y="2662238"/>
          <p14:tracePt t="78796" x="7475538" y="2667000"/>
          <p14:tracePt t="78797" x="7467600" y="2667000"/>
          <p14:tracePt t="78798" x="7459663" y="2667000"/>
          <p14:tracePt t="78799" x="7446963" y="2667000"/>
          <p14:tracePt t="78800" x="7439025" y="2667000"/>
          <p14:tracePt t="78801" x="7431088" y="2667000"/>
          <p14:tracePt t="78802" x="7415213" y="2667000"/>
          <p14:tracePt t="78803" x="7407275" y="2674938"/>
          <p14:tracePt t="78804" x="7394575" y="2674938"/>
          <p14:tracePt t="78805" x="7386638" y="2674938"/>
          <p14:tracePt t="78806" x="7370763" y="2674938"/>
          <p14:tracePt t="78807" x="7362825" y="2674938"/>
          <p14:tracePt t="78808" x="7351713" y="2674938"/>
          <p14:tracePt t="78809" x="7343775" y="2674938"/>
          <p14:tracePt t="78810" x="7327900" y="2674938"/>
          <p14:tracePt t="78811" x="7319963" y="2674938"/>
          <p14:tracePt t="78812" x="7307263" y="2678113"/>
          <p14:tracePt t="78813" x="7299325" y="2678113"/>
          <p14:tracePt t="78814" x="7278688" y="2678113"/>
          <p14:tracePt t="78815" x="7270750" y="2678113"/>
          <p14:tracePt t="78816" x="7262813" y="2678113"/>
          <p14:tracePt t="78817" x="7251700" y="2682875"/>
          <p14:tracePt t="78818" x="7243763" y="2682875"/>
          <p14:tracePt t="78819" x="7231063" y="2686050"/>
          <p14:tracePt t="78820" x="7218363" y="2686050"/>
          <p14:tracePt t="78821" x="7207250" y="2686050"/>
          <p14:tracePt t="78822" x="7199313" y="2690813"/>
          <p14:tracePt t="78823" x="7186613" y="2690813"/>
          <p14:tracePt t="78824" x="7170738" y="2690813"/>
          <p14:tracePt t="78825" x="7162800" y="2690813"/>
          <p14:tracePt t="78826" x="7154863" y="2690813"/>
          <p14:tracePt t="78827" x="7146925" y="2693988"/>
          <p14:tracePt t="78828" x="7135813" y="2693988"/>
          <p14:tracePt t="78829" x="7126288" y="2693988"/>
          <p14:tracePt t="78830" x="7110413" y="2693988"/>
          <p14:tracePt t="78831" x="7102475" y="2693988"/>
          <p14:tracePt t="78832" x="7094538" y="2698750"/>
          <p14:tracePt t="78833" x="7086600" y="2698750"/>
          <p14:tracePt t="78834" x="7078663" y="2698750"/>
          <p14:tracePt t="78835" x="7070725" y="2698750"/>
          <p14:tracePt t="78836" x="7062788" y="2698750"/>
          <p14:tracePt t="78837" x="7054850" y="2701925"/>
          <p14:tracePt t="78838" x="7046913" y="2701925"/>
          <p14:tracePt t="78839" x="7038975" y="2701925"/>
          <p14:tracePt t="78840" x="7023100" y="2701925"/>
          <p14:tracePt t="78841" x="7018338" y="2706688"/>
          <p14:tracePt t="78842" x="7010400" y="2706688"/>
          <p14:tracePt t="78843" x="7002463" y="2706688"/>
          <p14:tracePt t="78844" x="6994525" y="2706688"/>
          <p14:tracePt t="78845" x="6986588" y="2706688"/>
          <p14:tracePt t="78846" x="6983413" y="2709863"/>
          <p14:tracePt t="78847" x="6978650" y="2709863"/>
          <p14:tracePt t="78848" x="6975475" y="2709863"/>
          <p14:tracePt t="78850" x="6967538" y="2709863"/>
          <p14:tracePt t="78851" x="6962775" y="2709863"/>
          <p14:tracePt t="78852" x="6959600" y="2709863"/>
          <p14:tracePt t="78853" x="6954838" y="2714625"/>
          <p14:tracePt t="78854" x="6950075" y="2714625"/>
          <p14:tracePt t="78855" x="6946900" y="2714625"/>
          <p14:tracePt t="78857" x="6942138" y="2714625"/>
          <p14:tracePt t="78859" x="6938963" y="2717800"/>
          <p14:tracePt t="78860" x="6934200" y="2717800"/>
          <p14:tracePt t="78865" x="6931025" y="2717800"/>
          <p14:tracePt t="78883" x="6931025" y="2722563"/>
          <p14:tracePt t="78899" x="6942138" y="2725738"/>
          <p14:tracePt t="78901" x="6946900" y="2730500"/>
          <p14:tracePt t="78902" x="6950075" y="2730500"/>
          <p14:tracePt t="78904" x="6954838" y="2733675"/>
          <p14:tracePt t="78905" x="6959600" y="2733675"/>
          <p14:tracePt t="78906" x="6962775" y="2733675"/>
          <p14:tracePt t="78908" x="6962775" y="2738438"/>
          <p14:tracePt t="78909" x="6967538" y="2738438"/>
          <p14:tracePt t="78911" x="6970713" y="2738438"/>
          <p14:tracePt t="78912" x="6975475" y="2741613"/>
          <p14:tracePt t="78913" x="6978650" y="2741613"/>
          <p14:tracePt t="78914" x="6983413" y="2741613"/>
          <p14:tracePt t="78916" x="6986588" y="2741613"/>
          <p14:tracePt t="78917" x="6991350" y="2741613"/>
          <p14:tracePt t="78918" x="6994525" y="2746375"/>
          <p14:tracePt t="78919" x="6999288" y="2746375"/>
          <p14:tracePt t="78920" x="7002463" y="2746375"/>
          <p14:tracePt t="78921" x="7010400" y="2751138"/>
          <p14:tracePt t="78922" x="7015163" y="2751138"/>
          <p14:tracePt t="78924" x="7018338" y="2751138"/>
          <p14:tracePt t="78925" x="7023100" y="2754313"/>
          <p14:tracePt t="78926" x="7031038" y="2754313"/>
          <p14:tracePt t="78927" x="7034213" y="2754313"/>
          <p14:tracePt t="78928" x="7038975" y="2754313"/>
          <p14:tracePt t="78929" x="7042150" y="2759075"/>
          <p14:tracePt t="78930" x="7046913" y="2759075"/>
          <p14:tracePt t="78931" x="7051675" y="2759075"/>
          <p14:tracePt t="78932" x="7054850" y="2762250"/>
          <p14:tracePt t="78933" x="7059613" y="2762250"/>
          <p14:tracePt t="78935" x="7067550" y="2767013"/>
          <p14:tracePt t="78936" x="7070725" y="2767013"/>
          <p14:tracePt t="78937" x="7075488" y="2767013"/>
          <p14:tracePt t="78938" x="7078663" y="2767013"/>
          <p14:tracePt t="78939" x="7083425" y="2767013"/>
          <p14:tracePt t="78940" x="7091363" y="2770188"/>
          <p14:tracePt t="78941" x="7094538" y="2770188"/>
          <p14:tracePt t="78942" x="7102475" y="2770188"/>
          <p14:tracePt t="78943" x="7107238" y="2770188"/>
          <p14:tracePt t="78944" x="7110413" y="2774950"/>
          <p14:tracePt t="78945" x="7115175" y="2774950"/>
          <p14:tracePt t="78946" x="7118350" y="2774950"/>
          <p14:tracePt t="78947" x="7126288" y="2774950"/>
          <p14:tracePt t="78949" x="7131050" y="2774950"/>
          <p14:tracePt t="78950" x="7135813" y="2778125"/>
          <p14:tracePt t="78951" x="7138988" y="2778125"/>
          <p14:tracePt t="78952" x="7143750" y="2778125"/>
          <p14:tracePt t="78953" x="7146925" y="2778125"/>
          <p14:tracePt t="78954" x="7151688" y="2782888"/>
          <p14:tracePt t="78955" x="7154863" y="2782888"/>
          <p14:tracePt t="78956" x="7162800" y="2782888"/>
          <p14:tracePt t="78958" x="7167563" y="2786063"/>
          <p14:tracePt t="78959" x="7170738" y="2786063"/>
          <p14:tracePt t="78961" x="7175500" y="2786063"/>
          <p14:tracePt t="78962" x="7178675" y="2786063"/>
          <p14:tracePt t="78963" x="7183438" y="2786063"/>
          <p14:tracePt t="78965" x="7186613" y="2786063"/>
          <p14:tracePt t="78966" x="7191375" y="2786063"/>
          <p14:tracePt t="78968" x="7191375" y="2790825"/>
          <p14:tracePt t="78969" x="7194550" y="2790825"/>
          <p14:tracePt t="78974" x="7199313" y="2790825"/>
          <p14:tracePt t="79008" x="7194550" y="2790825"/>
          <p14:tracePt t="79011" x="7191375" y="2790825"/>
          <p14:tracePt t="79012" x="7186613" y="2790825"/>
          <p14:tracePt t="79014" x="7183438" y="2790825"/>
          <p14:tracePt t="79015" x="7178675" y="2790825"/>
          <p14:tracePt t="79017" x="7175500" y="2790825"/>
          <p14:tracePt t="79018" x="7170738" y="2790825"/>
          <p14:tracePt t="79019" x="7167563" y="2786063"/>
          <p14:tracePt t="79020" x="7162800" y="2786063"/>
          <p14:tracePt t="79021" x="7159625" y="2782888"/>
          <p14:tracePt t="79022" x="7154863" y="2782888"/>
          <p14:tracePt t="79023" x="7146925" y="2782888"/>
          <p14:tracePt t="79024" x="7143750" y="2778125"/>
          <p14:tracePt t="79025" x="7138988" y="2778125"/>
          <p14:tracePt t="79026" x="7131050" y="2778125"/>
          <p14:tracePt t="79027" x="7126288" y="2778125"/>
          <p14:tracePt t="79028" x="7118350" y="2774950"/>
          <p14:tracePt t="79029" x="7110413" y="2774950"/>
          <p14:tracePt t="79030" x="7107238" y="2774950"/>
          <p14:tracePt t="79031" x="7099300" y="2770188"/>
          <p14:tracePt t="79032" x="7091363" y="2770188"/>
          <p14:tracePt t="79033" x="7083425" y="2767013"/>
          <p14:tracePt t="79034" x="7075488" y="2762250"/>
          <p14:tracePt t="79035" x="7067550" y="2762250"/>
          <p14:tracePt t="79036" x="7059613" y="2759075"/>
          <p14:tracePt t="79037" x="7051675" y="2759075"/>
          <p14:tracePt t="79038" x="7038975" y="2754313"/>
          <p14:tracePt t="79039" x="7026275" y="2754313"/>
          <p14:tracePt t="79040" x="7018338" y="2754313"/>
          <p14:tracePt t="79041" x="7010400" y="2751138"/>
          <p14:tracePt t="79042" x="6994525" y="2741613"/>
          <p14:tracePt t="79043" x="6986588" y="2741613"/>
          <p14:tracePt t="79044" x="6975475" y="2738438"/>
          <p14:tracePt t="79045" x="6967538" y="2738438"/>
          <p14:tracePt t="79046" x="6950075" y="2733675"/>
          <p14:tracePt t="79047" x="6942138" y="2730500"/>
          <p14:tracePt t="79048" x="6923088" y="2730500"/>
          <p14:tracePt t="79049" x="6915150" y="2725738"/>
          <p14:tracePt t="79050" x="6902450" y="2725738"/>
          <p14:tracePt t="79051" x="6886575" y="2722563"/>
          <p14:tracePt t="79052" x="6878638" y="2722563"/>
          <p14:tracePt t="79053" x="6862763" y="2714625"/>
          <p14:tracePt t="79054" x="6850063" y="2709863"/>
          <p14:tracePt t="79055" x="6842125" y="2709863"/>
          <p14:tracePt t="79056" x="6831013" y="2709863"/>
          <p14:tracePt t="79058" x="6799263" y="2701925"/>
          <p14:tracePt t="79059" x="6786563" y="2701925"/>
          <p14:tracePt t="79060" x="6778625" y="2698750"/>
          <p14:tracePt t="79061" x="6762750" y="2698750"/>
          <p14:tracePt t="79062" x="6754813" y="2693988"/>
          <p14:tracePt t="79063" x="6742113" y="2693988"/>
          <p14:tracePt t="79065" x="6734175" y="2693988"/>
          <p14:tracePt t="79065" x="6718300" y="2690813"/>
          <p14:tracePt t="79066" x="6710363" y="2690813"/>
          <p14:tracePt t="79067" x="6702425" y="2682875"/>
          <p14:tracePt t="79068" x="6694488" y="2682875"/>
          <p14:tracePt t="79069" x="6686550" y="2682875"/>
          <p14:tracePt t="79070" x="6678613" y="2678113"/>
          <p14:tracePt t="79071" x="6670675" y="2678113"/>
          <p14:tracePt t="79072" x="6662738" y="2678113"/>
          <p14:tracePt t="79073" x="6654800" y="2674938"/>
          <p14:tracePt t="79074" x="6642100" y="2674938"/>
          <p14:tracePt t="79075" x="6634163" y="2674938"/>
          <p14:tracePt t="79076" x="6630988" y="2670175"/>
          <p14:tracePt t="79078" x="6623050" y="2670175"/>
          <p14:tracePt t="79079" x="6618288" y="2670175"/>
          <p14:tracePt t="79080" x="6615113" y="2667000"/>
          <p14:tracePt t="79081" x="6610350" y="2667000"/>
          <p14:tracePt t="79082" x="6607175" y="2667000"/>
          <p14:tracePt t="79083" x="6602413" y="2667000"/>
          <p14:tracePt t="79084" x="6599238" y="2667000"/>
          <p14:tracePt t="79086" x="6594475" y="2667000"/>
          <p14:tracePt t="79088" x="6589713" y="2667000"/>
          <p14:tracePt t="79136" x="6594475" y="2667000"/>
          <p14:tracePt t="79138" x="6599238" y="2667000"/>
          <p14:tracePt t="79140" x="6602413" y="2667000"/>
          <p14:tracePt t="79142" x="6607175" y="2667000"/>
          <p14:tracePt t="79143" x="6610350" y="2667000"/>
          <p14:tracePt t="79145" x="6615113" y="2667000"/>
          <p14:tracePt t="79146" x="6618288" y="2667000"/>
          <p14:tracePt t="79148" x="6623050" y="2667000"/>
          <p14:tracePt t="79150" x="6626225" y="2667000"/>
          <p14:tracePt t="79152" x="6634163" y="2667000"/>
          <p14:tracePt t="79153" x="6638925" y="2667000"/>
          <p14:tracePt t="79154" x="6642100" y="2667000"/>
          <p14:tracePt t="79155" x="6650038" y="2667000"/>
          <p14:tracePt t="79156" x="6654800" y="2667000"/>
          <p14:tracePt t="79157" x="6657975" y="2667000"/>
          <p14:tracePt t="79158" x="6662738" y="2667000"/>
          <p14:tracePt t="79159" x="6670675" y="2670175"/>
          <p14:tracePt t="79160" x="6673850" y="2670175"/>
          <p14:tracePt t="79161" x="6678613" y="2670175"/>
          <p14:tracePt t="79163" x="6681788" y="2674938"/>
          <p14:tracePt t="79165" x="6691313" y="2674938"/>
          <p14:tracePt t="79165" x="6694488" y="2674938"/>
          <p14:tracePt t="79166" x="6702425" y="2674938"/>
          <p14:tracePt t="79167" x="6707188" y="2678113"/>
          <p14:tracePt t="79168" x="6715125" y="2678113"/>
          <p14:tracePt t="79169" x="6718300" y="2678113"/>
          <p14:tracePt t="79170" x="6726238" y="2682875"/>
          <p14:tracePt t="79171" x="6734175" y="2682875"/>
          <p14:tracePt t="79172" x="6742113" y="2682875"/>
          <p14:tracePt t="79173" x="6746875" y="2686050"/>
          <p14:tracePt t="79174" x="6757988" y="2686050"/>
          <p14:tracePt t="79175" x="6762750" y="2690813"/>
          <p14:tracePt t="79176" x="6770688" y="2690813"/>
          <p14:tracePt t="79177" x="6778625" y="2693988"/>
          <p14:tracePt t="79178" x="6786563" y="2693988"/>
          <p14:tracePt t="79179" x="6791325" y="2693988"/>
          <p14:tracePt t="79180" x="6799263" y="2693988"/>
          <p14:tracePt t="79181" x="6807200" y="2698750"/>
          <p14:tracePt t="79183" x="6823075" y="2701925"/>
          <p14:tracePt t="79184" x="6831013" y="2701925"/>
          <p14:tracePt t="79185" x="6838950" y="2701925"/>
          <p14:tracePt t="79186" x="6842125" y="2706688"/>
          <p14:tracePt t="79187" x="6850063" y="2706688"/>
          <p14:tracePt t="79188" x="6858000" y="2706688"/>
          <p14:tracePt t="79189" x="6867525" y="2709863"/>
          <p14:tracePt t="79190" x="6878638" y="2709863"/>
          <p14:tracePt t="79191" x="6886575" y="2714625"/>
          <p14:tracePt t="79192" x="6894513" y="2714625"/>
          <p14:tracePt t="79194" x="6902450" y="2714625"/>
          <p14:tracePt t="79194" x="6915150" y="2722563"/>
          <p14:tracePt t="79195" x="6923088" y="2722563"/>
          <p14:tracePt t="79196" x="6931025" y="2722563"/>
          <p14:tracePt t="79197" x="6942138" y="2725738"/>
          <p14:tracePt t="79198" x="6950075" y="2725738"/>
          <p14:tracePt t="79199" x="6959600" y="2730500"/>
          <p14:tracePt t="79200" x="6970713" y="2730500"/>
          <p14:tracePt t="79201" x="6978650" y="2730500"/>
          <p14:tracePt t="79202" x="6986588" y="2733675"/>
          <p14:tracePt t="79203" x="6999288" y="2733675"/>
          <p14:tracePt t="79204" x="7007225" y="2733675"/>
          <p14:tracePt t="79205" x="7018338" y="2738438"/>
          <p14:tracePt t="79206" x="7026275" y="2738438"/>
          <p14:tracePt t="79207" x="7034213" y="2741613"/>
          <p14:tracePt t="79208" x="7051675" y="2741613"/>
          <p14:tracePt t="79209" x="7059613" y="2741613"/>
          <p14:tracePt t="79210" x="7070725" y="2746375"/>
          <p14:tracePt t="79211" x="7086600" y="2746375"/>
          <p14:tracePt t="79212" x="7094538" y="2746375"/>
          <p14:tracePt t="79213" x="7102475" y="2751138"/>
          <p14:tracePt t="79215" x="7110413" y="2751138"/>
          <p14:tracePt t="79215" x="7123113" y="2751138"/>
          <p14:tracePt t="79217" x="7146925" y="2759075"/>
          <p14:tracePt t="79218" x="7159625" y="2759075"/>
          <p14:tracePt t="79219" x="7167563" y="2759075"/>
          <p14:tracePt t="79220" x="7183438" y="2762250"/>
          <p14:tracePt t="79221" x="7191375" y="2762250"/>
          <p14:tracePt t="79222" x="7202488" y="2762250"/>
          <p14:tracePt t="79223" x="7210425" y="2762250"/>
          <p14:tracePt t="79224" x="7223125" y="2762250"/>
          <p14:tracePt t="79225" x="7235825" y="2767013"/>
          <p14:tracePt t="79226" x="7243763" y="2767013"/>
          <p14:tracePt t="79227" x="7251700" y="2767013"/>
          <p14:tracePt t="79228" x="7267575" y="2770188"/>
          <p14:tracePt t="79229" x="7275513" y="2770188"/>
          <p14:tracePt t="79230" x="7286625" y="2774950"/>
          <p14:tracePt t="79231" x="7294563" y="2774950"/>
          <p14:tracePt t="79232" x="7302500" y="2774950"/>
          <p14:tracePt t="79233" x="7310438" y="2778125"/>
          <p14:tracePt t="79234" x="7323138" y="2778125"/>
          <p14:tracePt t="79235" x="7335838" y="2778125"/>
          <p14:tracePt t="79236" x="7343775" y="2778125"/>
          <p14:tracePt t="79237" x="7351713" y="2782888"/>
          <p14:tracePt t="79238" x="7359650" y="2782888"/>
          <p14:tracePt t="79239" x="7367588" y="2782888"/>
          <p14:tracePt t="79240" x="7375525" y="2790825"/>
          <p14:tracePt t="79241" x="7386638" y="2790825"/>
          <p14:tracePt t="79243" x="7394575" y="2790825"/>
          <p14:tracePt t="79244" x="7407275" y="2794000"/>
          <p14:tracePt t="79245" x="7415213" y="2794000"/>
          <p14:tracePt t="79246" x="7423150" y="2794000"/>
          <p14:tracePt t="79247" x="7431088" y="2794000"/>
          <p14:tracePt t="79248" x="7439025" y="2798763"/>
          <p14:tracePt t="79249" x="7446963" y="2798763"/>
          <p14:tracePt t="79251" x="7459663" y="2798763"/>
          <p14:tracePt t="79252" x="7467600" y="2801938"/>
          <p14:tracePt t="79253" x="7470775" y="2801938"/>
          <p14:tracePt t="79254" x="7478713" y="2801938"/>
          <p14:tracePt t="79255" x="7483475" y="2801938"/>
          <p14:tracePt t="79256" x="7491413" y="2801938"/>
          <p14:tracePt t="79257" x="7491413" y="2806700"/>
          <p14:tracePt t="79258" x="7499350" y="2806700"/>
          <p14:tracePt t="79259" x="7504113" y="2806700"/>
          <p14:tracePt t="79260" x="7507288" y="2806700"/>
          <p14:tracePt t="79261" x="7515225" y="2806700"/>
          <p14:tracePt t="79262" x="7519988" y="2806700"/>
          <p14:tracePt t="79263" x="7523163" y="2809875"/>
          <p14:tracePt t="79265" x="7527925" y="2809875"/>
          <p14:tracePt t="79265" x="7531100" y="2809875"/>
          <p14:tracePt t="79266" x="7535863" y="2809875"/>
          <p14:tracePt t="79267" x="7539038" y="2809875"/>
          <p14:tracePt t="79268" x="7546975" y="2814638"/>
          <p14:tracePt t="79269" x="7551738" y="2814638"/>
          <p14:tracePt t="79271" x="7554913" y="2814638"/>
          <p14:tracePt t="79272" x="7559675" y="2814638"/>
          <p14:tracePt t="79273" x="7562850" y="2814638"/>
          <p14:tracePt t="79274" x="7567613" y="2814638"/>
          <p14:tracePt t="79275" x="7570788" y="2814638"/>
          <p14:tracePt t="79276" x="7575550" y="2814638"/>
          <p14:tracePt t="79277" x="7578725" y="2814638"/>
          <p14:tracePt t="79278" x="7583488" y="2814638"/>
          <p14:tracePt t="79280" x="7588250" y="2814638"/>
          <p14:tracePt t="79281" x="7591425" y="2814638"/>
          <p14:tracePt t="79283" x="7596188" y="2814638"/>
          <p14:tracePt t="79284" x="7599363" y="2814638"/>
          <p14:tracePt t="79285" x="7604125" y="2814638"/>
          <p14:tracePt t="79287" x="7607300" y="2814638"/>
          <p14:tracePt t="79288" x="7612063" y="2817813"/>
          <p14:tracePt t="79289" x="7615238" y="2817813"/>
          <p14:tracePt t="79290" x="7620000" y="2817813"/>
          <p14:tracePt t="79291" x="7623175" y="2817813"/>
          <p14:tracePt t="79293" x="7627938" y="2817813"/>
          <p14:tracePt t="79294" x="7631113" y="2817813"/>
          <p14:tracePt t="79297" x="7635875" y="2817813"/>
          <p14:tracePt t="79300" x="7639050" y="2817813"/>
          <p14:tracePt t="79302" x="7643813" y="2822575"/>
          <p14:tracePt t="79304" x="7646988" y="2822575"/>
          <p14:tracePt t="79306" x="7651750" y="2822575"/>
          <p14:tracePt t="79309" x="7654925" y="2822575"/>
          <p14:tracePt t="79313" x="7659688" y="2822575"/>
          <p14:tracePt t="79316" x="7662863" y="2822575"/>
          <p14:tracePt t="79318" x="7667625" y="2822575"/>
          <p14:tracePt t="79321" x="7670800" y="2822575"/>
          <p14:tracePt t="79325" x="7670800" y="2825750"/>
          <p14:tracePt t="79326" x="7675563" y="2825750"/>
          <p14:tracePt t="79328" x="7680325" y="2825750"/>
          <p14:tracePt t="79329" x="7683500" y="2825750"/>
          <p14:tracePt t="79332" x="7688263" y="2825750"/>
          <p14:tracePt t="79335" x="7691438" y="2825750"/>
          <p14:tracePt t="79336" x="7696200" y="2825750"/>
          <p14:tracePt t="79339" x="7699375" y="2825750"/>
          <p14:tracePt t="79341" x="7704138" y="2830513"/>
          <p14:tracePt t="79345" x="7707313" y="2830513"/>
          <p14:tracePt t="79346" x="7712075" y="2830513"/>
          <p14:tracePt t="79348" x="7715250" y="2830513"/>
          <p14:tracePt t="79352" x="7720013" y="2830513"/>
          <p14:tracePt t="79356" x="7723188" y="2830513"/>
          <p14:tracePt t="79358" x="7727950" y="2830513"/>
          <p14:tracePt t="79360" x="7731125" y="2830513"/>
          <p14:tracePt t="79361" x="7735888" y="2830513"/>
          <p14:tracePt t="79363" x="7739063" y="2830513"/>
          <p14:tracePt t="79366" x="7743825" y="2830513"/>
          <p14:tracePt t="79369" x="7747000" y="2830513"/>
          <p14:tracePt t="79371" x="7751763" y="2830513"/>
          <p14:tracePt t="79373" x="7754938" y="2830513"/>
          <p14:tracePt t="79378" x="7759700" y="2830513"/>
          <p14:tracePt t="79382" x="7762875" y="2830513"/>
          <p14:tracePt t="79385" x="7767638" y="2830513"/>
          <p14:tracePt t="79389" x="7772400" y="2830513"/>
          <p14:tracePt t="79394" x="7775575" y="2830513"/>
          <p14:tracePt t="79398" x="7780338" y="2830513"/>
          <p14:tracePt t="79401" x="7783513" y="2830513"/>
          <p14:tracePt t="79404" x="7788275" y="2825750"/>
          <p14:tracePt t="79406" x="7791450" y="2825750"/>
          <p14:tracePt t="79409" x="7796213" y="2825750"/>
          <p14:tracePt t="79413" x="7799388" y="2825750"/>
          <p14:tracePt t="79415" x="7804150" y="2825750"/>
          <p14:tracePt t="79416" x="7807325" y="2825750"/>
          <p14:tracePt t="79418" x="7812088" y="2825750"/>
          <p14:tracePt t="79420" x="7815263" y="2825750"/>
          <p14:tracePt t="79421" x="7820025" y="2825750"/>
          <p14:tracePt t="79422" x="7823200" y="2825750"/>
          <p14:tracePt t="79424" x="7827963" y="2825750"/>
          <p14:tracePt t="79425" x="7831138" y="2825750"/>
          <p14:tracePt t="79427" x="7835900" y="2825750"/>
          <p14:tracePt t="79429" x="7839075" y="2825750"/>
          <p14:tracePt t="79430" x="7843838" y="2825750"/>
          <p14:tracePt t="79432" x="7847013" y="2825750"/>
          <p14:tracePt t="79433" x="7851775" y="2825750"/>
          <p14:tracePt t="79434" x="7854950" y="2825750"/>
          <p14:tracePt t="79435" x="7859713" y="2825750"/>
          <p14:tracePt t="79437" x="7864475" y="2825750"/>
          <p14:tracePt t="79438" x="7872413" y="2825750"/>
          <p14:tracePt t="79439" x="7875588" y="2825750"/>
          <p14:tracePt t="79440" x="7880350" y="2825750"/>
          <p14:tracePt t="79441" x="7883525" y="2825750"/>
          <p14:tracePt t="79443" x="7888288" y="2825750"/>
          <p14:tracePt t="79444" x="7891463" y="2825750"/>
          <p14:tracePt t="79445" x="7896225" y="2825750"/>
          <p14:tracePt t="79446" x="7899400" y="2825750"/>
          <p14:tracePt t="79447" x="7904163" y="2830513"/>
          <p14:tracePt t="79449" x="7915275" y="2830513"/>
          <p14:tracePt t="79450" x="7920038" y="2830513"/>
          <p14:tracePt t="79451" x="7927975" y="2833688"/>
          <p14:tracePt t="79452" x="7931150" y="2833688"/>
          <p14:tracePt t="79453" x="7939088" y="2833688"/>
          <p14:tracePt t="79454" x="7943850" y="2833688"/>
          <p14:tracePt t="79455" x="7943850" y="2838450"/>
          <p14:tracePt t="79456" x="7948613" y="2838450"/>
          <p14:tracePt t="79457" x="7951788" y="2838450"/>
          <p14:tracePt t="79458" x="7959725" y="2838450"/>
          <p14:tracePt t="79459" x="7964488" y="2838450"/>
          <p14:tracePt t="79460" x="7967663" y="2843213"/>
          <p14:tracePt t="79461" x="7972425" y="2843213"/>
          <p14:tracePt t="79462" x="7975600" y="2843213"/>
          <p14:tracePt t="79463" x="7983538" y="2843213"/>
          <p14:tracePt t="79465" x="7991475" y="2843213"/>
          <p14:tracePt t="79466" x="7996238" y="2843213"/>
          <p14:tracePt t="79467" x="7996238" y="2846388"/>
          <p14:tracePt t="79468" x="8004175" y="2846388"/>
          <p14:tracePt t="79469" x="8007350" y="2846388"/>
          <p14:tracePt t="79470" x="8012113" y="2846388"/>
          <p14:tracePt t="79471" x="8015288" y="2846388"/>
          <p14:tracePt t="79472" x="8020050" y="2846388"/>
          <p14:tracePt t="79473" x="8023225" y="2851150"/>
          <p14:tracePt t="79474" x="8027988" y="2851150"/>
          <p14:tracePt t="79475" x="8031163" y="2851150"/>
          <p14:tracePt t="79476" x="8035925" y="2851150"/>
          <p14:tracePt t="79477" x="8040688" y="2851150"/>
          <p14:tracePt t="79479" x="8043863" y="2851150"/>
          <p14:tracePt t="79480" x="8048625" y="2854325"/>
          <p14:tracePt t="79481" x="8051800" y="2854325"/>
          <p14:tracePt t="79482" x="8056563" y="2854325"/>
          <p14:tracePt t="79483" x="8059738" y="2854325"/>
          <p14:tracePt t="79484" x="8064500" y="2854325"/>
          <p14:tracePt t="79485" x="8067675" y="2854325"/>
          <p14:tracePt t="79486" x="8072438" y="2854325"/>
          <p14:tracePt t="79487" x="8075613" y="2854325"/>
          <p14:tracePt t="79488" x="8080375" y="2854325"/>
          <p14:tracePt t="79491" x="8083550" y="2854325"/>
          <p14:tracePt t="79492" x="8088313" y="2854325"/>
          <p14:tracePt t="79493" x="8091488" y="2854325"/>
          <p14:tracePt t="79495" x="8096250" y="2854325"/>
          <p14:tracePt t="79496" x="8099425" y="2854325"/>
          <p14:tracePt t="79498" x="8104188" y="2854325"/>
          <p14:tracePt t="79500" x="8107363" y="2854325"/>
          <p14:tracePt t="79501" x="8112125" y="2854325"/>
          <p14:tracePt t="79503" x="8115300" y="2854325"/>
          <p14:tracePt t="79505" x="8120063" y="2854325"/>
          <p14:tracePt t="79511" x="8123238" y="2854325"/>
          <p14:tracePt t="79515" x="8128000" y="2854325"/>
          <p14:tracePt t="79517" x="8132763" y="2854325"/>
          <p14:tracePt t="79539" x="8135938" y="2854325"/>
          <p14:tracePt t="79565" x="8140700" y="2854325"/>
          <p14:tracePt t="79568" x="8143875" y="2854325"/>
          <p14:tracePt t="79571" x="8148638" y="2854325"/>
          <p14:tracePt t="79574" x="8151813" y="2854325"/>
          <p14:tracePt t="79578" x="8156575" y="2854325"/>
          <p14:tracePt t="79579" x="8159750" y="2854325"/>
          <p14:tracePt t="79583" x="8164513" y="2854325"/>
          <p14:tracePt t="79584" x="8167688" y="2854325"/>
          <p14:tracePt t="79586" x="8172450" y="2854325"/>
          <p14:tracePt t="79592" x="8183563" y="2851150"/>
          <p14:tracePt t="79594" x="8188325" y="2851150"/>
          <p14:tracePt t="79597" x="8191500" y="2851150"/>
          <p14:tracePt t="79599" x="8199438" y="2851150"/>
          <p14:tracePt t="79602" x="8204200" y="2851150"/>
          <p14:tracePt t="79606" x="8215313" y="2846388"/>
          <p14:tracePt t="79607" x="8220075" y="2846388"/>
          <p14:tracePt t="79609" x="8224838" y="2846388"/>
          <p14:tracePt t="79610" x="8228013" y="2846388"/>
          <p14:tracePt t="79611" x="8232775" y="2846388"/>
          <p14:tracePt t="79613" x="8235950" y="2846388"/>
          <p14:tracePt t="79615" x="8243888" y="2843213"/>
          <p14:tracePt t="79617" x="8248650" y="2843213"/>
          <p14:tracePt t="79619" x="8251825" y="2843213"/>
          <p14:tracePt t="79621" x="8259763" y="2843213"/>
          <p14:tracePt t="79622" x="8264525" y="2838450"/>
          <p14:tracePt t="79623" x="8267700" y="2838450"/>
          <p14:tracePt t="79624" x="8272463" y="2838450"/>
          <p14:tracePt t="79625" x="8275638" y="2838450"/>
          <p14:tracePt t="79626" x="8280400" y="2838450"/>
          <p14:tracePt t="79627" x="8283575" y="2838450"/>
          <p14:tracePt t="79630" x="8291513" y="2838450"/>
          <p14:tracePt t="79631" x="8296275" y="2838450"/>
          <p14:tracePt t="79633" x="8299450" y="2838450"/>
          <p14:tracePt t="79633" x="8304213" y="2838450"/>
          <p14:tracePt t="79634" x="8307388" y="2838450"/>
          <p14:tracePt t="79636" x="8316913" y="2833688"/>
          <p14:tracePt t="79637" x="8320088" y="2833688"/>
          <p14:tracePt t="79639" x="8324850" y="2833688"/>
          <p14:tracePt t="79640" x="8328025" y="2833688"/>
          <p14:tracePt t="79642" x="8332788" y="2830513"/>
          <p14:tracePt t="79643" x="8335963" y="2830513"/>
          <p14:tracePt t="79644" x="8340725" y="2830513"/>
          <p14:tracePt t="79645" x="8343900" y="2830513"/>
          <p14:tracePt t="79646" x="8348663" y="2830513"/>
          <p14:tracePt t="79647" x="8351838" y="2830513"/>
          <p14:tracePt t="79648" x="8356600" y="2825750"/>
          <p14:tracePt t="79649" x="8359775" y="2825750"/>
          <p14:tracePt t="79651" x="8367713" y="2825750"/>
          <p14:tracePt t="79654" x="8372475" y="2825750"/>
          <p14:tracePt t="79655" x="8375650" y="2825750"/>
          <p14:tracePt t="79657" x="8380413" y="2825750"/>
          <p14:tracePt t="79658" x="8383588" y="2825750"/>
          <p14:tracePt t="79659" x="8388350" y="2822575"/>
          <p14:tracePt t="79660" x="8391525" y="2822575"/>
          <p14:tracePt t="79662" x="8396288" y="2822575"/>
          <p14:tracePt t="79665" x="8404225" y="2817813"/>
          <p14:tracePt t="79667" x="8408988" y="2817813"/>
          <p14:tracePt t="79670" x="8412163" y="2817813"/>
          <p14:tracePt t="79671" x="8416925" y="2817813"/>
          <p14:tracePt t="79672" x="8416925" y="2814638"/>
          <p14:tracePt t="79673" x="8420100" y="2814638"/>
          <p14:tracePt t="79675" x="8424863" y="2814638"/>
          <p14:tracePt t="79676" x="8424863" y="2809875"/>
          <p14:tracePt t="79677" x="8428038" y="2809875"/>
          <p14:tracePt t="79679" x="8432800" y="2809875"/>
          <p14:tracePt t="79682" x="8435975" y="2809875"/>
          <p14:tracePt t="79683" x="8440738" y="2806700"/>
          <p14:tracePt t="79688" x="8443913" y="2806700"/>
          <p14:tracePt t="79742" x="8448675" y="2806700"/>
          <p14:tracePt t="79748" x="8451850" y="2806700"/>
          <p14:tracePt t="79752" x="8451850" y="2801938"/>
          <p14:tracePt t="79755" x="8456613" y="2801938"/>
          <p14:tracePt t="79758" x="8459788" y="2801938"/>
          <p14:tracePt t="79761" x="8464550" y="2801938"/>
          <p14:tracePt t="79763" x="8467725" y="2801938"/>
          <p14:tracePt t="79767" x="8472488" y="2801938"/>
          <p14:tracePt t="79770" x="8472488" y="2798763"/>
          <p14:tracePt t="79771" x="8475663" y="2798763"/>
          <p14:tracePt t="79775" x="8480425" y="2798763"/>
          <p14:tracePt t="79777" x="8483600" y="2798763"/>
          <p14:tracePt t="79780" x="8488363" y="2798763"/>
          <p14:tracePt t="79783" x="8493125" y="2798763"/>
          <p14:tracePt t="79789" x="8496300" y="2798763"/>
          <p14:tracePt t="79791" x="8501063" y="2798763"/>
          <p14:tracePt t="79793" x="8504238" y="2798763"/>
          <p14:tracePt t="79796" x="8509000" y="2798763"/>
          <p14:tracePt t="79799" x="8512175" y="2798763"/>
          <p14:tracePt t="79802" x="8516938" y="2798763"/>
          <p14:tracePt t="79806" x="8520113" y="2798763"/>
          <p14:tracePt t="79810" x="8524875" y="2798763"/>
          <p14:tracePt t="79828" x="8528050" y="2798763"/>
          <p14:tracePt t="79909" x="8532813" y="2798763"/>
          <p14:tracePt t="79961" x="8532813" y="2794000"/>
          <p14:tracePt t="80086" x="8528050" y="2794000"/>
          <p14:tracePt t="80090" x="8524875" y="2794000"/>
          <p14:tracePt t="80092" x="8520113" y="2794000"/>
          <p14:tracePt t="80097" x="8516938" y="2794000"/>
          <p14:tracePt t="80100" x="8512175" y="2794000"/>
          <p14:tracePt t="80101" x="8509000" y="2794000"/>
          <p14:tracePt t="80107" x="8501063" y="2794000"/>
          <p14:tracePt t="80112" x="8496300" y="2794000"/>
          <p14:tracePt t="80119" x="8493125" y="2794000"/>
          <p14:tracePt t="80122" x="8488363" y="2794000"/>
          <p14:tracePt t="80125" x="8483600" y="2794000"/>
          <p14:tracePt t="80132" x="8480425" y="2794000"/>
          <p14:tracePt t="80146" x="8475663" y="2794000"/>
          <p14:tracePt t="80149" x="8475663" y="2790825"/>
          <p14:tracePt t="80169" x="8472488" y="2790825"/>
          <p14:tracePt t="80175" x="8472488" y="2786063"/>
          <p14:tracePt t="80176" x="8467725" y="2786063"/>
          <p14:tracePt t="80182" x="8464550" y="2786063"/>
          <p14:tracePt t="80186" x="8459788" y="2786063"/>
          <p14:tracePt t="80190" x="8456613" y="2786063"/>
          <p14:tracePt t="80191" x="8456613" y="2782888"/>
          <p14:tracePt t="80195" x="8451850" y="2782888"/>
          <p14:tracePt t="80196" x="8451850" y="2778125"/>
          <p14:tracePt t="80199" x="8448675" y="2778125"/>
          <p14:tracePt t="80200" x="8443913" y="2774950"/>
          <p14:tracePt t="80201" x="8440738" y="2774950"/>
          <p14:tracePt t="80202" x="8440738" y="2770188"/>
          <p14:tracePt t="80203" x="8435975" y="2770188"/>
          <p14:tracePt t="80204" x="8435975" y="2767013"/>
          <p14:tracePt t="80206" x="8432800" y="2767013"/>
          <p14:tracePt t="80208" x="8432800" y="2762250"/>
          <p14:tracePt t="80209" x="8428038" y="2762250"/>
          <p14:tracePt t="80210" x="8424863" y="2759075"/>
          <p14:tracePt t="80211" x="8420100" y="2759075"/>
          <p14:tracePt t="80213" x="8416925" y="2754313"/>
          <p14:tracePt t="80215" x="8412163" y="2754313"/>
          <p14:tracePt t="80217" x="8412163" y="2751138"/>
          <p14:tracePt t="80218" x="8412163" y="2746375"/>
          <p14:tracePt t="80219" x="8408988" y="2746375"/>
          <p14:tracePt t="80221" x="8404225" y="2746375"/>
          <p14:tracePt t="80223" x="8401050" y="2746375"/>
          <p14:tracePt t="80224" x="8401050" y="2741613"/>
          <p14:tracePt t="80225" x="8396288" y="2741613"/>
          <p14:tracePt t="80226" x="8396288" y="2738438"/>
          <p14:tracePt t="80228" x="8391525" y="2738438"/>
          <p14:tracePt t="80230" x="8391525" y="2733675"/>
          <p14:tracePt t="80232" x="8388350" y="2733675"/>
          <p14:tracePt t="80233" x="8383588" y="2730500"/>
          <p14:tracePt t="80236" x="8380413" y="2730500"/>
          <p14:tracePt t="80239" x="8375650" y="2730500"/>
          <p14:tracePt t="80240" x="8375650" y="2725738"/>
          <p14:tracePt t="80244" x="8372475" y="2725738"/>
          <p14:tracePt t="80245" x="8372475" y="2722563"/>
          <p14:tracePt t="80253" x="8367713" y="2722563"/>
          <p14:tracePt t="80254" x="8367713" y="2717800"/>
          <p14:tracePt t="80255" x="8364538" y="2717800"/>
          <p14:tracePt t="80260" x="8359775" y="2717800"/>
          <p14:tracePt t="80265" x="8356600" y="2717800"/>
          <p14:tracePt t="80269" x="8351838" y="2714625"/>
          <p14:tracePt t="80273" x="8348663" y="2714625"/>
          <p14:tracePt t="80276" x="8343900" y="2714625"/>
          <p14:tracePt t="80278" x="8340725" y="2714625"/>
          <p14:tracePt t="80282" x="8335963" y="2714625"/>
          <p14:tracePt t="80285" x="8332788" y="2714625"/>
          <p14:tracePt t="80291" x="8328025" y="2714625"/>
          <p14:tracePt t="80293" x="8328025" y="2709863"/>
          <p14:tracePt t="80295" x="8324850" y="2709863"/>
          <p14:tracePt t="80298" x="8320088" y="2709863"/>
          <p14:tracePt t="80300" x="8316913" y="2709863"/>
          <p14:tracePt t="80304" x="8312150" y="2709863"/>
          <p14:tracePt t="80307" x="8307388" y="2709863"/>
          <p14:tracePt t="80309" x="8304213" y="2709863"/>
          <p14:tracePt t="80312" x="8299450" y="2709863"/>
          <p14:tracePt t="80316" x="8296275" y="2709863"/>
          <p14:tracePt t="80317" x="8291513" y="2709863"/>
          <p14:tracePt t="80321" x="8288338" y="2709863"/>
          <p14:tracePt t="80325" x="8283575" y="2709863"/>
          <p14:tracePt t="80328" x="8280400" y="2709863"/>
          <p14:tracePt t="80332" x="8275638" y="2709863"/>
          <p14:tracePt t="80333" x="8272463" y="2709863"/>
          <p14:tracePt t="80335" x="8267700" y="2709863"/>
          <p14:tracePt t="80339" x="8264525" y="2709863"/>
          <p14:tracePt t="80343" x="8259763" y="2709863"/>
          <p14:tracePt t="80347" x="8256588" y="2709863"/>
          <p14:tracePt t="80352" x="8251825" y="2709863"/>
          <p14:tracePt t="80372" x="8251825" y="2706688"/>
          <p14:tracePt t="80382" x="8248650" y="2706688"/>
          <p14:tracePt t="80413" x="8243888" y="2706688"/>
          <p14:tracePt t="80432" x="8240713" y="2701925"/>
          <p14:tracePt t="80442" x="8235950" y="2701925"/>
          <p14:tracePt t="80449" x="8232775" y="2698750"/>
          <p14:tracePt t="80457" x="8228013" y="2698750"/>
          <p14:tracePt t="80465" x="8224838" y="2698750"/>
          <p14:tracePt t="80466" x="8224838" y="2693988"/>
          <p14:tracePt t="80474" x="8220075" y="2693988"/>
          <p14:tracePt t="80479" x="8220075" y="2690813"/>
          <p14:tracePt t="80482" x="8215313" y="2690813"/>
          <p14:tracePt t="80504" x="8212138" y="2690813"/>
          <p14:tracePt t="80698" x="8212138" y="2686050"/>
          <p14:tracePt t="80738" x="8212138" y="2682875"/>
          <p14:tracePt t="81053" x="8212138" y="2678113"/>
          <p14:tracePt t="81106" x="8215313" y="2678113"/>
          <p14:tracePt t="81777" x="8215313" y="2674938"/>
          <p14:tracePt t="81782" x="8215313" y="2670175"/>
          <p14:tracePt t="81784" x="8215313" y="2667000"/>
          <p14:tracePt t="81787" x="8215313" y="2662238"/>
          <p14:tracePt t="81792" x="8215313" y="2659063"/>
          <p14:tracePt t="81794" x="8215313" y="2654300"/>
          <p14:tracePt t="81798" x="8215313" y="2649538"/>
          <p14:tracePt t="81800" x="8215313" y="2646363"/>
          <p14:tracePt t="81802" x="8215313" y="2641600"/>
          <p14:tracePt t="81805" x="8215313" y="2638425"/>
          <p14:tracePt t="81808" x="8215313" y="2633663"/>
          <p14:tracePt t="81809" x="8215313" y="2630488"/>
          <p14:tracePt t="81811" x="8215313" y="2625725"/>
          <p14:tracePt t="81813" x="8215313" y="2622550"/>
          <p14:tracePt t="81814" x="8212138" y="2622550"/>
          <p14:tracePt t="81818" x="8212138" y="2617788"/>
          <p14:tracePt t="81819" x="8212138" y="2614613"/>
          <p14:tracePt t="81822" x="8212138" y="2609850"/>
          <p14:tracePt t="81823" x="8212138" y="2606675"/>
          <p14:tracePt t="81824" x="8212138" y="2601913"/>
          <p14:tracePt t="81826" x="8212138" y="2598738"/>
          <p14:tracePt t="81828" x="8212138" y="2593975"/>
          <p14:tracePt t="81830" x="8212138" y="2590800"/>
          <p14:tracePt t="81831" x="8212138" y="2586038"/>
          <p14:tracePt t="81833" x="8212138" y="2582863"/>
          <p14:tracePt t="81836" x="8212138" y="2578100"/>
          <p14:tracePt t="81837" x="8212138" y="2574925"/>
          <p14:tracePt t="81839" x="8212138" y="2570163"/>
          <p14:tracePt t="81840" x="8212138" y="2566988"/>
          <p14:tracePt t="81841" x="8212138" y="2562225"/>
          <p14:tracePt t="81843" x="8212138" y="2557463"/>
          <p14:tracePt t="81844" x="8212138" y="2554288"/>
          <p14:tracePt t="81845" x="8212138" y="2549525"/>
          <p14:tracePt t="81847" x="8212138" y="2546350"/>
          <p14:tracePt t="81848" x="8212138" y="2541588"/>
          <p14:tracePt t="81850" x="8212138" y="2538413"/>
          <p14:tracePt t="81851" x="8212138" y="2533650"/>
          <p14:tracePt t="81852" x="8212138" y="2530475"/>
          <p14:tracePt t="81855" x="8212138" y="2517775"/>
          <p14:tracePt t="81856" x="8212138" y="2514600"/>
          <p14:tracePt t="81857" x="8212138" y="2509838"/>
          <p14:tracePt t="81858" x="8212138" y="2506663"/>
          <p14:tracePt t="81859" x="8212138" y="2501900"/>
          <p14:tracePt t="81860" x="8212138" y="2498725"/>
          <p14:tracePt t="81861" x="8212138" y="2493963"/>
          <p14:tracePt t="81862" x="8212138" y="2490788"/>
          <p14:tracePt t="81863" x="8212138" y="2486025"/>
          <p14:tracePt t="81864" x="8212138" y="2482850"/>
          <p14:tracePt t="81865" x="8212138" y="2478088"/>
          <p14:tracePt t="81866" x="8212138" y="2474913"/>
          <p14:tracePt t="81867" x="8212138" y="2465388"/>
          <p14:tracePt t="81868" x="8212138" y="2462213"/>
          <p14:tracePt t="81870" x="8212138" y="2454275"/>
          <p14:tracePt t="81871" x="8212138" y="2446338"/>
          <p14:tracePt t="81873" x="8212138" y="2441575"/>
          <p14:tracePt t="81874" x="8212138" y="2438400"/>
          <p14:tracePt t="81875" x="8212138" y="2430463"/>
          <p14:tracePt t="81876" x="8212138" y="2425700"/>
          <p14:tracePt t="81883" x="8215313" y="2393950"/>
          <p14:tracePt t="81885" x="8215313" y="2386013"/>
          <p14:tracePt t="81886" x="8215313" y="2382838"/>
          <p14:tracePt t="81887" x="8215313" y="2378075"/>
          <p14:tracePt t="81888" x="8215313" y="2373313"/>
          <p14:tracePt t="81889" x="8215313" y="2370138"/>
          <p14:tracePt t="81890" x="8215313" y="2365375"/>
          <p14:tracePt t="81891" x="8215313" y="2357438"/>
          <p14:tracePt t="81892" x="8220075" y="2354263"/>
          <p14:tracePt t="81894" x="8220075" y="2349500"/>
          <p14:tracePt t="81895" x="8220075" y="2341563"/>
          <p14:tracePt t="81896" x="8220075" y="2338388"/>
          <p14:tracePt t="81898" x="8220075" y="2333625"/>
          <p14:tracePt t="81899" x="8220075" y="2330450"/>
          <p14:tracePt t="81900" x="8220075" y="2325688"/>
          <p14:tracePt t="81901" x="8224838" y="2322513"/>
          <p14:tracePt t="81903" x="8224838" y="2317750"/>
          <p14:tracePt t="81904" x="8224838" y="2314575"/>
          <p14:tracePt t="81905" x="8224838" y="2309813"/>
          <p14:tracePt t="81907" x="8224838" y="2306638"/>
          <p14:tracePt t="81908" x="8228013" y="2301875"/>
          <p14:tracePt t="81909" x="8228013" y="2298700"/>
          <p14:tracePt t="81912" x="8232775" y="2293938"/>
          <p14:tracePt t="81914" x="8232775" y="2290763"/>
          <p14:tracePt t="81916" x="8232775" y="2286000"/>
          <p14:tracePt t="81917" x="8232775" y="2281238"/>
          <p14:tracePt t="81919" x="8232775" y="2278063"/>
          <p14:tracePt t="81921" x="8232775" y="2273300"/>
          <p14:tracePt t="81924" x="8232775" y="2270125"/>
          <p14:tracePt t="81926" x="8235950" y="2270125"/>
          <p14:tracePt t="81927" x="8235950" y="2265363"/>
          <p14:tracePt t="81930" x="8235950" y="2262188"/>
          <p14:tracePt t="81935" x="8240713" y="2262188"/>
          <p14:tracePt t="81936" x="8240713" y="2257425"/>
          <p14:tracePt t="81953" x="8240713" y="2254250"/>
          <p14:tracePt t="81966" x="8240713" y="2249488"/>
          <p14:tracePt t="81994" x="8240713" y="2246313"/>
          <p14:tracePt t="81998" x="8240713" y="2241550"/>
          <p14:tracePt t="82000" x="8240713" y="2238375"/>
          <p14:tracePt t="82002" x="8240713" y="2233613"/>
          <p14:tracePt t="82003" x="8240713" y="2230438"/>
          <p14:tracePt t="82006" x="8240713" y="2225675"/>
          <p14:tracePt t="82009" x="8240713" y="2222500"/>
          <p14:tracePt t="82011" x="8240713" y="2217738"/>
          <p14:tracePt t="82013" x="8240713" y="2214563"/>
          <p14:tracePt t="82015" x="8240713" y="2209800"/>
          <p14:tracePt t="82017" x="8240713" y="2206625"/>
          <p14:tracePt t="82018" x="8240713" y="2201863"/>
          <p14:tracePt t="82019" x="8240713" y="2198688"/>
          <p14:tracePt t="82021" x="8240713" y="2193925"/>
          <p14:tracePt t="82022" x="8240713" y="2189163"/>
          <p14:tracePt t="82023" x="8240713" y="2185988"/>
          <p14:tracePt t="82024" x="8240713" y="2181225"/>
          <p14:tracePt t="82026" x="8235950" y="2178050"/>
          <p14:tracePt t="82028" x="8235950" y="2170113"/>
          <p14:tracePt t="82029" x="8235950" y="2165350"/>
          <p14:tracePt t="82030" x="8235950" y="2162175"/>
          <p14:tracePt t="82031" x="8235950" y="2157413"/>
          <p14:tracePt t="82032" x="8235950" y="2154238"/>
          <p14:tracePt t="82033" x="8235950" y="2149475"/>
          <p14:tracePt t="82034" x="8235950" y="2146300"/>
          <p14:tracePt t="82035" x="8235950" y="2141538"/>
          <p14:tracePt t="82036" x="8235950" y="2133600"/>
          <p14:tracePt t="82037" x="8232775" y="2130425"/>
          <p14:tracePt t="82038" x="8232775" y="2125663"/>
          <p14:tracePt t="82040" x="8232775" y="2117725"/>
          <p14:tracePt t="82042" x="8232775" y="2114550"/>
          <p14:tracePt t="82042" x="8232775" y="2109788"/>
          <p14:tracePt t="82043" x="8232775" y="2101850"/>
          <p14:tracePt t="82044" x="8232775" y="2097088"/>
          <p14:tracePt t="82045" x="8232775" y="2093913"/>
          <p14:tracePt t="82046" x="8232775" y="2089150"/>
          <p14:tracePt t="82047" x="8232775" y="2081213"/>
          <p14:tracePt t="82048" x="8228013" y="2078038"/>
          <p14:tracePt t="82049" x="8228013" y="2073275"/>
          <p14:tracePt t="82050" x="8228013" y="2070100"/>
          <p14:tracePt t="82052" x="8228013" y="2062163"/>
          <p14:tracePt t="82053" x="8228013" y="2057400"/>
          <p14:tracePt t="82054" x="8228013" y="2054225"/>
          <p14:tracePt t="82055" x="8228013" y="2049463"/>
          <p14:tracePt t="82057" x="8228013" y="2038350"/>
          <p14:tracePt t="82058" x="8228013" y="2033588"/>
          <p14:tracePt t="82059" x="8228013" y="2030413"/>
          <p14:tracePt t="82060" x="8228013" y="2025650"/>
          <p14:tracePt t="82061" x="8224838" y="2017713"/>
          <p14:tracePt t="82062" x="8224838" y="2014538"/>
          <p14:tracePt t="82063" x="8224838" y="2005013"/>
          <p14:tracePt t="82065" x="8224838" y="2001838"/>
          <p14:tracePt t="82066" x="8224838" y="1993900"/>
          <p14:tracePt t="82067" x="8220075" y="1989138"/>
          <p14:tracePt t="82068" x="8220075" y="1981200"/>
          <p14:tracePt t="82069" x="8220075" y="1978025"/>
          <p14:tracePt t="82070" x="8220075" y="1973263"/>
          <p14:tracePt t="82071" x="8220075" y="1970088"/>
          <p14:tracePt t="82072" x="8215313" y="1962150"/>
          <p14:tracePt t="82073" x="8215313" y="1957388"/>
          <p14:tracePt t="82074" x="8215313" y="1954213"/>
          <p14:tracePt t="82075" x="8215313" y="1949450"/>
          <p14:tracePt t="82077" x="8215313" y="1946275"/>
          <p14:tracePt t="82078" x="8215313" y="1941513"/>
          <p14:tracePt t="82079" x="8215313" y="1938338"/>
          <p14:tracePt t="82080" x="8215313" y="1933575"/>
          <p14:tracePt t="82081" x="8215313" y="1930400"/>
          <p14:tracePt t="82082" x="8215313" y="1922463"/>
          <p14:tracePt t="82083" x="8212138" y="1917700"/>
          <p14:tracePt t="82085" x="8212138" y="1912938"/>
          <p14:tracePt t="82086" x="8212138" y="1909763"/>
          <p14:tracePt t="82087" x="8212138" y="1905000"/>
          <p14:tracePt t="82089" x="8212138" y="1901825"/>
          <p14:tracePt t="82090" x="8212138" y="1897063"/>
          <p14:tracePt t="82091" x="8207375" y="1893888"/>
          <p14:tracePt t="82092" x="8207375" y="1889125"/>
          <p14:tracePt t="82093" x="8207375" y="1885950"/>
          <p14:tracePt t="82094" x="8207375" y="1881188"/>
          <p14:tracePt t="82095" x="8207375" y="1878013"/>
          <p14:tracePt t="82097" x="8207375" y="1873250"/>
          <p14:tracePt t="82098" x="8207375" y="1870075"/>
          <p14:tracePt t="82099" x="8204200" y="1865313"/>
          <p14:tracePt t="82101" x="8204200" y="1862138"/>
          <p14:tracePt t="82103" x="8204200" y="1857375"/>
          <p14:tracePt t="82105" x="8204200" y="1854200"/>
          <p14:tracePt t="82107" x="8204200" y="1849438"/>
          <p14:tracePt t="82108" x="8204200" y="1846263"/>
          <p14:tracePt t="82109" x="8204200" y="1841500"/>
          <p14:tracePt t="82111" x="8204200" y="1838325"/>
          <p14:tracePt t="82112" x="8204200" y="1833563"/>
          <p14:tracePt t="82114" x="8204200" y="1830388"/>
          <p14:tracePt t="82116" x="8199438" y="1825625"/>
          <p14:tracePt t="82118" x="8199438" y="1820863"/>
          <p14:tracePt t="82122" x="8199438" y="1817688"/>
          <p14:tracePt t="82123" x="8199438" y="1812925"/>
          <p14:tracePt t="82124" x="8196263" y="1812925"/>
          <p14:tracePt t="82126" x="8196263" y="1809750"/>
          <p14:tracePt t="82128" x="8196263" y="1804988"/>
          <p14:tracePt t="82131" x="8196263" y="1801813"/>
          <p14:tracePt t="82133" x="8191500" y="1797050"/>
          <p14:tracePt t="82134" x="8191500" y="1793875"/>
          <p14:tracePt t="82137" x="8191500" y="1789113"/>
          <p14:tracePt t="82139" x="8191500" y="1785938"/>
          <p14:tracePt t="82140" x="8188325" y="1785938"/>
          <p14:tracePt t="82141" x="8188325" y="1781175"/>
          <p14:tracePt t="82144" x="8183563" y="1781175"/>
          <p14:tracePt t="82145" x="8183563" y="1778000"/>
          <p14:tracePt t="82147" x="8183563" y="1773238"/>
          <p14:tracePt t="82149" x="8183563" y="1770063"/>
          <p14:tracePt t="82150" x="8180388" y="1770063"/>
          <p14:tracePt t="82152" x="8180388" y="1765300"/>
          <p14:tracePt t="82153" x="8175625" y="1762125"/>
          <p14:tracePt t="82154" x="8175625" y="1757363"/>
          <p14:tracePt t="82156" x="8175625" y="1754188"/>
          <p14:tracePt t="82157" x="8172450" y="1749425"/>
          <p14:tracePt t="82159" x="8172450" y="1746250"/>
          <p14:tracePt t="82160" x="8167688" y="1741488"/>
          <p14:tracePt t="82163" x="8167688" y="1738313"/>
          <p14:tracePt t="82164" x="8164513" y="1738313"/>
          <p14:tracePt t="82165" x="8164513" y="1733550"/>
          <p14:tracePt t="82167" x="8164513" y="1725613"/>
          <p14:tracePt t="82169" x="8164513" y="1720850"/>
          <p14:tracePt t="82170" x="8164513" y="1717675"/>
          <p14:tracePt t="82171" x="8159750" y="1717675"/>
          <p14:tracePt t="82172" x="8159750" y="1712913"/>
          <p14:tracePt t="82174" x="8159750" y="1709738"/>
          <p14:tracePt t="82175" x="8159750" y="1704975"/>
          <p14:tracePt t="82177" x="8156575" y="1701800"/>
          <p14:tracePt t="82178" x="8156575" y="1697038"/>
          <p14:tracePt t="82182" x="8156575" y="1693863"/>
          <p14:tracePt t="82183" x="8151813" y="1689100"/>
          <p14:tracePt t="82185" x="8151813" y="1685925"/>
          <p14:tracePt t="82186" x="8148638" y="1681163"/>
          <p14:tracePt t="82188" x="8148638" y="1677988"/>
          <p14:tracePt t="82189" x="8143875" y="1673225"/>
          <p14:tracePt t="82191" x="8143875" y="1670050"/>
          <p14:tracePt t="82192" x="8143875" y="1665288"/>
          <p14:tracePt t="82193" x="8140700" y="1665288"/>
          <p14:tracePt t="82194" x="8140700" y="1662113"/>
          <p14:tracePt t="82195" x="8140700" y="1657350"/>
          <p14:tracePt t="82198" x="8140700" y="1654175"/>
          <p14:tracePt t="82199" x="8135938" y="1654175"/>
          <p14:tracePt t="82200" x="8135938" y="1649413"/>
          <p14:tracePt t="82201" x="8135938" y="1644650"/>
          <p14:tracePt t="82203" x="8132763" y="1641475"/>
          <p14:tracePt t="82204" x="8132763" y="1636713"/>
          <p14:tracePt t="82206" x="8128000" y="1633538"/>
          <p14:tracePt t="82208" x="8123238" y="1628775"/>
          <p14:tracePt t="82210" x="8120063" y="1625600"/>
          <p14:tracePt t="82211" x="8120063" y="1620838"/>
          <p14:tracePt t="82213" x="8120063" y="1617663"/>
          <p14:tracePt t="82217" x="8120063" y="1612900"/>
          <p14:tracePt t="82219" x="8115300" y="1609725"/>
          <p14:tracePt t="82221" x="8115300" y="1604963"/>
          <p14:tracePt t="82223" x="8112125" y="1601788"/>
          <p14:tracePt t="82226" x="8112125" y="1597025"/>
          <p14:tracePt t="82227" x="8107363" y="1597025"/>
          <p14:tracePt t="82230" x="8104188" y="1593850"/>
          <p14:tracePt t="82233" x="8104188" y="1589088"/>
          <p14:tracePt t="82235" x="8104188" y="1585913"/>
          <p14:tracePt t="82237" x="8099425" y="1581150"/>
          <p14:tracePt t="82240" x="8099425" y="1577975"/>
          <p14:tracePt t="82242" x="8096250" y="1577975"/>
          <p14:tracePt t="82246" x="8091488" y="1573213"/>
          <p14:tracePt t="82247" x="8091488" y="1570038"/>
          <p14:tracePt t="82249" x="8091488" y="1565275"/>
          <p14:tracePt t="82251" x="8088313" y="1562100"/>
          <p14:tracePt t="82253" x="8083550" y="1562100"/>
          <p14:tracePt t="82254" x="8083550" y="1557338"/>
          <p14:tracePt t="82256" x="8080375" y="1552575"/>
          <p14:tracePt t="82258" x="8080375" y="1549400"/>
          <p14:tracePt t="82260" x="8080375" y="1544638"/>
          <p14:tracePt t="82262" x="8075613" y="1541463"/>
          <p14:tracePt t="82263" x="8072438" y="1541463"/>
          <p14:tracePt t="82264" x="8072438" y="1536700"/>
          <p14:tracePt t="82265" x="8067675" y="1536700"/>
          <p14:tracePt t="82267" x="8064500" y="1536700"/>
          <p14:tracePt t="82268" x="8064500" y="1533525"/>
          <p14:tracePt t="82269" x="8064500" y="1528763"/>
          <p14:tracePt t="82270" x="8059738" y="1528763"/>
          <p14:tracePt t="82271" x="8056563" y="1525588"/>
          <p14:tracePt t="82273" x="8051800" y="1520825"/>
          <p14:tracePt t="82274" x="8048625" y="1517650"/>
          <p14:tracePt t="82276" x="8043863" y="1512888"/>
          <p14:tracePt t="82278" x="8040688" y="1509713"/>
          <p14:tracePt t="82279" x="8040688" y="1504950"/>
          <p14:tracePt t="82281" x="8035925" y="1501775"/>
          <p14:tracePt t="82282" x="8031163" y="1501775"/>
          <p14:tracePt t="82284" x="8027988" y="1497013"/>
          <p14:tracePt t="82285" x="8023225" y="1497013"/>
          <p14:tracePt t="82287" x="8020050" y="1493838"/>
          <p14:tracePt t="82288" x="8015288" y="1493838"/>
          <p14:tracePt t="82289" x="8012113" y="1489075"/>
          <p14:tracePt t="82290" x="8007350" y="1489075"/>
          <p14:tracePt t="82291" x="8007350" y="1485900"/>
          <p14:tracePt t="82292" x="8004175" y="1485900"/>
          <p14:tracePt t="82293" x="8004175" y="1481138"/>
          <p14:tracePt t="82294" x="7999413" y="1481138"/>
          <p14:tracePt t="82295" x="7999413" y="1477963"/>
          <p14:tracePt t="82297" x="7996238" y="1473200"/>
          <p14:tracePt t="82298" x="7991475" y="1473200"/>
          <p14:tracePt t="82299" x="7988300" y="1470025"/>
          <p14:tracePt t="82300" x="7983538" y="1470025"/>
          <p14:tracePt t="82302" x="7980363" y="1465263"/>
          <p14:tracePt t="82304" x="7975600" y="1465263"/>
          <p14:tracePt t="82305" x="7975600" y="1460500"/>
          <p14:tracePt t="82306" x="7972425" y="1460500"/>
          <p14:tracePt t="82307" x="7967663" y="1460500"/>
          <p14:tracePt t="82308" x="7967663" y="1457325"/>
          <p14:tracePt t="82309" x="7964488" y="1457325"/>
          <p14:tracePt t="82311" x="7959725" y="1457325"/>
          <p14:tracePt t="82314" x="7956550" y="1457325"/>
          <p14:tracePt t="82315" x="7951788" y="1457325"/>
          <p14:tracePt t="82317" x="7948613" y="1457325"/>
          <p14:tracePt t="82319" x="7943850" y="1452563"/>
          <p14:tracePt t="82320" x="7939088" y="1452563"/>
          <p14:tracePt t="82322" x="7935913" y="1452563"/>
          <p14:tracePt t="82324" x="7931150" y="1452563"/>
          <p14:tracePt t="82325" x="7931150" y="1449388"/>
          <p14:tracePt t="82326" x="7927975" y="1449388"/>
          <p14:tracePt t="82328" x="7923213" y="1449388"/>
          <p14:tracePt t="82332" x="7920038" y="1449388"/>
          <p14:tracePt t="82335" x="7915275" y="1444625"/>
          <p14:tracePt t="82339" x="7912100" y="1444625"/>
          <p14:tracePt t="82342" x="7907338" y="1444625"/>
          <p14:tracePt t="82343" x="7907338" y="1441450"/>
          <p14:tracePt t="82346" x="7904163" y="1441450"/>
          <p14:tracePt t="82350" x="7899400" y="1441450"/>
          <p14:tracePt t="82354" x="7896225" y="1441450"/>
          <p14:tracePt t="82357" x="7891463" y="1441450"/>
          <p14:tracePt t="82361" x="7888288" y="1441450"/>
          <p14:tracePt t="82363" x="7888288" y="1436688"/>
          <p14:tracePt t="82364" x="7883525" y="1436688"/>
          <p14:tracePt t="82370" x="7880350" y="1436688"/>
          <p14:tracePt t="82384" x="7875588" y="1436688"/>
          <p14:tracePt t="82386" x="7875588" y="1433513"/>
          <p14:tracePt t="82394" x="7872413" y="1433513"/>
          <p14:tracePt t="82403" x="7872413" y="1428750"/>
          <p14:tracePt t="82417" x="7872413" y="1425575"/>
          <p14:tracePt t="82421" x="7872413" y="1420813"/>
          <p14:tracePt t="82425" x="7872413" y="1417638"/>
          <p14:tracePt t="82428" x="7867650" y="1417638"/>
          <p14:tracePt t="82430" x="7867650" y="1412875"/>
          <p14:tracePt t="82432" x="7867650" y="1409700"/>
          <p14:tracePt t="82433" x="7867650" y="1404938"/>
          <p14:tracePt t="82435" x="7867650" y="1401763"/>
          <p14:tracePt t="82438" x="7867650" y="1397000"/>
          <p14:tracePt t="82440" x="7867650" y="1393825"/>
          <p14:tracePt t="82442" x="7867650" y="1389063"/>
          <p14:tracePt t="82444" x="7867650" y="1385888"/>
          <p14:tracePt t="82445" x="7867650" y="1381125"/>
          <p14:tracePt t="82447" x="7867650" y="1377950"/>
          <p14:tracePt t="82449" x="7867650" y="1373188"/>
          <p14:tracePt t="82454" x="7867650" y="1368425"/>
          <p14:tracePt t="82456" x="7867650" y="1365250"/>
          <p14:tracePt t="82457" x="7867650" y="1360488"/>
          <p14:tracePt t="82460" x="7867650" y="1357313"/>
          <p14:tracePt t="82462" x="7867650" y="1352550"/>
          <p14:tracePt t="82464" x="7867650" y="1349375"/>
          <p14:tracePt t="82466" x="7867650" y="1344613"/>
          <p14:tracePt t="82469" x="7867650" y="1341438"/>
          <p14:tracePt t="82473" x="7867650" y="1336675"/>
          <p14:tracePt t="82480" x="7867650" y="1333500"/>
          <p14:tracePt t="82558" x="7872413" y="1333500"/>
          <p14:tracePt t="82564" x="7875588" y="1336675"/>
          <p14:tracePt t="82566" x="7875588" y="1341438"/>
          <p14:tracePt t="82568" x="7883525" y="1341438"/>
          <p14:tracePt t="82569" x="7883525" y="1344613"/>
          <p14:tracePt t="82571" x="7891463" y="1349375"/>
          <p14:tracePt t="82573" x="7896225" y="1349375"/>
          <p14:tracePt t="82576" x="7899400" y="1352550"/>
          <p14:tracePt t="82578" x="7907338" y="1357313"/>
          <p14:tracePt t="82579" x="7912100" y="1360488"/>
          <p14:tracePt t="82580" x="7915275" y="1365250"/>
          <p14:tracePt t="82584" x="7920038" y="1368425"/>
          <p14:tracePt t="82585" x="7923213" y="1368425"/>
          <p14:tracePt t="82588" x="7927975" y="1373188"/>
          <p14:tracePt t="82591" x="7935913" y="1377950"/>
          <p14:tracePt t="82592" x="7939088" y="1381125"/>
          <p14:tracePt t="82594" x="7943850" y="1381125"/>
          <p14:tracePt t="82595" x="7943850" y="1385888"/>
          <p14:tracePt t="82599" x="7948613" y="1389063"/>
          <p14:tracePt t="82600" x="7951788" y="1393825"/>
          <p14:tracePt t="82602" x="7956550" y="1397000"/>
          <p14:tracePt t="82605" x="7956550" y="1401763"/>
          <p14:tracePt t="82608" x="7959725" y="1404938"/>
          <p14:tracePt t="82610" x="7959725" y="1409700"/>
          <p14:tracePt t="82612" x="7959725" y="1412875"/>
          <p14:tracePt t="82613" x="7964488" y="1412875"/>
          <p14:tracePt t="82616" x="7964488" y="1417638"/>
          <p14:tracePt t="82617" x="7967663" y="1417638"/>
          <p14:tracePt t="82618" x="7967663" y="1420813"/>
          <p14:tracePt t="82621" x="7967663" y="1425575"/>
          <p14:tracePt t="82623" x="7967663" y="1428750"/>
          <p14:tracePt t="82624" x="7972425" y="1433513"/>
          <p14:tracePt t="82626" x="7972425" y="1436688"/>
          <p14:tracePt t="82628" x="7975600" y="1441450"/>
          <p14:tracePt t="82630" x="7975600" y="1444625"/>
          <p14:tracePt t="82632" x="7980363" y="1449388"/>
          <p14:tracePt t="82634" x="7980363" y="1452563"/>
          <p14:tracePt t="82636" x="7980363" y="1457325"/>
          <p14:tracePt t="82638" x="7980363" y="1460500"/>
          <p14:tracePt t="82640" x="7980363" y="1465263"/>
          <p14:tracePt t="82641" x="7980363" y="1470025"/>
          <p14:tracePt t="82642" x="7980363" y="1473200"/>
          <p14:tracePt t="82644" x="7980363" y="1477963"/>
          <p14:tracePt t="82645" x="7983538" y="1481138"/>
          <p14:tracePt t="82647" x="7983538" y="1485900"/>
          <p14:tracePt t="82648" x="7983538" y="1489075"/>
          <p14:tracePt t="82650" x="7983538" y="1493838"/>
          <p14:tracePt t="82652" x="7983538" y="1497013"/>
          <p14:tracePt t="82653" x="7983538" y="1501775"/>
          <p14:tracePt t="82654" x="7983538" y="1504950"/>
          <p14:tracePt t="82655" x="7983538" y="1509713"/>
          <p14:tracePt t="82656" x="7983538" y="1512888"/>
          <p14:tracePt t="82658" x="7983538" y="1517650"/>
          <p14:tracePt t="82659" x="7983538" y="1520825"/>
          <p14:tracePt t="82660" x="7983538" y="1525588"/>
          <p14:tracePt t="82661" x="7983538" y="1528763"/>
          <p14:tracePt t="82662" x="7983538" y="1533525"/>
          <p14:tracePt t="82664" x="7983538" y="1536700"/>
          <p14:tracePt t="82665" x="7983538" y="1541463"/>
          <p14:tracePt t="82667" x="7983538" y="1549400"/>
          <p14:tracePt t="82668" x="7983538" y="1552575"/>
          <p14:tracePt t="82669" x="7983538" y="1557338"/>
          <p14:tracePt t="82670" x="7983538" y="1562100"/>
          <p14:tracePt t="82671" x="7983538" y="1565275"/>
          <p14:tracePt t="82672" x="7983538" y="1570038"/>
          <p14:tracePt t="82673" x="7983538" y="1573213"/>
          <p14:tracePt t="82675" x="7983538" y="1577975"/>
          <p14:tracePt t="82676" x="7983538" y="1581150"/>
          <p14:tracePt t="82677" x="7983538" y="1585913"/>
          <p14:tracePt t="82678" x="7983538" y="1589088"/>
          <p14:tracePt t="82679" x="7983538" y="1593850"/>
          <p14:tracePt t="82680" x="7983538" y="1601788"/>
          <p14:tracePt t="82682" x="7983538" y="1609725"/>
          <p14:tracePt t="82683" x="7983538" y="1612900"/>
          <p14:tracePt t="82684" x="7983538" y="1617663"/>
          <p14:tracePt t="82685" x="7983538" y="1625600"/>
          <p14:tracePt t="82687" x="7983538" y="1628775"/>
          <p14:tracePt t="82688" x="7983538" y="1633538"/>
          <p14:tracePt t="82689" x="7983538" y="1641475"/>
          <p14:tracePt t="82690" x="7983538" y="1644650"/>
          <p14:tracePt t="82691" x="7983538" y="1649413"/>
          <p14:tracePt t="82692" x="7983538" y="1654175"/>
          <p14:tracePt t="82693" x="7983538" y="1662113"/>
          <p14:tracePt t="82694" x="7980363" y="1665288"/>
          <p14:tracePt t="82695" x="7980363" y="1670050"/>
          <p14:tracePt t="82696" x="7980363" y="1673225"/>
          <p14:tracePt t="82698" x="7980363" y="1677988"/>
          <p14:tracePt t="82699" x="7980363" y="1681163"/>
          <p14:tracePt t="82700" x="7980363" y="1689100"/>
          <p14:tracePt t="82701" x="7980363" y="1693863"/>
          <p14:tracePt t="82702" x="7980363" y="1697038"/>
          <p14:tracePt t="82703" x="7980363" y="1701800"/>
          <p14:tracePt t="82704" x="7980363" y="1704975"/>
          <p14:tracePt t="82705" x="7980363" y="1709738"/>
          <p14:tracePt t="82706" x="7980363" y="1712913"/>
          <p14:tracePt t="82707" x="7980363" y="1717675"/>
          <p14:tracePt t="82708" x="7980363" y="1720850"/>
          <p14:tracePt t="82710" x="7980363" y="1725613"/>
          <p14:tracePt t="82711" x="7980363" y="1728788"/>
          <p14:tracePt t="82713" x="7980363" y="1738313"/>
          <p14:tracePt t="82714" x="7980363" y="1741488"/>
          <p14:tracePt t="82715" x="7980363" y="1746250"/>
          <p14:tracePt t="82716" x="7980363" y="1749425"/>
          <p14:tracePt t="82717" x="7980363" y="1754188"/>
          <p14:tracePt t="82718" x="7980363" y="1757363"/>
          <p14:tracePt t="82719" x="7980363" y="1762125"/>
          <p14:tracePt t="82721" x="7980363" y="1765300"/>
          <p14:tracePt t="82722" x="7980363" y="1770063"/>
          <p14:tracePt t="82724" x="7980363" y="1773238"/>
          <p14:tracePt t="82725" x="7980363" y="1778000"/>
          <p14:tracePt t="82726" x="7980363" y="1781175"/>
          <p14:tracePt t="82729" x="7980363" y="1785938"/>
          <p14:tracePt t="82730" x="7980363" y="1789113"/>
          <p14:tracePt t="82732" x="7980363" y="1793875"/>
          <p14:tracePt t="82733" x="7980363" y="1797050"/>
          <p14:tracePt t="82736" x="7980363" y="1801813"/>
          <p14:tracePt t="82740" x="7980363" y="1804988"/>
          <p14:tracePt t="82742" x="7983538" y="1804988"/>
          <p14:tracePt t="82743" x="7983538" y="1809750"/>
          <p14:tracePt t="82746" x="7983538" y="1812925"/>
          <p14:tracePt t="82751" x="7983538" y="1817688"/>
          <p14:tracePt t="82754" x="7983538" y="1820863"/>
          <p14:tracePt t="82757" x="7988300" y="1825625"/>
          <p14:tracePt t="82759" x="7988300" y="1830388"/>
          <p14:tracePt t="82763" x="7988300" y="1833563"/>
          <p14:tracePt t="82766" x="7988300" y="1838325"/>
          <p14:tracePt t="82769" x="7988300" y="1841500"/>
          <p14:tracePt t="82770" x="7991475" y="1841500"/>
          <p14:tracePt t="82774" x="7996238" y="1846263"/>
          <p14:tracePt t="82776" x="7996238" y="1849438"/>
          <p14:tracePt t="82778" x="7996238" y="1854200"/>
          <p14:tracePt t="82780" x="7996238" y="1857375"/>
          <p14:tracePt t="82782" x="7999413" y="1862138"/>
          <p14:tracePt t="82783" x="7999413" y="1865313"/>
          <p14:tracePt t="82785" x="8004175" y="1870075"/>
          <p14:tracePt t="82786" x="8004175" y="1873250"/>
          <p14:tracePt t="82788" x="8007350" y="1878013"/>
          <p14:tracePt t="82789" x="8007350" y="1881188"/>
          <p14:tracePt t="82792" x="8012113" y="1885950"/>
          <p14:tracePt t="82794" x="8012113" y="1889125"/>
          <p14:tracePt t="82795" x="8015288" y="1893888"/>
          <p14:tracePt t="82796" x="8020050" y="1897063"/>
          <p14:tracePt t="82798" x="8020050" y="1901825"/>
          <p14:tracePt t="82799" x="8023225" y="1905000"/>
          <p14:tracePt t="82801" x="8023225" y="1909763"/>
          <p14:tracePt t="82802" x="8027988" y="1912938"/>
          <p14:tracePt t="82804" x="8027988" y="1917700"/>
          <p14:tracePt t="82806" x="8031163" y="1922463"/>
          <p14:tracePt t="82808" x="8035925" y="1925638"/>
          <p14:tracePt t="82810" x="8035925" y="1930400"/>
          <p14:tracePt t="82811" x="8040688" y="1933575"/>
          <p14:tracePt t="82812" x="8040688" y="1938338"/>
          <p14:tracePt t="82813" x="8043863" y="1938338"/>
          <p14:tracePt t="82814" x="8043863" y="1941513"/>
          <p14:tracePt t="82815" x="8043863" y="1946275"/>
          <p14:tracePt t="82816" x="8048625" y="1949450"/>
          <p14:tracePt t="82818" x="8048625" y="1954213"/>
          <p14:tracePt t="82819" x="8051800" y="1957388"/>
          <p14:tracePt t="82820" x="8051800" y="1962150"/>
          <p14:tracePt t="82822" x="8056563" y="1965325"/>
          <p14:tracePt t="82824" x="8059738" y="1970088"/>
          <p14:tracePt t="82825" x="8059738" y="1973263"/>
          <p14:tracePt t="82826" x="8064500" y="1978025"/>
          <p14:tracePt t="82827" x="8064500" y="1981200"/>
          <p14:tracePt t="82829" x="8064500" y="1985963"/>
          <p14:tracePt t="82830" x="8067675" y="1989138"/>
          <p14:tracePt t="82831" x="8067675" y="1993900"/>
          <p14:tracePt t="82832" x="8072438" y="1997075"/>
          <p14:tracePt t="82834" x="8075613" y="2005013"/>
          <p14:tracePt t="82836" x="8075613" y="2009775"/>
          <p14:tracePt t="82837" x="8075613" y="2014538"/>
          <p14:tracePt t="82838" x="8080375" y="2017713"/>
          <p14:tracePt t="82839" x="8080375" y="2022475"/>
          <p14:tracePt t="82841" x="8083550" y="2025650"/>
          <p14:tracePt t="82842" x="8083550" y="2033588"/>
          <p14:tracePt t="82843" x="8083550" y="2038350"/>
          <p14:tracePt t="82844" x="8088313" y="2041525"/>
          <p14:tracePt t="82846" x="8088313" y="2049463"/>
          <p14:tracePt t="82847" x="8088313" y="2054225"/>
          <p14:tracePt t="82849" x="8088313" y="2057400"/>
          <p14:tracePt t="82850" x="8091488" y="2057400"/>
          <p14:tracePt t="82851" x="8091488" y="2062163"/>
          <p14:tracePt t="82852" x="8091488" y="2070100"/>
          <p14:tracePt t="82853" x="8091488" y="2073275"/>
          <p14:tracePt t="82854" x="8091488" y="2078038"/>
          <p14:tracePt t="82856" x="8091488" y="2081213"/>
          <p14:tracePt t="82857" x="8091488" y="2089150"/>
          <p14:tracePt t="82858" x="8091488" y="2093913"/>
          <p14:tracePt t="82860" x="8091488" y="2097088"/>
          <p14:tracePt t="82861" x="8091488" y="2101850"/>
          <p14:tracePt t="82862" x="8091488" y="2106613"/>
          <p14:tracePt t="82864" x="8091488" y="2109788"/>
          <p14:tracePt t="82865" x="8091488" y="2114550"/>
          <p14:tracePt t="82866" x="8091488" y="2117725"/>
          <p14:tracePt t="82867" x="8091488" y="2122488"/>
          <p14:tracePt t="82868" x="8091488" y="2125663"/>
          <p14:tracePt t="82869" x="8091488" y="2130425"/>
          <p14:tracePt t="82870" x="8091488" y="2133600"/>
          <p14:tracePt t="82872" x="8091488" y="2138363"/>
          <p14:tracePt t="82873" x="8091488" y="2141538"/>
          <p14:tracePt t="82874" x="8091488" y="2146300"/>
          <p14:tracePt t="82877" x="8091488" y="2154238"/>
          <p14:tracePt t="82878" x="8091488" y="2157413"/>
          <p14:tracePt t="82880" x="8091488" y="2162175"/>
          <p14:tracePt t="82882" x="8091488" y="2165350"/>
          <p14:tracePt t="82883" x="8091488" y="2170113"/>
          <p14:tracePt t="82884" x="8088313" y="2173288"/>
          <p14:tracePt t="82886" x="8088313" y="2178050"/>
          <p14:tracePt t="82887" x="8088313" y="2181225"/>
          <p14:tracePt t="82888" x="8083550" y="2181225"/>
          <p14:tracePt t="82889" x="8083550" y="2185988"/>
          <p14:tracePt t="82890" x="8080375" y="2185988"/>
          <p14:tracePt t="82891" x="8080375" y="2189163"/>
          <p14:tracePt t="82901" x="8067675" y="2209800"/>
          <p14:tracePt t="82902" x="8064500" y="2209800"/>
          <p14:tracePt t="82903" x="8064500" y="2214563"/>
          <p14:tracePt t="82904" x="8059738" y="2214563"/>
          <p14:tracePt t="82905" x="8059738" y="2217738"/>
          <p14:tracePt t="82907" x="8056563" y="2217738"/>
          <p14:tracePt t="82908" x="8056563" y="2222500"/>
          <p14:tracePt t="82909" x="8051800" y="2222500"/>
          <p14:tracePt t="82910" x="8051800" y="2225675"/>
          <p14:tracePt t="82911" x="8048625" y="2225675"/>
          <p14:tracePt t="82912" x="8048625" y="2230438"/>
          <p14:tracePt t="82913" x="8043863" y="2230438"/>
          <p14:tracePt t="82915" x="8040688" y="2233613"/>
          <p14:tracePt t="82920" x="8040688" y="2238375"/>
          <p14:tracePt t="82921" x="8035925" y="2238375"/>
          <p14:tracePt t="82923" x="8031163" y="2241550"/>
          <p14:tracePt t="82925" x="8027988" y="2241550"/>
          <p14:tracePt t="82926" x="8027988" y="2246313"/>
          <p14:tracePt t="82928" x="8023225" y="2249488"/>
          <p14:tracePt t="82932" x="8020050" y="2254250"/>
          <p14:tracePt t="82934" x="8015288" y="2254250"/>
          <p14:tracePt t="82937" x="8015288" y="2257425"/>
          <p14:tracePt t="82938" x="8012113" y="2257425"/>
          <p14:tracePt t="82941" x="8007350" y="2262188"/>
          <p14:tracePt t="82944" x="8004175" y="2265363"/>
          <p14:tracePt t="82948" x="8004175" y="2270125"/>
          <p14:tracePt t="82951" x="7999413" y="2270125"/>
          <p14:tracePt t="82952" x="7999413" y="2273300"/>
          <p14:tracePt t="82965" x="7999413" y="2278063"/>
          <p14:tracePt t="82968" x="7996238" y="2278063"/>
          <p14:tracePt t="82969" x="7996238" y="2281238"/>
          <p14:tracePt t="82972" x="7991475" y="2281238"/>
          <p14:tracePt t="82976" x="7991475" y="2286000"/>
          <p14:tracePt t="82979" x="7988300" y="2286000"/>
          <p14:tracePt t="82984" x="7988300" y="2290763"/>
          <p14:tracePt t="82989" x="7988300" y="2293938"/>
          <p14:tracePt t="82996" x="7988300" y="2298700"/>
          <p14:tracePt t="83000" x="7988300" y="2301875"/>
          <p14:tracePt t="83004" x="7988300" y="2306638"/>
          <p14:tracePt t="83011" x="7988300" y="2309813"/>
          <p14:tracePt t="83014" x="7988300" y="2314575"/>
          <p14:tracePt t="83021" x="7988300" y="2317750"/>
          <p14:tracePt t="83025" x="7988300" y="2322513"/>
          <p14:tracePt t="83032" x="7991475" y="2322513"/>
          <p14:tracePt t="83034" x="7991475" y="2325688"/>
          <p14:tracePt t="83039" x="7996238" y="2325688"/>
          <p14:tracePt t="83056" x="7999413" y="2325688"/>
          <p14:tracePt t="83061" x="8004175" y="2325688"/>
          <p14:tracePt t="83064" x="8007350" y="2325688"/>
          <p14:tracePt t="83067" x="8012113" y="2325688"/>
          <p14:tracePt t="83071" x="8015288" y="2325688"/>
          <p14:tracePt t="83074" x="8015288" y="2322513"/>
          <p14:tracePt t="83076" x="8015288" y="2317750"/>
          <p14:tracePt t="83077" x="8020050" y="2317750"/>
          <p14:tracePt t="83080" x="8023225" y="2317750"/>
          <p14:tracePt t="83082" x="8023225" y="2314575"/>
          <p14:tracePt t="83083" x="8027988" y="2314575"/>
          <p14:tracePt t="83085" x="8031163" y="2309813"/>
          <p14:tracePt t="83088" x="8031163" y="2301875"/>
          <p14:tracePt t="83089" x="8035925" y="2301875"/>
          <p14:tracePt t="83090" x="8035925" y="2298700"/>
          <p14:tracePt t="83091" x="8035925" y="2293938"/>
          <p14:tracePt t="83093" x="8035925" y="2290763"/>
          <p14:tracePt t="83094" x="8035925" y="2286000"/>
          <p14:tracePt t="83095" x="8040688" y="2281238"/>
          <p14:tracePt t="83096" x="8040688" y="2278063"/>
          <p14:tracePt t="83097" x="8043863" y="2278063"/>
          <p14:tracePt t="83099" x="8043863" y="2273300"/>
          <p14:tracePt t="83100" x="8048625" y="2270125"/>
          <p14:tracePt t="83101" x="8048625" y="2265363"/>
          <p14:tracePt t="83102" x="8048625" y="2262188"/>
          <p14:tracePt t="83104" x="8051800" y="2257425"/>
          <p14:tracePt t="83105" x="8051800" y="2249488"/>
          <p14:tracePt t="83106" x="8051800" y="2246313"/>
          <p14:tracePt t="83107" x="8051800" y="2241550"/>
          <p14:tracePt t="83108" x="8051800" y="2238375"/>
          <p14:tracePt t="83109" x="8056563" y="2233613"/>
          <p14:tracePt t="83110" x="8056563" y="2225675"/>
          <p14:tracePt t="83112" x="8056563" y="2217738"/>
          <p14:tracePt t="83113" x="8059738" y="2214563"/>
          <p14:tracePt t="83114" x="8059738" y="2209800"/>
          <p14:tracePt t="83115" x="8059738" y="2201863"/>
          <p14:tracePt t="83116" x="8059738" y="2193925"/>
          <p14:tracePt t="83117" x="8064500" y="2189163"/>
          <p14:tracePt t="83118" x="8064500" y="2185988"/>
          <p14:tracePt t="83119" x="8064500" y="2178050"/>
          <p14:tracePt t="83120" x="8064500" y="2173288"/>
          <p14:tracePt t="83121" x="8064500" y="2165350"/>
          <p14:tracePt t="83122" x="8064500" y="2162175"/>
          <p14:tracePt t="83123" x="8064500" y="2154238"/>
          <p14:tracePt t="83124" x="8064500" y="2149475"/>
          <p14:tracePt t="83125" x="8064500" y="2146300"/>
          <p14:tracePt t="83126" x="8064500" y="2133600"/>
          <p14:tracePt t="83128" x="8064500" y="2125663"/>
          <p14:tracePt t="83129" x="8064500" y="2122488"/>
          <p14:tracePt t="83130" x="8064500" y="2109788"/>
          <p14:tracePt t="83131" x="8064500" y="2106613"/>
          <p14:tracePt t="83132" x="8064500" y="2097088"/>
          <p14:tracePt t="83133" x="8064500" y="2089150"/>
          <p14:tracePt t="83134" x="8064500" y="2085975"/>
          <p14:tracePt t="83135" x="8064500" y="2073275"/>
          <p14:tracePt t="83136" x="8064500" y="2070100"/>
          <p14:tracePt t="83137" x="8064500" y="2062163"/>
          <p14:tracePt t="83138" x="8064500" y="2054225"/>
          <p14:tracePt t="83139" x="8064500" y="2049463"/>
          <p14:tracePt t="83140" x="8064500" y="2038350"/>
          <p14:tracePt t="83141" x="8064500" y="2033588"/>
          <p14:tracePt t="83142" x="8064500" y="2025650"/>
          <p14:tracePt t="83143" x="8064500" y="2017713"/>
          <p14:tracePt t="83144" x="8059738" y="2009775"/>
          <p14:tracePt t="83145" x="8059738" y="2001838"/>
          <p14:tracePt t="83146" x="8059738" y="1993900"/>
          <p14:tracePt t="83147" x="8056563" y="1985963"/>
          <p14:tracePt t="83148" x="8056563" y="1981200"/>
          <p14:tracePt t="83149" x="8056563" y="1973263"/>
          <p14:tracePt t="83150" x="8048625" y="1957388"/>
          <p14:tracePt t="83151" x="8048625" y="1949450"/>
          <p14:tracePt t="83152" x="8048625" y="1941513"/>
          <p14:tracePt t="83153" x="8048625" y="1938338"/>
          <p14:tracePt t="83154" x="8048625" y="1930400"/>
          <p14:tracePt t="83155" x="8048625" y="1922463"/>
          <p14:tracePt t="83156" x="8040688" y="1912938"/>
          <p14:tracePt t="83157" x="8040688" y="1905000"/>
          <p14:tracePt t="83158" x="8040688" y="1901825"/>
          <p14:tracePt t="83159" x="8040688" y="1893888"/>
          <p14:tracePt t="83160" x="8031163" y="1885950"/>
          <p14:tracePt t="83161" x="8027988" y="1878013"/>
          <p14:tracePt t="83162" x="8027988" y="1870075"/>
          <p14:tracePt t="83163" x="8023225" y="1865313"/>
          <p14:tracePt t="83164" x="8023225" y="1857375"/>
          <p14:tracePt t="83165" x="8020050" y="1849438"/>
          <p14:tracePt t="83167" x="8015288" y="1830388"/>
          <p14:tracePt t="83168" x="8012113" y="1820863"/>
          <p14:tracePt t="83169" x="8012113" y="1812925"/>
          <p14:tracePt t="83170" x="8007350" y="1804988"/>
          <p14:tracePt t="83171" x="8004175" y="1797050"/>
          <p14:tracePt t="83172" x="8004175" y="1789113"/>
          <p14:tracePt t="83173" x="7999413" y="1781175"/>
          <p14:tracePt t="83174" x="7996238" y="1778000"/>
          <p14:tracePt t="83175" x="7991475" y="1770063"/>
          <p14:tracePt t="83176" x="7991475" y="1762125"/>
          <p14:tracePt t="83177" x="7988300" y="1749425"/>
          <p14:tracePt t="83178" x="7983538" y="1746250"/>
          <p14:tracePt t="83179" x="7980363" y="1738313"/>
          <p14:tracePt t="83180" x="7975600" y="1728788"/>
          <p14:tracePt t="83181" x="7975600" y="1720850"/>
          <p14:tracePt t="83182" x="7972425" y="1717675"/>
          <p14:tracePt t="83183" x="7967663" y="1709738"/>
          <p14:tracePt t="83185" x="7964488" y="1697038"/>
          <p14:tracePt t="83186" x="7959725" y="1689100"/>
          <p14:tracePt t="83187" x="7959725" y="1685925"/>
          <p14:tracePt t="83188" x="7956550" y="1677988"/>
          <p14:tracePt t="83189" x="7956550" y="1673225"/>
          <p14:tracePt t="83190" x="7951788" y="1665288"/>
          <p14:tracePt t="83191" x="7951788" y="1657350"/>
          <p14:tracePt t="83192" x="7948613" y="1654175"/>
          <p14:tracePt t="83194" x="7943850" y="1649413"/>
          <p14:tracePt t="83195" x="7943850" y="1641475"/>
          <p14:tracePt t="83196" x="7939088" y="1636713"/>
          <p14:tracePt t="83197" x="7939088" y="1628775"/>
          <p14:tracePt t="83198" x="7935913" y="1625600"/>
          <p14:tracePt t="83199" x="7931150" y="1620838"/>
          <p14:tracePt t="83200" x="7931150" y="1617663"/>
          <p14:tracePt t="83201" x="7931150" y="1612900"/>
          <p14:tracePt t="83202" x="7927975" y="1604963"/>
          <p14:tracePt t="83203" x="7927975" y="1601788"/>
          <p14:tracePt t="83204" x="7923213" y="1597025"/>
          <p14:tracePt t="83205" x="7923213" y="1593850"/>
          <p14:tracePt t="83207" x="7920038" y="1589088"/>
          <p14:tracePt t="83208" x="7920038" y="1585913"/>
          <p14:tracePt t="83209" x="7920038" y="1581150"/>
          <p14:tracePt t="83210" x="7920038" y="1577975"/>
          <p14:tracePt t="83211" x="7920038" y="1573213"/>
          <p14:tracePt t="83213" x="7920038" y="1565275"/>
          <p14:tracePt t="83214" x="7915275" y="1565275"/>
          <p14:tracePt t="83215" x="7915275" y="1562100"/>
          <p14:tracePt t="83216" x="7915275" y="1557338"/>
          <p14:tracePt t="83217" x="7915275" y="1552575"/>
          <p14:tracePt t="83220" x="7912100" y="1552575"/>
          <p14:tracePt t="83221" x="7912100" y="1549400"/>
          <p14:tracePt t="83222" x="7912100" y="1544638"/>
          <p14:tracePt t="83223" x="7912100" y="1541463"/>
          <p14:tracePt t="83224" x="7907338" y="1541463"/>
          <p14:tracePt t="83226" x="7907338" y="1536700"/>
          <p14:tracePt t="83229" x="7907338" y="1533525"/>
          <p14:tracePt t="83232" x="7904163" y="1528763"/>
          <p14:tracePt t="83234" x="7904163" y="1525588"/>
          <p14:tracePt t="83238" x="7904163" y="1520825"/>
          <p14:tracePt t="83243" x="7904163" y="1517650"/>
          <p14:tracePt t="83333" x="7904163" y="1520825"/>
          <p14:tracePt t="83336" x="7907338" y="1525588"/>
          <p14:tracePt t="83341" x="7915275" y="1533525"/>
          <p14:tracePt t="83342" x="7920038" y="1536700"/>
          <p14:tracePt t="83343" x="7920038" y="1541463"/>
          <p14:tracePt t="83345" x="7923213" y="1544638"/>
          <p14:tracePt t="83346" x="7927975" y="1549400"/>
          <p14:tracePt t="83349" x="7935913" y="1557338"/>
          <p14:tracePt t="83351" x="7939088" y="1565275"/>
          <p14:tracePt t="83352" x="7939088" y="1570038"/>
          <p14:tracePt t="83355" x="7951788" y="1581150"/>
          <p14:tracePt t="83357" x="7956550" y="1589088"/>
          <p14:tracePt t="83359" x="7959725" y="1597025"/>
          <p14:tracePt t="83360" x="7959725" y="1601788"/>
          <p14:tracePt t="83361" x="7959725" y="1604963"/>
          <p14:tracePt t="83362" x="7959725" y="1612900"/>
          <p14:tracePt t="83363" x="7964488" y="1617663"/>
          <p14:tracePt t="83364" x="7967663" y="1625600"/>
          <p14:tracePt t="83365" x="7967663" y="1628775"/>
          <p14:tracePt t="83366" x="7972425" y="1633538"/>
          <p14:tracePt t="83367" x="7972425" y="1636713"/>
          <p14:tracePt t="83368" x="7975600" y="1644650"/>
          <p14:tracePt t="83369" x="7975600" y="1654175"/>
          <p14:tracePt t="83370" x="7975600" y="1657350"/>
          <p14:tracePt t="83371" x="7980363" y="1665288"/>
          <p14:tracePt t="83372" x="7980363" y="1670050"/>
          <p14:tracePt t="83373" x="7980363" y="1677988"/>
          <p14:tracePt t="83374" x="7983538" y="1685925"/>
          <p14:tracePt t="83375" x="7983538" y="1693863"/>
          <p14:tracePt t="83376" x="7988300" y="1697038"/>
          <p14:tracePt t="83377" x="7988300" y="1704975"/>
          <p14:tracePt t="83378" x="7991475" y="1712913"/>
          <p14:tracePt t="83379" x="7991475" y="1720850"/>
          <p14:tracePt t="83380" x="7999413" y="1728788"/>
          <p14:tracePt t="83381" x="7999413" y="1738313"/>
          <p14:tracePt t="83382" x="7999413" y="1741488"/>
          <p14:tracePt t="83383" x="7999413" y="1754188"/>
          <p14:tracePt t="83385" x="7999413" y="1765300"/>
          <p14:tracePt t="83386" x="7999413" y="1773238"/>
          <p14:tracePt t="83387" x="8004175" y="1781175"/>
          <p14:tracePt t="83388" x="8004175" y="1797050"/>
          <p14:tracePt t="83389" x="8004175" y="1801813"/>
          <p14:tracePt t="83390" x="8004175" y="1809750"/>
          <p14:tracePt t="83391" x="8004175" y="1817688"/>
          <p14:tracePt t="83392" x="8004175" y="1825625"/>
          <p14:tracePt t="83393" x="8004175" y="1838325"/>
          <p14:tracePt t="83394" x="8004175" y="1846263"/>
          <p14:tracePt t="83395" x="8004175" y="1854200"/>
          <p14:tracePt t="83396" x="8004175" y="1862138"/>
          <p14:tracePt t="83397" x="8004175" y="1870075"/>
          <p14:tracePt t="83398" x="8004175" y="1878013"/>
          <p14:tracePt t="83400" x="8004175" y="1897063"/>
          <p14:tracePt t="83401" x="7996238" y="1905000"/>
          <p14:tracePt t="83402" x="7996238" y="1912938"/>
          <p14:tracePt t="83403" x="7996238" y="1922463"/>
          <p14:tracePt t="83404" x="7991475" y="1930400"/>
          <p14:tracePt t="83405" x="7991475" y="1938338"/>
          <p14:tracePt t="83406" x="7991475" y="1946275"/>
          <p14:tracePt t="83407" x="7988300" y="1954213"/>
          <p14:tracePt t="83408" x="7983538" y="1970088"/>
          <p14:tracePt t="83409" x="7983538" y="1978025"/>
          <p14:tracePt t="83410" x="7980363" y="1985963"/>
          <p14:tracePt t="83411" x="7980363" y="1993900"/>
          <p14:tracePt t="83412" x="7975600" y="2001838"/>
          <p14:tracePt t="83413" x="7975600" y="2009775"/>
          <p14:tracePt t="83414" x="7972425" y="2022475"/>
          <p14:tracePt t="83415" x="7972425" y="2030413"/>
          <p14:tracePt t="83417" x="7967663" y="2046288"/>
          <p14:tracePt t="83418" x="7964488" y="2054225"/>
          <p14:tracePt t="83419" x="7959725" y="2062163"/>
          <p14:tracePt t="83420" x="7959725" y="2070100"/>
          <p14:tracePt t="83421" x="7951788" y="2078038"/>
          <p14:tracePt t="83422" x="7948613" y="2089150"/>
          <p14:tracePt t="83423" x="7948613" y="2097088"/>
          <p14:tracePt t="83424" x="7943850" y="2106613"/>
          <p14:tracePt t="83425" x="7939088" y="2114550"/>
          <p14:tracePt t="83426" x="7939088" y="2122488"/>
          <p14:tracePt t="83427" x="7935913" y="2130425"/>
          <p14:tracePt t="83428" x="7931150" y="2138363"/>
          <p14:tracePt t="83429" x="7927975" y="2149475"/>
          <p14:tracePt t="83430" x="7927975" y="2157413"/>
          <p14:tracePt t="83432" x="7920038" y="2170113"/>
          <p14:tracePt t="83435" x="7912100" y="2193925"/>
          <p14:tracePt t="83436" x="7912100" y="2201863"/>
          <p14:tracePt t="83437" x="7907338" y="2209800"/>
          <p14:tracePt t="83438" x="7904163" y="2214563"/>
          <p14:tracePt t="83439" x="7899400" y="2222500"/>
          <p14:tracePt t="83440" x="7899400" y="2230438"/>
          <p14:tracePt t="83441" x="7896225" y="2233613"/>
          <p14:tracePt t="83442" x="7896225" y="2241550"/>
          <p14:tracePt t="83443" x="7891463" y="2246313"/>
          <p14:tracePt t="83444" x="7891463" y="2254250"/>
          <p14:tracePt t="83445" x="7888288" y="2257425"/>
          <p14:tracePt t="83446" x="7888288" y="2265363"/>
          <p14:tracePt t="83447" x="7883525" y="2270125"/>
          <p14:tracePt t="83448" x="7883525" y="2273300"/>
          <p14:tracePt t="83450" x="7880350" y="2281238"/>
          <p14:tracePt t="83451" x="7880350" y="2286000"/>
          <p14:tracePt t="83452" x="7880350" y="2290763"/>
          <p14:tracePt t="83453" x="7880350" y="2293938"/>
          <p14:tracePt t="83454" x="7880350" y="2298700"/>
          <p14:tracePt t="83455" x="7880350" y="2301875"/>
          <p14:tracePt t="83456" x="7880350" y="2306638"/>
          <p14:tracePt t="83457" x="7875588" y="2309813"/>
          <p14:tracePt t="83459" x="7875588" y="2314575"/>
          <p14:tracePt t="83460" x="7872413" y="2317750"/>
          <p14:tracePt t="83462" x="7872413" y="2322513"/>
          <p14:tracePt t="83465" x="7872413" y="2325688"/>
          <p14:tracePt t="83468" x="7872413" y="2330450"/>
          <p14:tracePt t="83470" x="7872413" y="2333625"/>
          <p14:tracePt t="83484" x="7872413" y="2338388"/>
          <p14:tracePt t="83539" x="7872413" y="2333625"/>
          <p14:tracePt t="83548" x="7872413" y="2330450"/>
          <p14:tracePt t="83550" x="7875588" y="2325688"/>
          <p14:tracePt t="83554" x="7880350" y="2325688"/>
          <p14:tracePt t="83556" x="7883525" y="2322513"/>
          <p14:tracePt t="83558" x="7888288" y="2322513"/>
          <p14:tracePt t="83560" x="7891463" y="2317750"/>
          <p14:tracePt t="83561" x="7891463" y="2314575"/>
          <p14:tracePt t="83562" x="7896225" y="2314575"/>
          <p14:tracePt t="83563" x="7896225" y="2309813"/>
          <p14:tracePt t="83564" x="7899400" y="2309813"/>
          <p14:tracePt t="83565" x="7899400" y="2306638"/>
          <p14:tracePt t="83567" x="7899400" y="2301875"/>
          <p14:tracePt t="83568" x="7904163" y="2301875"/>
          <p14:tracePt t="83570" x="7907338" y="2298700"/>
          <p14:tracePt t="83571" x="7907338" y="2293938"/>
          <p14:tracePt t="83572" x="7912100" y="2293938"/>
          <p14:tracePt t="83573" x="7912100" y="2290763"/>
          <p14:tracePt t="83574" x="7915275" y="2290763"/>
          <p14:tracePt t="83575" x="7915275" y="2286000"/>
          <p14:tracePt t="83576" x="7920038" y="2286000"/>
          <p14:tracePt t="83577" x="7923213" y="2286000"/>
          <p14:tracePt t="83578" x="7923213" y="2281238"/>
          <p14:tracePt t="83579" x="7927975" y="2278063"/>
          <p14:tracePt t="83580" x="7927975" y="2273300"/>
          <p14:tracePt t="83581" x="7931150" y="2270125"/>
          <p14:tracePt t="83584" x="7935913" y="2265363"/>
          <p14:tracePt t="83584" x="7939088" y="2262188"/>
          <p14:tracePt t="83585" x="7939088" y="2257425"/>
          <p14:tracePt t="83586" x="7943850" y="2254250"/>
          <p14:tracePt t="83587" x="7943850" y="2249488"/>
          <p14:tracePt t="83588" x="7943850" y="2246313"/>
          <p14:tracePt t="83589" x="7948613" y="2246313"/>
          <p14:tracePt t="83590" x="7951788" y="2241550"/>
          <p14:tracePt t="83591" x="7951788" y="2238375"/>
          <p14:tracePt t="83592" x="7956550" y="2233613"/>
          <p14:tracePt t="83593" x="7956550" y="2230438"/>
          <p14:tracePt t="83594" x="7959725" y="2225675"/>
          <p14:tracePt t="83595" x="7959725" y="2222500"/>
          <p14:tracePt t="83596" x="7964488" y="2214563"/>
          <p14:tracePt t="83597" x="7967663" y="2209800"/>
          <p14:tracePt t="83598" x="7967663" y="2206625"/>
          <p14:tracePt t="83599" x="7972425" y="2201863"/>
          <p14:tracePt t="83600" x="7972425" y="2198688"/>
          <p14:tracePt t="83601" x="7975600" y="2189163"/>
          <p14:tracePt t="83602" x="7980363" y="2189163"/>
          <p14:tracePt t="83604" x="7980363" y="2178050"/>
          <p14:tracePt t="83605" x="7983538" y="2173288"/>
          <p14:tracePt t="83606" x="7983538" y="2165350"/>
          <p14:tracePt t="83607" x="7983538" y="2162175"/>
          <p14:tracePt t="83608" x="7988300" y="2157413"/>
          <p14:tracePt t="83609" x="7988300" y="2154238"/>
          <p14:tracePt t="83610" x="7991475" y="2146300"/>
          <p14:tracePt t="83611" x="7991475" y="2138363"/>
          <p14:tracePt t="83612" x="7991475" y="2133600"/>
          <p14:tracePt t="83613" x="7996238" y="2130425"/>
          <p14:tracePt t="83614" x="7996238" y="2122488"/>
          <p14:tracePt t="83615" x="7996238" y="2117725"/>
          <p14:tracePt t="83616" x="7996238" y="2109788"/>
          <p14:tracePt t="83618" x="7996238" y="2101850"/>
          <p14:tracePt t="83619" x="7996238" y="2093913"/>
          <p14:tracePt t="83620" x="7996238" y="2085975"/>
          <p14:tracePt t="83621" x="7996238" y="2073275"/>
          <p14:tracePt t="83623" x="7996238" y="2065338"/>
          <p14:tracePt t="83624" x="7996238" y="2057400"/>
          <p14:tracePt t="83625" x="7996238" y="2049463"/>
          <p14:tracePt t="83626" x="7996238" y="2033588"/>
          <p14:tracePt t="83627" x="7996238" y="2025650"/>
          <p14:tracePt t="83628" x="7996238" y="2017713"/>
          <p14:tracePt t="83629" x="7996238" y="2014538"/>
          <p14:tracePt t="83630" x="7996238" y="2005013"/>
          <p14:tracePt t="83632" x="7996238" y="1985963"/>
          <p14:tracePt t="83633" x="7996238" y="1978025"/>
          <p14:tracePt t="83634" x="7996238" y="1970088"/>
          <p14:tracePt t="83635" x="7996238" y="1962150"/>
          <p14:tracePt t="83636" x="7996238" y="1946275"/>
          <p14:tracePt t="83637" x="7996238" y="1938338"/>
          <p14:tracePt t="83638" x="7996238" y="1930400"/>
          <p14:tracePt t="83639" x="7991475" y="1922463"/>
          <p14:tracePt t="83640" x="7991475" y="1912938"/>
          <p14:tracePt t="83641" x="7991475" y="1905000"/>
          <p14:tracePt t="83642" x="7988300" y="1889125"/>
          <p14:tracePt t="83643" x="7988300" y="1881188"/>
          <p14:tracePt t="83644" x="7983538" y="1873250"/>
          <p14:tracePt t="83645" x="7983538" y="1865313"/>
          <p14:tracePt t="83646" x="7980363" y="1849438"/>
          <p14:tracePt t="83647" x="7980363" y="1838325"/>
          <p14:tracePt t="83648" x="7975600" y="1830388"/>
          <p14:tracePt t="83649" x="7975600" y="1820863"/>
          <p14:tracePt t="83650" x="7972425" y="1812925"/>
          <p14:tracePt t="83651" x="7972425" y="1801813"/>
          <p14:tracePt t="83652" x="7964488" y="1789113"/>
          <p14:tracePt t="83653" x="7959725" y="1781175"/>
          <p14:tracePt t="83654" x="7959725" y="1765300"/>
          <p14:tracePt t="83655" x="7956550" y="1757363"/>
          <p14:tracePt t="83656" x="7951788" y="1746250"/>
          <p14:tracePt t="83657" x="7951788" y="1738313"/>
          <p14:tracePt t="83658" x="7948613" y="1725613"/>
          <p14:tracePt t="83659" x="7943850" y="1712913"/>
          <p14:tracePt t="83660" x="7943850" y="1704975"/>
          <p14:tracePt t="83661" x="7939088" y="1697038"/>
          <p14:tracePt t="83662" x="7931150" y="1681163"/>
          <p14:tracePt t="83663" x="7931150" y="1673225"/>
          <p14:tracePt t="83664" x="7927975" y="1665288"/>
          <p14:tracePt t="83665" x="7923213" y="1649413"/>
          <p14:tracePt t="83666" x="7920038" y="1641475"/>
          <p14:tracePt t="83668" x="7912100" y="1620838"/>
          <p14:tracePt t="83669" x="7907338" y="1609725"/>
          <p14:tracePt t="83670" x="7904163" y="1601788"/>
          <p14:tracePt t="83671" x="7904163" y="1593850"/>
          <p14:tracePt t="83672" x="7899400" y="1581150"/>
          <p14:tracePt t="83673" x="7891463" y="1570038"/>
          <p14:tracePt t="83674" x="7888288" y="1562100"/>
          <p14:tracePt t="83675" x="7883525" y="1552575"/>
          <p14:tracePt t="83676" x="7880350" y="1541463"/>
          <p14:tracePt t="83677" x="7875588" y="1528763"/>
          <p14:tracePt t="83678" x="7872413" y="1520825"/>
          <p14:tracePt t="83679" x="7872413" y="1512888"/>
          <p14:tracePt t="83680" x="7867650" y="1504950"/>
          <p14:tracePt t="83681" x="7864475" y="1501775"/>
          <p14:tracePt t="83683" x="7854950" y="1485900"/>
          <p14:tracePt t="83684" x="7854950" y="1477963"/>
          <p14:tracePt t="83686" x="7847013" y="1465263"/>
          <p14:tracePt t="83688" x="7843838" y="1449388"/>
          <p14:tracePt t="83689" x="7843838" y="1444625"/>
          <p14:tracePt t="83690" x="7839075" y="1436688"/>
          <p14:tracePt t="83691" x="7839075" y="1433513"/>
          <p14:tracePt t="83692" x="7835900" y="1425575"/>
          <p14:tracePt t="83693" x="7831138" y="1420813"/>
          <p14:tracePt t="83694" x="7831138" y="1417638"/>
          <p14:tracePt t="83695" x="7827963" y="1412875"/>
          <p14:tracePt t="83696" x="7827963" y="1409700"/>
          <p14:tracePt t="83697" x="7827963" y="1404938"/>
          <p14:tracePt t="83698" x="7823200" y="1404938"/>
          <p14:tracePt t="83700" x="7823200" y="1401763"/>
          <p14:tracePt t="83701" x="7823200" y="1397000"/>
          <p14:tracePt t="83702" x="7823200" y="1393825"/>
          <p14:tracePt t="83704" x="7820025" y="1389063"/>
          <p14:tracePt t="83706" x="7820025" y="1385888"/>
          <p14:tracePt t="83711" x="7820025" y="1381125"/>
          <p14:tracePt t="83758" x="7820025" y="1385888"/>
          <p14:tracePt t="83764" x="7820025" y="1393825"/>
          <p14:tracePt t="83767" x="7820025" y="1397000"/>
          <p14:tracePt t="83770" x="7823200" y="1401763"/>
          <p14:tracePt t="83772" x="7823200" y="1404938"/>
          <p14:tracePt t="83773" x="7827963" y="1409700"/>
          <p14:tracePt t="83776" x="7831138" y="1417638"/>
          <p14:tracePt t="83777" x="7835900" y="1420813"/>
          <p14:tracePt t="83780" x="7839075" y="1436688"/>
          <p14:tracePt t="83782" x="7843838" y="1444625"/>
          <p14:tracePt t="83784" x="7847013" y="1449388"/>
          <p14:tracePt t="83785" x="7851775" y="1452563"/>
          <p14:tracePt t="83786" x="7854950" y="1457325"/>
          <p14:tracePt t="83787" x="7854950" y="1460500"/>
          <p14:tracePt t="83788" x="7859713" y="1470025"/>
          <p14:tracePt t="83789" x="7864475" y="1473200"/>
          <p14:tracePt t="83790" x="7864475" y="1477963"/>
          <p14:tracePt t="83791" x="7867650" y="1481138"/>
          <p14:tracePt t="83792" x="7872413" y="1489075"/>
          <p14:tracePt t="83793" x="7875588" y="1493838"/>
          <p14:tracePt t="83794" x="7880350" y="1501775"/>
          <p14:tracePt t="83795" x="7880350" y="1504950"/>
          <p14:tracePt t="83796" x="7883525" y="1509713"/>
          <p14:tracePt t="83797" x="7888288" y="1517650"/>
          <p14:tracePt t="83799" x="7896225" y="1528763"/>
          <p14:tracePt t="83801" x="7904163" y="1541463"/>
          <p14:tracePt t="83803" x="7912100" y="1552575"/>
          <p14:tracePt t="83804" x="7915275" y="1562100"/>
          <p14:tracePt t="83805" x="7920038" y="1570038"/>
          <p14:tracePt t="83806" x="7923213" y="1573213"/>
          <p14:tracePt t="83807" x="7927975" y="1581150"/>
          <p14:tracePt t="83808" x="7935913" y="1589088"/>
          <p14:tracePt t="83809" x="7935913" y="1597025"/>
          <p14:tracePt t="83810" x="7939088" y="1604963"/>
          <p14:tracePt t="83811" x="7943850" y="1612900"/>
          <p14:tracePt t="83812" x="7948613" y="1625600"/>
          <p14:tracePt t="83813" x="7951788" y="1633538"/>
          <p14:tracePt t="83814" x="7956550" y="1641475"/>
          <p14:tracePt t="83815" x="7964488" y="1649413"/>
          <p14:tracePt t="83816" x="7967663" y="1657350"/>
          <p14:tracePt t="83818" x="7975600" y="1681163"/>
          <p14:tracePt t="83819" x="7980363" y="1689100"/>
          <p14:tracePt t="83820" x="7980363" y="1697038"/>
          <p14:tracePt t="83821" x="7983538" y="1709738"/>
          <p14:tracePt t="83822" x="7988300" y="1717675"/>
          <p14:tracePt t="83823" x="7988300" y="1725613"/>
          <p14:tracePt t="83824" x="7991475" y="1738313"/>
          <p14:tracePt t="83825" x="7996238" y="1746250"/>
          <p14:tracePt t="83826" x="8004175" y="1757363"/>
          <p14:tracePt t="83827" x="8007350" y="1765300"/>
          <p14:tracePt t="83828" x="8012113" y="1778000"/>
          <p14:tracePt t="83829" x="8012113" y="1785938"/>
          <p14:tracePt t="83830" x="8015288" y="1797050"/>
          <p14:tracePt t="83831" x="8020050" y="1804988"/>
          <p14:tracePt t="83832" x="8020050" y="1812925"/>
          <p14:tracePt t="83833" x="8023225" y="1825625"/>
          <p14:tracePt t="83835" x="8027988" y="1846263"/>
          <p14:tracePt t="83836" x="8027988" y="1854200"/>
          <p14:tracePt t="83837" x="8031163" y="1862138"/>
          <p14:tracePt t="83838" x="8031163" y="1873250"/>
          <p14:tracePt t="83839" x="8035925" y="1881188"/>
          <p14:tracePt t="83840" x="8035925" y="1889125"/>
          <p14:tracePt t="83841" x="8035925" y="1901825"/>
          <p14:tracePt t="83842" x="8043863" y="1912938"/>
          <p14:tracePt t="83843" x="8043863" y="1922463"/>
          <p14:tracePt t="83844" x="8043863" y="1930400"/>
          <p14:tracePt t="83845" x="8048625" y="1946275"/>
          <p14:tracePt t="83846" x="8048625" y="1954213"/>
          <p14:tracePt t="83847" x="8048625" y="1957388"/>
          <p14:tracePt t="83848" x="8048625" y="1965325"/>
          <p14:tracePt t="83849" x="8048625" y="1978025"/>
          <p14:tracePt t="83850" x="8048625" y="1985963"/>
          <p14:tracePt t="83851" x="8048625" y="1993900"/>
          <p14:tracePt t="83852" x="8048625" y="1997075"/>
          <p14:tracePt t="83853" x="8048625" y="2005013"/>
          <p14:tracePt t="83854" x="8048625" y="2014538"/>
          <p14:tracePt t="83855" x="8048625" y="2022475"/>
          <p14:tracePt t="83856" x="8048625" y="2030413"/>
          <p14:tracePt t="83857" x="8048625" y="2033588"/>
          <p14:tracePt t="83858" x="8048625" y="2041525"/>
          <p14:tracePt t="83859" x="8048625" y="2049463"/>
          <p14:tracePt t="83860" x="8048625" y="2057400"/>
          <p14:tracePt t="83861" x="8048625" y="2065338"/>
          <p14:tracePt t="83862" x="8048625" y="2073275"/>
          <p14:tracePt t="83863" x="8048625" y="2078038"/>
          <p14:tracePt t="83864" x="8048625" y="2085975"/>
          <p14:tracePt t="83865" x="8048625" y="2093913"/>
          <p14:tracePt t="83866" x="8043863" y="2097088"/>
          <p14:tracePt t="83867" x="8043863" y="2106613"/>
          <p14:tracePt t="83868" x="8043863" y="2109788"/>
          <p14:tracePt t="83870" x="8040688" y="2125663"/>
          <p14:tracePt t="83871" x="8040688" y="2130425"/>
          <p14:tracePt t="83872" x="8035925" y="2133600"/>
          <p14:tracePt t="83873" x="8035925" y="2141538"/>
          <p14:tracePt t="83874" x="8035925" y="2149475"/>
          <p14:tracePt t="83875" x="8031163" y="2154238"/>
          <p14:tracePt t="83876" x="8031163" y="2157413"/>
          <p14:tracePt t="83877" x="8027988" y="2165350"/>
          <p14:tracePt t="83879" x="8023225" y="2170113"/>
          <p14:tracePt t="83880" x="8023225" y="2178050"/>
          <p14:tracePt t="83882" x="8020050" y="2185988"/>
          <p14:tracePt t="83883" x="8020050" y="2189163"/>
          <p14:tracePt t="83884" x="8015288" y="2193925"/>
          <p14:tracePt t="83885" x="8015288" y="2198688"/>
          <p14:tracePt t="83886" x="8015288" y="2201863"/>
          <p14:tracePt t="83887" x="8012113" y="2206625"/>
          <p14:tracePt t="83888" x="8012113" y="2209800"/>
          <p14:tracePt t="83890" x="8007350" y="2214563"/>
          <p14:tracePt t="83892" x="8007350" y="2217738"/>
          <p14:tracePt t="83893" x="8007350" y="2222500"/>
          <p14:tracePt t="83895" x="8004175" y="2225675"/>
          <p14:tracePt t="83896" x="8004175" y="2230438"/>
          <p14:tracePt t="83898" x="7999413" y="2233613"/>
          <p14:tracePt t="83900" x="7999413" y="2238375"/>
          <p14:tracePt t="83903" x="7999413" y="2241550"/>
          <p14:tracePt t="83905" x="7996238" y="2241550"/>
          <p14:tracePt t="83961" x="7991475" y="2241550"/>
          <p14:tracePt t="83966" x="7991475" y="2238375"/>
          <p14:tracePt t="83971" x="7991475" y="2233613"/>
          <p14:tracePt t="83975" x="7991475" y="2230438"/>
          <p14:tracePt t="83978" x="7988300" y="2230438"/>
          <p14:tracePt t="83980" x="7988300" y="2225675"/>
          <p14:tracePt t="83982" x="7988300" y="2222500"/>
          <p14:tracePt t="83985" x="7988300" y="2217738"/>
          <p14:tracePt t="83987" x="7988300" y="2214563"/>
          <p14:tracePt t="83989" x="7983538" y="2214563"/>
          <p14:tracePt t="83991" x="7983538" y="2209800"/>
          <p14:tracePt t="83995" x="7983538" y="2206625"/>
          <p14:tracePt t="83996" x="7983538" y="2201863"/>
          <p14:tracePt t="83997" x="7980363" y="2198688"/>
          <p14:tracePt t="83999" x="7980363" y="2193925"/>
          <p14:tracePt t="84001" x="7980363" y="2189163"/>
          <p14:tracePt t="84003" x="7980363" y="2185988"/>
          <p14:tracePt t="84004" x="7980363" y="2181225"/>
          <p14:tracePt t="84006" x="7980363" y="2178050"/>
          <p14:tracePt t="84007" x="7980363" y="2173288"/>
          <p14:tracePt t="84010" x="7980363" y="2170113"/>
          <p14:tracePt t="84012" x="7980363" y="2165350"/>
          <p14:tracePt t="84013" x="7980363" y="2162175"/>
          <p14:tracePt t="84014" x="7980363" y="2157413"/>
          <p14:tracePt t="84015" x="7980363" y="2154238"/>
          <p14:tracePt t="84016" x="7980363" y="2149475"/>
          <p14:tracePt t="84017" x="7980363" y="2146300"/>
          <p14:tracePt t="84018" x="7980363" y="2141538"/>
          <p14:tracePt t="84019" x="7980363" y="2138363"/>
          <p14:tracePt t="84021" x="7980363" y="2130425"/>
          <p14:tracePt t="84023" x="7980363" y="2125663"/>
          <p14:tracePt t="84024" x="7980363" y="2122488"/>
          <p14:tracePt t="84025" x="7980363" y="2117725"/>
          <p14:tracePt t="84026" x="7980363" y="2114550"/>
          <p14:tracePt t="84027" x="7983538" y="2109788"/>
          <p14:tracePt t="84028" x="7983538" y="2101850"/>
          <p14:tracePt t="84029" x="7983538" y="2097088"/>
          <p14:tracePt t="84030" x="7983538" y="2093913"/>
          <p14:tracePt t="84032" x="7983538" y="2081213"/>
          <p14:tracePt t="84033" x="7983538" y="2078038"/>
          <p14:tracePt t="84035" x="7983538" y="2070100"/>
          <p14:tracePt t="84036" x="7983538" y="2062163"/>
          <p14:tracePt t="84037" x="7983538" y="2057400"/>
          <p14:tracePt t="84038" x="7983538" y="2054225"/>
          <p14:tracePt t="84039" x="7983538" y="2046288"/>
          <p14:tracePt t="84040" x="7983538" y="2041525"/>
          <p14:tracePt t="84041" x="7983538" y="2033588"/>
          <p14:tracePt t="84042" x="7983538" y="2025650"/>
          <p14:tracePt t="84043" x="7983538" y="2022475"/>
          <p14:tracePt t="84044" x="7983538" y="2014538"/>
          <p14:tracePt t="84045" x="7983538" y="2005013"/>
          <p14:tracePt t="84046" x="7983538" y="1997075"/>
          <p14:tracePt t="84047" x="7983538" y="1989138"/>
          <p14:tracePt t="84048" x="7983538" y="1985963"/>
          <p14:tracePt t="84049" x="7983538" y="1978025"/>
          <p14:tracePt t="84050" x="7983538" y="1970088"/>
          <p14:tracePt t="84051" x="7983538" y="1962150"/>
          <p14:tracePt t="84052" x="7983538" y="1954213"/>
          <p14:tracePt t="84053" x="7983538" y="1946275"/>
          <p14:tracePt t="84054" x="7983538" y="1938338"/>
          <p14:tracePt t="84055" x="7983538" y="1930400"/>
          <p14:tracePt t="84056" x="7983538" y="1922463"/>
          <p14:tracePt t="84057" x="7983538" y="1912938"/>
          <p14:tracePt t="84058" x="7983538" y="1905000"/>
          <p14:tracePt t="84059" x="7983538" y="1897063"/>
          <p14:tracePt t="84060" x="7983538" y="1889125"/>
          <p14:tracePt t="84061" x="7983538" y="1881188"/>
          <p14:tracePt t="84062" x="7983538" y="1865313"/>
          <p14:tracePt t="84063" x="7983538" y="1857375"/>
          <p14:tracePt t="84064" x="7983538" y="1849438"/>
          <p14:tracePt t="84065" x="7983538" y="1846263"/>
          <p14:tracePt t="84066" x="7983538" y="1833563"/>
          <p14:tracePt t="84067" x="7983538" y="1825625"/>
          <p14:tracePt t="84068" x="7983538" y="1820863"/>
          <p14:tracePt t="84069" x="7983538" y="1812925"/>
          <p14:tracePt t="84070" x="7983538" y="1804988"/>
          <p14:tracePt t="84071" x="7983538" y="1797050"/>
          <p14:tracePt t="84072" x="7983538" y="1789113"/>
          <p14:tracePt t="84073" x="7983538" y="1781175"/>
          <p14:tracePt t="84074" x="7983538" y="1778000"/>
          <p14:tracePt t="84075" x="7983538" y="1770063"/>
          <p14:tracePt t="84076" x="7983538" y="1762125"/>
          <p14:tracePt t="84077" x="7983538" y="1754188"/>
          <p14:tracePt t="84078" x="7983538" y="1746250"/>
          <p14:tracePt t="84079" x="7983538" y="1738313"/>
          <p14:tracePt t="84080" x="7980363" y="1733550"/>
          <p14:tracePt t="84082" x="7980363" y="1717675"/>
          <p14:tracePt t="84083" x="7975600" y="1709738"/>
          <p14:tracePt t="84084" x="7975600" y="1704975"/>
          <p14:tracePt t="84085" x="7975600" y="1697038"/>
          <p14:tracePt t="84086" x="7975600" y="1693863"/>
          <p14:tracePt t="84087" x="7972425" y="1685925"/>
          <p14:tracePt t="84088" x="7972425" y="1677988"/>
          <p14:tracePt t="84089" x="7967663" y="1673225"/>
          <p14:tracePt t="84090" x="7967663" y="1665288"/>
          <p14:tracePt t="84091" x="7967663" y="1662113"/>
          <p14:tracePt t="84092" x="7964488" y="1654175"/>
          <p14:tracePt t="84093" x="7964488" y="1649413"/>
          <p14:tracePt t="84094" x="7964488" y="1644650"/>
          <p14:tracePt t="84095" x="7959725" y="1641475"/>
          <p14:tracePt t="84096" x="7959725" y="1636713"/>
          <p14:tracePt t="84097" x="7959725" y="1633538"/>
          <p14:tracePt t="84098" x="7956550" y="1628775"/>
          <p14:tracePt t="84100" x="7956550" y="1625600"/>
          <p14:tracePt t="84100" x="7956550" y="1620838"/>
          <p14:tracePt t="84101" x="7951788" y="1612900"/>
          <p14:tracePt t="84102" x="7951788" y="1609725"/>
          <p14:tracePt t="84103" x="7951788" y="1604963"/>
          <p14:tracePt t="84104" x="7948613" y="1601788"/>
          <p14:tracePt t="84105" x="7948613" y="1597025"/>
          <p14:tracePt t="84106" x="7948613" y="1593850"/>
          <p14:tracePt t="84107" x="7943850" y="1589088"/>
          <p14:tracePt t="84109" x="7943850" y="1585913"/>
          <p14:tracePt t="84111" x="7943850" y="1581150"/>
          <p14:tracePt t="84112" x="7943850" y="1577975"/>
          <p14:tracePt t="84113" x="7943850" y="1573213"/>
          <p14:tracePt t="84114" x="7943850" y="1570038"/>
          <p14:tracePt t="84117" x="7943850" y="1565275"/>
          <p14:tracePt t="84117" x="7939088" y="1565275"/>
          <p14:tracePt t="84118" x="7939088" y="1562100"/>
          <p14:tracePt t="84120" x="7939088" y="1557338"/>
          <p14:tracePt t="84122" x="7935913" y="1552575"/>
          <p14:tracePt t="84124" x="7935913" y="1549400"/>
          <p14:tracePt t="84125" x="7931150" y="1549400"/>
          <p14:tracePt t="84126" x="7931150" y="1544638"/>
          <p14:tracePt t="84132" x="7927975" y="1544638"/>
          <p14:tracePt t="84175" x="7927975" y="1549400"/>
          <p14:tracePt t="84178" x="7927975" y="1552575"/>
          <p14:tracePt t="84180" x="7927975" y="1557338"/>
          <p14:tracePt t="84182" x="7927975" y="1562100"/>
          <p14:tracePt t="84183" x="7927975" y="1565275"/>
          <p14:tracePt t="84184" x="7927975" y="1570038"/>
          <p14:tracePt t="84185" x="7927975" y="1573213"/>
          <p14:tracePt t="84186" x="7927975" y="1577975"/>
          <p14:tracePt t="84187" x="7927975" y="1581150"/>
          <p14:tracePt t="84188" x="7927975" y="1585913"/>
          <p14:tracePt t="84190" x="7927975" y="1589088"/>
          <p14:tracePt t="84191" x="7927975" y="1593850"/>
          <p14:tracePt t="84192" x="7927975" y="1601788"/>
          <p14:tracePt t="84193" x="7927975" y="1604963"/>
          <p14:tracePt t="84194" x="7927975" y="1612900"/>
          <p14:tracePt t="84195" x="7927975" y="1617663"/>
          <p14:tracePt t="84196" x="7931150" y="1620838"/>
          <p14:tracePt t="84198" x="7931150" y="1628775"/>
          <p14:tracePt t="84199" x="7931150" y="1641475"/>
          <p14:tracePt t="84200" x="7931150" y="1649413"/>
          <p14:tracePt t="84201" x="7935913" y="1654175"/>
          <p14:tracePt t="84202" x="7935913" y="1662113"/>
          <p14:tracePt t="84203" x="7935913" y="1670050"/>
          <p14:tracePt t="84204" x="7935913" y="1677988"/>
          <p14:tracePt t="84205" x="7935913" y="1685925"/>
          <p14:tracePt t="84206" x="7935913" y="1693863"/>
          <p14:tracePt t="84207" x="7939088" y="1701800"/>
          <p14:tracePt t="84208" x="7939088" y="1709738"/>
          <p14:tracePt t="84209" x="7939088" y="1717675"/>
          <p14:tracePt t="84210" x="7939088" y="1725613"/>
          <p14:tracePt t="84211" x="7939088" y="1733550"/>
          <p14:tracePt t="84212" x="7943850" y="1741488"/>
          <p14:tracePt t="84213" x="7943850" y="1757363"/>
          <p14:tracePt t="84214" x="7943850" y="1765300"/>
          <p14:tracePt t="84215" x="7948613" y="1773238"/>
          <p14:tracePt t="84216" x="7951788" y="1781175"/>
          <p14:tracePt t="84217" x="7951788" y="1797050"/>
          <p14:tracePt t="84218" x="7956550" y="1809750"/>
          <p14:tracePt t="84219" x="7956550" y="1817688"/>
          <p14:tracePt t="84220" x="7959725" y="1825625"/>
          <p14:tracePt t="84221" x="7959725" y="1833563"/>
          <p14:tracePt t="84222" x="7964488" y="1846263"/>
          <p14:tracePt t="84223" x="7964488" y="1857375"/>
          <p14:tracePt t="84224" x="7972425" y="1870075"/>
          <p14:tracePt t="84225" x="7972425" y="1878013"/>
          <p14:tracePt t="84226" x="7975600" y="1893888"/>
          <p14:tracePt t="84227" x="7980363" y="1901825"/>
          <p14:tracePt t="84228" x="7980363" y="1917700"/>
          <p14:tracePt t="84229" x="7983538" y="1930400"/>
          <p14:tracePt t="84230" x="7983538" y="1938338"/>
          <p14:tracePt t="84231" x="7988300" y="1946275"/>
          <p14:tracePt t="84232" x="7988300" y="1962150"/>
          <p14:tracePt t="84233" x="7991475" y="1970088"/>
          <p14:tracePt t="84234" x="7996238" y="1981200"/>
          <p14:tracePt t="84235" x="7999413" y="1993900"/>
          <p14:tracePt t="84236" x="7999413" y="2001838"/>
          <p14:tracePt t="84237" x="8004175" y="2009775"/>
          <p14:tracePt t="84238" x="8004175" y="2022475"/>
          <p14:tracePt t="84239" x="8012113" y="2030413"/>
          <p14:tracePt t="84240" x="8012113" y="2046288"/>
          <p14:tracePt t="84241" x="8015288" y="2054225"/>
          <p14:tracePt t="84242" x="8015288" y="2062163"/>
          <p14:tracePt t="84243" x="8020050" y="2070100"/>
          <p14:tracePt t="84244" x="8020050" y="2078038"/>
          <p14:tracePt t="84245" x="8023225" y="2089150"/>
          <p14:tracePt t="84246" x="8023225" y="2097088"/>
          <p14:tracePt t="84247" x="8027988" y="2106613"/>
          <p14:tracePt t="84248" x="8027988" y="2114550"/>
          <p14:tracePt t="84249" x="8031163" y="2125663"/>
          <p14:tracePt t="84250" x="8031163" y="2130425"/>
          <p14:tracePt t="84251" x="8031163" y="2138363"/>
          <p14:tracePt t="84252" x="8035925" y="2146300"/>
          <p14:tracePt t="84253" x="8035925" y="2149475"/>
          <p14:tracePt t="84254" x="8040688" y="2162175"/>
          <p14:tracePt t="84255" x="8040688" y="2165350"/>
          <p14:tracePt t="84256" x="8043863" y="2173288"/>
          <p14:tracePt t="84257" x="8043863" y="2178050"/>
          <p14:tracePt t="84258" x="8043863" y="2185988"/>
          <p14:tracePt t="84259" x="8048625" y="2189163"/>
          <p14:tracePt t="84260" x="8048625" y="2198688"/>
          <p14:tracePt t="84261" x="8051800" y="2201863"/>
          <p14:tracePt t="84262" x="8051800" y="2206625"/>
          <p14:tracePt t="84263" x="8051800" y="2209800"/>
          <p14:tracePt t="84264" x="8051800" y="2217738"/>
          <p14:tracePt t="84265" x="8051800" y="2222500"/>
          <p14:tracePt t="84266" x="8051800" y="2225675"/>
          <p14:tracePt t="84268" x="8056563" y="2230438"/>
          <p14:tracePt t="84269" x="8056563" y="2233613"/>
          <p14:tracePt t="84270" x="8056563" y="2238375"/>
          <p14:tracePt t="84272" x="8056563" y="2241550"/>
          <p14:tracePt t="84273" x="8059738" y="2246313"/>
          <p14:tracePt t="84274" x="8059738" y="2249488"/>
          <p14:tracePt t="84276" x="8059738" y="2254250"/>
          <p14:tracePt t="84278" x="8064500" y="2257425"/>
          <p14:tracePt t="84280" x="8064500" y="2262188"/>
          <p14:tracePt t="84284" x="8064500" y="2265363"/>
          <p14:tracePt t="84324" x="8064500" y="2262188"/>
          <p14:tracePt t="84329" x="8064500" y="2257425"/>
          <p14:tracePt t="84332" x="8064500" y="2254250"/>
          <p14:tracePt t="84333" x="8064500" y="2249488"/>
          <p14:tracePt t="84334" x="8064500" y="2246313"/>
          <p14:tracePt t="84335" x="8064500" y="2241550"/>
          <p14:tracePt t="84336" x="8064500" y="2238375"/>
          <p14:tracePt t="84337" x="8064500" y="2233613"/>
          <p14:tracePt t="84339" x="8059738" y="2230438"/>
          <p14:tracePt t="84340" x="8059738" y="2222500"/>
          <p14:tracePt t="84341" x="8059738" y="2217738"/>
          <p14:tracePt t="84342" x="8059738" y="2214563"/>
          <p14:tracePt t="84343" x="8056563" y="2206625"/>
          <p14:tracePt t="84344" x="8056563" y="2201863"/>
          <p14:tracePt t="84345" x="8051800" y="2193925"/>
          <p14:tracePt t="84346" x="8051800" y="2189163"/>
          <p14:tracePt t="84347" x="8051800" y="2181225"/>
          <p14:tracePt t="84348" x="8048625" y="2178050"/>
          <p14:tracePt t="84350" x="8048625" y="2162175"/>
          <p14:tracePt t="84351" x="8043863" y="2154238"/>
          <p14:tracePt t="84352" x="8043863" y="2146300"/>
          <p14:tracePt t="84353" x="8040688" y="2141538"/>
          <p14:tracePt t="84354" x="8040688" y="2133600"/>
          <p14:tracePt t="84355" x="8035925" y="2125663"/>
          <p14:tracePt t="84356" x="8031163" y="2117725"/>
          <p14:tracePt t="84357" x="8031163" y="2109788"/>
          <p14:tracePt t="84358" x="8031163" y="2106613"/>
          <p14:tracePt t="84359" x="8027988" y="2097088"/>
          <p14:tracePt t="84360" x="8027988" y="2089150"/>
          <p14:tracePt t="84361" x="8023225" y="2078038"/>
          <p14:tracePt t="84362" x="8023225" y="2070100"/>
          <p14:tracePt t="84363" x="8020050" y="2062163"/>
          <p14:tracePt t="84364" x="8020050" y="2054225"/>
          <p14:tracePt t="84365" x="8015288" y="2046288"/>
          <p14:tracePt t="84366" x="8015288" y="2038350"/>
          <p14:tracePt t="84367" x="8012113" y="2030413"/>
          <p14:tracePt t="84368" x="8012113" y="2022475"/>
          <p14:tracePt t="84369" x="8012113" y="2014538"/>
          <p14:tracePt t="84370" x="8004175" y="1997075"/>
          <p14:tracePt t="84371" x="8004175" y="1989138"/>
          <p14:tracePt t="84372" x="7999413" y="1981200"/>
          <p14:tracePt t="84373" x="7999413" y="1973263"/>
          <p14:tracePt t="84374" x="7996238" y="1965325"/>
          <p14:tracePt t="84375" x="7996238" y="1962150"/>
          <p14:tracePt t="84376" x="7991475" y="1949450"/>
          <p14:tracePt t="84377" x="7991475" y="1941513"/>
          <p14:tracePt t="84378" x="7991475" y="1933575"/>
          <p14:tracePt t="84379" x="7991475" y="1925638"/>
          <p14:tracePt t="84380" x="7988300" y="1909763"/>
          <p14:tracePt t="84382" x="7988300" y="1893888"/>
          <p14:tracePt t="84384" x="7988300" y="1885950"/>
          <p14:tracePt t="84384" x="7983538" y="1878013"/>
          <p14:tracePt t="84385" x="7983538" y="1870075"/>
          <p14:tracePt t="84386" x="7980363" y="1857375"/>
          <p14:tracePt t="84387" x="7980363" y="1849438"/>
          <p14:tracePt t="84388" x="7975600" y="1841500"/>
          <p14:tracePt t="84389" x="7975600" y="1833563"/>
          <p14:tracePt t="84390" x="7972425" y="1825625"/>
          <p14:tracePt t="84391" x="7972425" y="1817688"/>
          <p14:tracePt t="84392" x="7972425" y="1809750"/>
          <p14:tracePt t="84393" x="7964488" y="1801813"/>
          <p14:tracePt t="84394" x="7964488" y="1793875"/>
          <p14:tracePt t="84395" x="7964488" y="1785938"/>
          <p14:tracePt t="84396" x="7964488" y="1778000"/>
          <p14:tracePt t="84397" x="7964488" y="1765300"/>
          <p14:tracePt t="84398" x="7959725" y="1757363"/>
          <p14:tracePt t="84399" x="7959725" y="1754188"/>
          <p14:tracePt t="84400" x="7959725" y="1741488"/>
          <p14:tracePt t="84401" x="7959725" y="1738313"/>
          <p14:tracePt t="84402" x="7956550" y="1728788"/>
          <p14:tracePt t="84403" x="7956550" y="1720850"/>
          <p14:tracePt t="84404" x="7956550" y="1717675"/>
          <p14:tracePt t="84405" x="7951788" y="1709738"/>
          <p14:tracePt t="84406" x="7951788" y="1701800"/>
          <p14:tracePt t="84407" x="7951788" y="1697038"/>
          <p14:tracePt t="84409" x="7951788" y="1693863"/>
          <p14:tracePt t="84410" x="7948613" y="1685925"/>
          <p14:tracePt t="84411" x="7948613" y="1681163"/>
          <p14:tracePt t="84412" x="7948613" y="1677988"/>
          <p14:tracePt t="84413" x="7948613" y="1673225"/>
          <p14:tracePt t="84414" x="7948613" y="1670050"/>
          <p14:tracePt t="84415" x="7948613" y="1662113"/>
          <p14:tracePt t="84416" x="7948613" y="1657350"/>
          <p14:tracePt t="84417" x="7948613" y="1654175"/>
          <p14:tracePt t="84418" x="7948613" y="1649413"/>
          <p14:tracePt t="84419" x="7948613" y="1644650"/>
          <p14:tracePt t="84420" x="7943850" y="1644650"/>
          <p14:tracePt t="84421" x="7943850" y="1641475"/>
          <p14:tracePt t="84422" x="7943850" y="1636713"/>
          <p14:tracePt t="84424" x="7943850" y="1633538"/>
          <p14:tracePt t="84425" x="7943850" y="1628775"/>
          <p14:tracePt t="84426" x="7943850" y="1625600"/>
          <p14:tracePt t="84427" x="7943850" y="1620838"/>
          <p14:tracePt t="84429" x="7943850" y="1617663"/>
          <p14:tracePt t="84431" x="7943850" y="1612900"/>
          <p14:tracePt t="84432" x="7943850" y="1609725"/>
          <p14:tracePt t="84435" x="7943850" y="1604963"/>
          <p14:tracePt t="84437" x="7943850" y="1601788"/>
          <p14:tracePt t="84446" x="7943850" y="1597025"/>
          <p14:tracePt t="84472" x="7943850" y="1601788"/>
          <p14:tracePt t="84474" x="7943850" y="1604963"/>
          <p14:tracePt t="84476" x="7943850" y="1609725"/>
          <p14:tracePt t="84477" x="7943850" y="1612900"/>
          <p14:tracePt t="84479" x="7943850" y="1617663"/>
          <p14:tracePt t="84480" x="7943850" y="1625600"/>
          <p14:tracePt t="84481" x="7943850" y="1628775"/>
          <p14:tracePt t="84482" x="7943850" y="1636713"/>
          <p14:tracePt t="84483" x="7943850" y="1641475"/>
          <p14:tracePt t="84484" x="7943850" y="1644650"/>
          <p14:tracePt t="84485" x="7948613" y="1654175"/>
          <p14:tracePt t="84486" x="7948613" y="1657350"/>
          <p14:tracePt t="84487" x="7956550" y="1670050"/>
          <p14:tracePt t="84488" x="7956550" y="1677988"/>
          <p14:tracePt t="84489" x="7956550" y="1681163"/>
          <p14:tracePt t="84490" x="7959725" y="1689100"/>
          <p14:tracePt t="84491" x="7959725" y="1701800"/>
          <p14:tracePt t="84492" x="7964488" y="1709738"/>
          <p14:tracePt t="84493" x="7964488" y="1725613"/>
          <p14:tracePt t="84494" x="7967663" y="1733550"/>
          <p14:tracePt t="84495" x="7972425" y="1741488"/>
          <p14:tracePt t="84496" x="7972425" y="1749425"/>
          <p14:tracePt t="84497" x="7975600" y="1765300"/>
          <p14:tracePt t="84498" x="7975600" y="1778000"/>
          <p14:tracePt t="84499" x="7980363" y="1785938"/>
          <p14:tracePt t="84500" x="7983538" y="1801813"/>
          <p14:tracePt t="84501" x="7983538" y="1809750"/>
          <p14:tracePt t="84502" x="7988300" y="1820863"/>
          <p14:tracePt t="84503" x="7988300" y="1838325"/>
          <p14:tracePt t="84504" x="7996238" y="1849438"/>
          <p14:tracePt t="84505" x="7999413" y="1857375"/>
          <p14:tracePt t="84506" x="8004175" y="1873250"/>
          <p14:tracePt t="84507" x="8004175" y="1885950"/>
          <p14:tracePt t="84508" x="8007350" y="1901825"/>
          <p14:tracePt t="84510" x="8012113" y="1922463"/>
          <p14:tracePt t="84511" x="8015288" y="1938338"/>
          <p14:tracePt t="84512" x="8023225" y="1957388"/>
          <p14:tracePt t="84513" x="8023225" y="1965325"/>
          <p14:tracePt t="84514" x="8027988" y="1978025"/>
          <p14:tracePt t="84515" x="8031163" y="1993900"/>
          <p14:tracePt t="84516" x="8031163" y="2001838"/>
          <p14:tracePt t="84517" x="8035925" y="2022475"/>
          <p14:tracePt t="84518" x="8040688" y="2033588"/>
          <p14:tracePt t="84519" x="8043863" y="2046288"/>
          <p14:tracePt t="84520" x="8051800" y="2057400"/>
          <p14:tracePt t="84521" x="8051800" y="2065338"/>
          <p14:tracePt t="84522" x="8056563" y="2085975"/>
          <p14:tracePt t="84523" x="8059738" y="2093913"/>
          <p14:tracePt t="84524" x="8059738" y="2101850"/>
          <p14:tracePt t="84525" x="8064500" y="2117725"/>
          <p14:tracePt t="84526" x="8067675" y="2125663"/>
          <p14:tracePt t="84527" x="8072438" y="2138363"/>
          <p14:tracePt t="84528" x="8072438" y="2154238"/>
          <p14:tracePt t="84529" x="8075613" y="2162175"/>
          <p14:tracePt t="84530" x="8080375" y="2170113"/>
          <p14:tracePt t="84531" x="8080375" y="2178050"/>
          <p14:tracePt t="84532" x="8088313" y="2189163"/>
          <p14:tracePt t="84533" x="8091488" y="2198688"/>
          <p14:tracePt t="84535" x="8096250" y="2214563"/>
          <p14:tracePt t="84536" x="8099425" y="2217738"/>
          <p14:tracePt t="84537" x="8099425" y="2225675"/>
          <p14:tracePt t="84538" x="8104188" y="2233613"/>
          <p14:tracePt t="84539" x="8104188" y="2238375"/>
          <p14:tracePt t="84540" x="8107363" y="2241550"/>
          <p14:tracePt t="84541" x="8107363" y="2246313"/>
          <p14:tracePt t="84542" x="8112125" y="2254250"/>
          <p14:tracePt t="84543" x="8112125" y="2257425"/>
          <p14:tracePt t="84545" x="8115300" y="2262188"/>
          <p14:tracePt t="84547" x="8115300" y="2265363"/>
          <p14:tracePt t="84548" x="8115300" y="2270125"/>
          <p14:tracePt t="84551" x="8115300" y="2273300"/>
          <p14:tracePt t="84553" x="8120063" y="2278063"/>
          <p14:tracePt t="84701" x="8123238" y="2278063"/>
          <p14:tracePt t="84705" x="8123238" y="2281238"/>
          <p14:tracePt t="84706" x="8128000" y="2281238"/>
          <p14:tracePt t="84708" x="8132763" y="2286000"/>
          <p14:tracePt t="84709" x="8135938" y="2286000"/>
          <p14:tracePt t="84711" x="8140700" y="2293938"/>
          <p14:tracePt t="84712" x="8143875" y="2293938"/>
          <p14:tracePt t="84715" x="8151813" y="2301875"/>
          <p14:tracePt t="84718" x="8159750" y="2309813"/>
          <p14:tracePt t="84720" x="8164513" y="2314575"/>
          <p14:tracePt t="84722" x="8167688" y="2317750"/>
          <p14:tracePt t="84723" x="8175625" y="2325688"/>
          <p14:tracePt t="84725" x="8180388" y="2330450"/>
          <p14:tracePt t="84726" x="8188325" y="2338388"/>
          <p14:tracePt t="84728" x="8196263" y="2346325"/>
          <p14:tracePt t="84729" x="8199438" y="2354263"/>
          <p14:tracePt t="84732" x="8207375" y="2362200"/>
          <p14:tracePt t="84734" x="8224838" y="2373313"/>
          <p14:tracePt t="84736" x="8228013" y="2386013"/>
          <p14:tracePt t="84737" x="8235950" y="2390775"/>
          <p14:tracePt t="84738" x="8240713" y="2398713"/>
          <p14:tracePt t="84739" x="8240713" y="2401888"/>
          <p14:tracePt t="84740" x="8248650" y="2409825"/>
          <p14:tracePt t="84741" x="8256588" y="2422525"/>
          <p14:tracePt t="84742" x="8264525" y="2425700"/>
          <p14:tracePt t="84743" x="8267700" y="2433638"/>
          <p14:tracePt t="84744" x="8275638" y="2441575"/>
          <p14:tracePt t="84745" x="8280400" y="2449513"/>
          <p14:tracePt t="84746" x="8288338" y="2462213"/>
          <p14:tracePt t="84747" x="8296275" y="2470150"/>
          <p14:tracePt t="84748" x="8304213" y="2478088"/>
          <p14:tracePt t="84749" x="8307388" y="2486025"/>
          <p14:tracePt t="84751" x="8328025" y="2506663"/>
          <p14:tracePt t="84752" x="8335963" y="2514600"/>
          <p14:tracePt t="84753" x="8343900" y="2522538"/>
          <p14:tracePt t="84754" x="8351838" y="2533650"/>
          <p14:tracePt t="84755" x="8359775" y="2546350"/>
          <p14:tracePt t="84756" x="8372475" y="2562225"/>
          <p14:tracePt t="84757" x="8380413" y="2570163"/>
          <p14:tracePt t="84758" x="8391525" y="2586038"/>
          <p14:tracePt t="84759" x="8401050" y="2593975"/>
          <p14:tracePt t="84760" x="8416925" y="2609850"/>
          <p14:tracePt t="84761" x="8424863" y="2622550"/>
          <p14:tracePt t="84762" x="8432800" y="2633663"/>
          <p14:tracePt t="84763" x="8443913" y="2646363"/>
          <p14:tracePt t="84764" x="8451850" y="2654300"/>
          <p14:tracePt t="84765" x="8475663" y="2678113"/>
          <p14:tracePt t="84766" x="8483600" y="2686050"/>
          <p14:tracePt t="84768" x="8509000" y="2714625"/>
          <p14:tracePt t="84769" x="8516938" y="2725738"/>
          <p14:tracePt t="84770" x="8540750" y="2746375"/>
          <p14:tracePt t="84771" x="8548688" y="2762250"/>
          <p14:tracePt t="84772" x="8564563" y="2774950"/>
          <p14:tracePt t="84773" x="8572500" y="2790825"/>
          <p14:tracePt t="84774" x="8588375" y="2798763"/>
          <p14:tracePt t="84775" x="8601075" y="2814638"/>
          <p14:tracePt t="84776" x="8616950" y="2838450"/>
          <p14:tracePt t="84777" x="8632825" y="2851150"/>
          <p14:tracePt t="84778" x="8648700" y="2867025"/>
          <p14:tracePt t="84779" x="8656638" y="2874963"/>
          <p14:tracePt t="84780" x="8680450" y="2898775"/>
          <p14:tracePt t="84781" x="8693150" y="2909888"/>
          <p14:tracePt t="84782" x="8709025" y="2927350"/>
          <p14:tracePt t="84783" x="8724900" y="2943225"/>
          <p14:tracePt t="84785" x="8751888" y="2967038"/>
          <p14:tracePt t="84786" x="8772525" y="2986088"/>
          <p14:tracePt t="84787" x="8788400" y="3001963"/>
          <p14:tracePt t="84788" x="8804275" y="3019425"/>
          <p14:tracePt t="84789" x="8820150" y="3030538"/>
          <p14:tracePt t="84790" x="8832850" y="3046413"/>
          <p14:tracePt t="84791" x="8864600" y="3070225"/>
          <p14:tracePt t="84792" x="8880475" y="3086100"/>
          <p14:tracePt t="84793" x="8893175" y="3101975"/>
          <p14:tracePt t="84794" x="8909050" y="3114675"/>
          <p14:tracePt t="84795" x="8924925" y="3130550"/>
          <p14:tracePt t="84796" x="8948738" y="3154363"/>
          <p14:tracePt t="84797" x="8961438" y="3170238"/>
          <p14:tracePt t="84798" x="8977313" y="3182938"/>
          <p14:tracePt t="84799" x="8993188" y="3198813"/>
          <p14:tracePt t="84800" x="9004300" y="3214688"/>
          <p14:tracePt t="84802" x="9045575" y="3251200"/>
          <p14:tracePt t="84803" x="9061450" y="3267075"/>
          <p14:tracePt t="84804" x="9072563" y="3275013"/>
          <p14:tracePt t="84805" x="9088438" y="3298825"/>
          <p14:tracePt t="84806" x="9112250" y="3319463"/>
          <p14:tracePt t="84807" x="9129713" y="3335338"/>
          <p14:tracePt t="84808" x="9148763" y="3351213"/>
          <p14:tracePt t="84809" x="9164638" y="3367088"/>
          <p14:tracePt t="84810" x="9180513" y="3382963"/>
          <p14:tracePt t="84811" x="9209088" y="3406775"/>
          <p14:tracePt t="84812" x="9224963" y="3427413"/>
          <p14:tracePt t="84813" x="9248775" y="3443288"/>
          <p14:tracePt t="84814" x="9264650" y="3459163"/>
          <p14:tracePt t="84815" x="9280525" y="3482975"/>
          <p14:tracePt t="84816" x="9313863" y="3506788"/>
          <p14:tracePt t="84817" x="9332913" y="3530600"/>
          <p14:tracePt t="84818" x="9348788" y="3543300"/>
          <p14:tracePt t="84819" x="9372600" y="3562350"/>
          <p14:tracePt t="84820" x="9388475" y="3582988"/>
          <p14:tracePt t="84821" x="9417050" y="3606800"/>
          <p14:tracePt t="84822" x="9440863" y="3630613"/>
          <p14:tracePt t="84823" x="9456738" y="3646488"/>
          <p14:tracePt t="84824" x="9480550" y="3671888"/>
          <p14:tracePt t="84825" x="9493250" y="3683000"/>
          <p14:tracePt t="84826" x="9525000" y="3714750"/>
          <p14:tracePt t="84827" x="9548813" y="3730625"/>
          <p14:tracePt t="84828" x="9564688" y="3746500"/>
          <p14:tracePt t="84829" x="9585325" y="3771900"/>
          <p14:tracePt t="84830" x="9601200" y="3783013"/>
          <p14:tracePt t="84831" x="9625013" y="3803650"/>
          <p14:tracePt t="84832" x="9645650" y="3822700"/>
          <p14:tracePt t="84833" x="9669463" y="3843338"/>
          <p14:tracePt t="84836" x="9721850" y="3895725"/>
          <p14:tracePt t="84837" x="9737725" y="3906838"/>
          <p14:tracePt t="84838" x="9753600" y="3922713"/>
          <p14:tracePt t="84839" x="9766300" y="3940175"/>
          <p14:tracePt t="84840" x="9790113" y="3951288"/>
          <p14:tracePt t="84841" x="9801225" y="3963988"/>
          <p14:tracePt t="84842" x="9825038" y="3987800"/>
          <p14:tracePt t="84843" x="9840913" y="3995738"/>
          <p14:tracePt t="84844" x="9850438" y="4011613"/>
          <p14:tracePt t="84845" x="9866313" y="4027488"/>
          <p14:tracePt t="84846" x="9885363" y="4043363"/>
          <p14:tracePt t="84847" x="9898063" y="4051300"/>
          <p14:tracePt t="84848" x="9909175" y="4067175"/>
          <p14:tracePt t="84849" x="9917113" y="4075113"/>
          <p14:tracePt t="84850" x="9929813" y="4090988"/>
          <p14:tracePt t="84852" x="9953625" y="4116388"/>
          <p14:tracePt t="84853" x="9961563" y="4127500"/>
          <p14:tracePt t="84854" x="9969500" y="4140200"/>
          <p14:tracePt t="84855" x="9982200" y="4148138"/>
          <p14:tracePt t="84856" x="9993313" y="4159250"/>
          <p14:tracePt t="84857" x="10001250" y="4171950"/>
          <p14:tracePt t="84858" x="10009188" y="4183063"/>
          <p14:tracePt t="84859" x="10017125" y="4195763"/>
          <p14:tracePt t="84860" x="10021888" y="4203700"/>
          <p14:tracePt t="84861" x="10034588" y="4211638"/>
          <p14:tracePt t="84862" x="10042525" y="4227513"/>
          <p14:tracePt t="84863" x="10050463" y="4235450"/>
          <p14:tracePt t="84864" x="10053638" y="4243388"/>
          <p14:tracePt t="84865" x="10058400" y="4251325"/>
          <p14:tracePt t="84866" x="10069513" y="4264025"/>
          <p14:tracePt t="84867" x="10074275" y="4271963"/>
          <p14:tracePt t="84869" x="10085388" y="4287838"/>
          <p14:tracePt t="84870" x="10090150" y="4295775"/>
          <p14:tracePt t="84871" x="10093325" y="4300538"/>
          <p14:tracePt t="84872" x="10101263" y="4311650"/>
          <p14:tracePt t="84873" x="10106025" y="4324350"/>
          <p14:tracePt t="84874" x="10109200" y="4332288"/>
          <p14:tracePt t="84875" x="10113963" y="4335463"/>
          <p14:tracePt t="84876" x="10121900" y="4343400"/>
          <p14:tracePt t="84877" x="10129838" y="4351338"/>
          <p14:tracePt t="84878" x="10134600" y="4359275"/>
          <p14:tracePt t="84879" x="10134600" y="4364038"/>
          <p14:tracePt t="84880" x="10137775" y="4371975"/>
          <p14:tracePt t="84882" x="10145713" y="4383088"/>
          <p14:tracePt t="84883" x="10150475" y="4392613"/>
          <p14:tracePt t="84885" x="10161588" y="4403725"/>
          <p14:tracePt t="84887" x="10166350" y="4416425"/>
          <p14:tracePt t="84900" x="10193338" y="4471988"/>
          <p14:tracePt t="84902" x="10198100" y="4479925"/>
          <p14:tracePt t="84903" x="10198100" y="4484688"/>
          <p14:tracePt t="84904" x="10201275" y="4487863"/>
          <p14:tracePt t="84905" x="10201275" y="4492625"/>
          <p14:tracePt t="84906" x="10201275" y="4495800"/>
          <p14:tracePt t="84907" x="10201275" y="4500563"/>
          <p14:tracePt t="84908" x="10201275" y="4503738"/>
          <p14:tracePt t="84909" x="10201275" y="4508500"/>
          <p14:tracePt t="84911" x="10201275" y="4516438"/>
          <p14:tracePt t="84912" x="10201275" y="4519613"/>
          <p14:tracePt t="84913" x="10201275" y="4524375"/>
          <p14:tracePt t="84914" x="10201275" y="4527550"/>
          <p14:tracePt t="84915" x="10201275" y="4532313"/>
          <p14:tracePt t="84917" x="10201275" y="4535488"/>
          <p14:tracePt t="84918" x="10201275" y="4543425"/>
          <p14:tracePt t="84919" x="10201275" y="4548188"/>
          <p14:tracePt t="84920" x="10201275" y="4551363"/>
          <p14:tracePt t="84922" x="10201275" y="4556125"/>
          <p14:tracePt t="84923" x="10201275" y="4559300"/>
          <p14:tracePt t="84925" x="10201275" y="4564063"/>
          <p14:tracePt t="84926" x="10201275" y="4567238"/>
          <p14:tracePt t="84928" x="10201275" y="4572000"/>
          <p14:tracePt t="84929" x="10201275" y="4576763"/>
          <p14:tracePt t="84930" x="10201275" y="4579938"/>
          <p14:tracePt t="84932" x="10206038" y="4584700"/>
          <p14:tracePt t="84933" x="10206038" y="4587875"/>
          <p14:tracePt t="84934" x="10206038" y="4592638"/>
          <p14:tracePt t="84935" x="10206038" y="4595813"/>
          <p14:tracePt t="84937" x="10206038" y="4600575"/>
          <p14:tracePt t="84939" x="10206038" y="4603750"/>
          <p14:tracePt t="84940" x="10206038" y="4608513"/>
          <p14:tracePt t="84942" x="10206038" y="4611688"/>
          <p14:tracePt t="84943" x="10206038" y="4616450"/>
          <p14:tracePt t="84944" x="10206038" y="4619625"/>
          <p14:tracePt t="84945" x="10206038" y="4624388"/>
          <p14:tracePt t="84946" x="10206038" y="4627563"/>
          <p14:tracePt t="84949" x="10206038" y="4635500"/>
          <p14:tracePt t="84950" x="10206038" y="4640263"/>
          <p14:tracePt t="84951" x="10206038" y="4643438"/>
          <p14:tracePt t="84953" x="10206038" y="4648200"/>
          <p14:tracePt t="84954" x="10206038" y="4651375"/>
          <p14:tracePt t="84955" x="10206038" y="4656138"/>
          <p14:tracePt t="84956" x="10206038" y="4659313"/>
          <p14:tracePt t="84958" x="10206038" y="4668838"/>
          <p14:tracePt t="84959" x="10206038" y="4672013"/>
          <p14:tracePt t="84960" x="10206038" y="4676775"/>
          <p14:tracePt t="84961" x="10206038" y="4679950"/>
          <p14:tracePt t="84962" x="10206038" y="4684713"/>
          <p14:tracePt t="84963" x="10206038" y="4687888"/>
          <p14:tracePt t="84965" x="10201275" y="4692650"/>
          <p14:tracePt t="84966" x="10201275" y="4695825"/>
          <p14:tracePt t="84967" x="10201275" y="4700588"/>
          <p14:tracePt t="84968" x="10198100" y="4703763"/>
          <p14:tracePt t="84969" x="10198100" y="4708525"/>
          <p14:tracePt t="84970" x="10198100" y="4711700"/>
          <p14:tracePt t="84971" x="10198100" y="4716463"/>
          <p14:tracePt t="84972" x="10193338" y="4719638"/>
          <p14:tracePt t="84973" x="10193338" y="4727575"/>
          <p14:tracePt t="84974" x="10193338" y="4732338"/>
          <p14:tracePt t="84975" x="10193338" y="4735513"/>
          <p14:tracePt t="84977" x="10190163" y="4740275"/>
          <p14:tracePt t="84978" x="10190163" y="4748213"/>
          <p14:tracePt t="84979" x="10185400" y="4751388"/>
          <p14:tracePt t="84980" x="10185400" y="4756150"/>
          <p14:tracePt t="84981" x="10185400" y="4760913"/>
          <p14:tracePt t="84982" x="10182225" y="4764088"/>
          <p14:tracePt t="84983" x="10177463" y="4772025"/>
          <p14:tracePt t="84984" x="10177463" y="4776788"/>
          <p14:tracePt t="84985" x="10174288" y="4784725"/>
          <p14:tracePt t="84986" x="10174288" y="4787900"/>
          <p14:tracePt t="84987" x="10174288" y="4792663"/>
          <p14:tracePt t="84988" x="10169525" y="4800600"/>
          <p14:tracePt t="84989" x="10169525" y="4803775"/>
          <p14:tracePt t="84990" x="10166350" y="4811713"/>
          <p14:tracePt t="84992" x="10161588" y="4819650"/>
          <p14:tracePt t="84993" x="10161588" y="4832350"/>
          <p14:tracePt t="84994" x="10158413" y="4840288"/>
          <p14:tracePt t="84995" x="10158413" y="4843463"/>
          <p14:tracePt t="84996" x="10153650" y="4852988"/>
          <p14:tracePt t="84997" x="10153650" y="4856163"/>
          <p14:tracePt t="84998" x="10150475" y="4864100"/>
          <p14:tracePt t="84999" x="10150475" y="4872038"/>
          <p14:tracePt t="85000" x="10150475" y="4876800"/>
          <p14:tracePt t="85001" x="10145713" y="4884738"/>
          <p14:tracePt t="85003" x="10145713" y="4887913"/>
          <p14:tracePt t="85004" x="10142538" y="4895850"/>
          <p14:tracePt t="85005" x="10142538" y="4903788"/>
          <p14:tracePt t="85006" x="10137775" y="4908550"/>
          <p14:tracePt t="85007" x="10137775" y="4911725"/>
          <p14:tracePt t="85008" x="10137775" y="4916488"/>
          <p14:tracePt t="85009" x="10134600" y="4924425"/>
          <p14:tracePt t="85010" x="10134600" y="4927600"/>
          <p14:tracePt t="85012" x="10129838" y="4932363"/>
          <p14:tracePt t="85013" x="10129838" y="4935538"/>
          <p14:tracePt t="85014" x="10129838" y="4940300"/>
          <p14:tracePt t="85015" x="10126663" y="4945063"/>
          <p14:tracePt t="85017" x="10126663" y="4948238"/>
          <p14:tracePt t="85018" x="10126663" y="4953000"/>
          <p14:tracePt t="85019" x="10121900" y="4953000"/>
          <p14:tracePt t="85020" x="10121900" y="4956175"/>
          <p14:tracePt t="85022" x="10118725" y="4960938"/>
          <p14:tracePt t="85024" x="10113963" y="4964113"/>
          <p14:tracePt t="85027" x="10109200" y="4968875"/>
          <p14:tracePt t="85029" x="10106025" y="4968875"/>
          <p14:tracePt t="85030" x="10106025" y="4972050"/>
          <p14:tracePt t="85034" x="10106025" y="4976813"/>
          <p14:tracePt t="85035" x="10101263" y="4976813"/>
          <p14:tracePt t="85425" x="10101263" y="4972050"/>
          <p14:tracePt t="85435" x="10101263" y="4968875"/>
          <p14:tracePt t="85438" x="10101263" y="4964113"/>
          <p14:tracePt t="85441" x="10101263" y="4960938"/>
          <p14:tracePt t="85443" x="10101263" y="4956175"/>
          <p14:tracePt t="85444" x="10098088" y="4953000"/>
          <p14:tracePt t="85445" x="10098088" y="4948238"/>
          <p14:tracePt t="85446" x="10098088" y="4945063"/>
          <p14:tracePt t="85447" x="10093325" y="4940300"/>
          <p14:tracePt t="85451" x="10085388" y="4916488"/>
          <p14:tracePt t="85452" x="10082213" y="4911725"/>
          <p14:tracePt t="85455" x="10074275" y="4895850"/>
          <p14:tracePt t="85456" x="10069513" y="4879975"/>
          <p14:tracePt t="85458" x="10061575" y="4864100"/>
          <p14:tracePt t="85459" x="10058400" y="4856163"/>
          <p14:tracePt t="85460" x="10058400" y="4848225"/>
          <p14:tracePt t="85461" x="10053638" y="4835525"/>
          <p14:tracePt t="85462" x="10050463" y="4827588"/>
          <p14:tracePt t="85464" x="10037763" y="4800600"/>
          <p14:tracePt t="85466" x="10029825" y="4776788"/>
          <p14:tracePt t="85467" x="10029825" y="4768850"/>
          <p14:tracePt t="85468" x="10026650" y="4756150"/>
          <p14:tracePt t="85469" x="10013950" y="4740275"/>
          <p14:tracePt t="85470" x="10009188" y="4727575"/>
          <p14:tracePt t="85471" x="10009188" y="4719638"/>
          <p14:tracePt t="85472" x="10006013" y="4703763"/>
          <p14:tracePt t="85473" x="10001250" y="4692650"/>
          <p14:tracePt t="85474" x="9998075" y="4676775"/>
          <p14:tracePt t="85475" x="9993313" y="4664075"/>
          <p14:tracePt t="85476" x="9990138" y="4651375"/>
          <p14:tracePt t="85477" x="9982200" y="4640263"/>
          <p14:tracePt t="85478" x="9977438" y="4632325"/>
          <p14:tracePt t="85479" x="9974263" y="4611688"/>
          <p14:tracePt t="85480" x="9969500" y="4595813"/>
          <p14:tracePt t="85481" x="9969500" y="4584700"/>
          <p14:tracePt t="85482" x="9966325" y="4576763"/>
          <p14:tracePt t="85483" x="9961563" y="4559300"/>
          <p14:tracePt t="85484" x="9953625" y="4548188"/>
          <p14:tracePt t="85486" x="9950450" y="4519613"/>
          <p14:tracePt t="85487" x="9945688" y="4511675"/>
          <p14:tracePt t="85488" x="9942513" y="4495800"/>
          <p14:tracePt t="85489" x="9942513" y="4484688"/>
          <p14:tracePt t="85490" x="9937750" y="4467225"/>
          <p14:tracePt t="85491" x="9932988" y="4456113"/>
          <p14:tracePt t="85492" x="9932988" y="4448175"/>
          <p14:tracePt t="85493" x="9925050" y="4432300"/>
          <p14:tracePt t="85494" x="9925050" y="4419600"/>
          <p14:tracePt t="85495" x="9921875" y="4408488"/>
          <p14:tracePt t="85496" x="9917113" y="4400550"/>
          <p14:tracePt t="85497" x="9917113" y="4392613"/>
          <p14:tracePt t="85499" x="9913938" y="4371975"/>
          <p14:tracePt t="85501" x="9909175" y="4364038"/>
          <p14:tracePt t="85502" x="9909175" y="4343400"/>
          <p14:tracePt t="85503" x="9906000" y="4335463"/>
          <p14:tracePt t="85504" x="9906000" y="4324350"/>
          <p14:tracePt t="85505" x="9906000" y="4319588"/>
          <p14:tracePt t="85506" x="9901238" y="4311650"/>
          <p14:tracePt t="85507" x="9901238" y="4303713"/>
          <p14:tracePt t="85508" x="9901238" y="4300538"/>
          <p14:tracePt t="85509" x="9901238" y="4291013"/>
          <p14:tracePt t="85510" x="9901238" y="4283075"/>
          <p14:tracePt t="85511" x="9898063" y="4279900"/>
          <p14:tracePt t="85512" x="9898063" y="4275138"/>
          <p14:tracePt t="85513" x="9898063" y="4267200"/>
          <p14:tracePt t="85514" x="9898063" y="4264025"/>
          <p14:tracePt t="85515" x="9898063" y="4259263"/>
          <p14:tracePt t="85516" x="9893300" y="4256088"/>
          <p14:tracePt t="85518" x="9893300" y="4248150"/>
          <p14:tracePt t="85519" x="9893300" y="4243388"/>
          <p14:tracePt t="85520" x="9893300" y="4240213"/>
          <p14:tracePt t="85521" x="9893300" y="4235450"/>
          <p14:tracePt t="85522" x="9893300" y="4232275"/>
          <p14:tracePt t="85523" x="9893300" y="4227513"/>
          <p14:tracePt t="85524" x="9893300" y="4224338"/>
          <p14:tracePt t="85525" x="9893300" y="4219575"/>
          <p14:tracePt t="85527" x="9893300" y="4216400"/>
          <p14:tracePt t="85528" x="9893300" y="4211638"/>
          <p14:tracePt t="85531" x="9893300" y="4208463"/>
          <p14:tracePt t="85532" x="9893300" y="4203700"/>
          <p14:tracePt t="85534" x="9893300" y="4198938"/>
          <p14:tracePt t="85536" x="9893300" y="4195763"/>
          <p14:tracePt t="85538" x="9893300" y="4191000"/>
          <p14:tracePt t="85539" x="9893300" y="4187825"/>
          <p14:tracePt t="85541" x="9893300" y="4183063"/>
          <p14:tracePt t="85543" x="9893300" y="4179888"/>
          <p14:tracePt t="85545" x="9893300" y="4175125"/>
          <p14:tracePt t="85549" x="9893300" y="4171950"/>
          <p14:tracePt t="85553" x="9893300" y="4167188"/>
          <p14:tracePt t="85557" x="9893300" y="4164013"/>
          <p14:tracePt t="85561" x="9893300" y="4159250"/>
          <p14:tracePt t="85566" x="9893300" y="4156075"/>
          <p14:tracePt t="85568" x="9893300" y="4151313"/>
          <p14:tracePt t="85571" x="9893300" y="4148138"/>
          <p14:tracePt t="85575" x="9893300" y="4143375"/>
          <p14:tracePt t="85580" x="9893300" y="4140200"/>
          <p14:tracePt t="85583" x="9893300" y="4135438"/>
          <p14:tracePt t="85588" x="9893300" y="4132263"/>
          <p14:tracePt t="85590" x="9893300" y="4127500"/>
          <p14:tracePt t="85642" x="9893300" y="4124325"/>
          <p14:tracePt t="85645" x="9893300" y="4119563"/>
          <p14:tracePt t="85647" x="9893300" y="4116388"/>
          <p14:tracePt t="85649" x="9893300" y="4111625"/>
          <p14:tracePt t="85650" x="9893300" y="4106863"/>
          <p14:tracePt t="85653" x="9893300" y="4098925"/>
          <p14:tracePt t="85654" x="9890125" y="4095750"/>
          <p14:tracePt t="85655" x="9890125" y="4090988"/>
          <p14:tracePt t="85656" x="9890125" y="4087813"/>
          <p14:tracePt t="85657" x="9885363" y="4087813"/>
          <p14:tracePt t="85658" x="9885363" y="4083050"/>
          <p14:tracePt t="85659" x="9882188" y="4079875"/>
          <p14:tracePt t="85660" x="9882188" y="4075113"/>
          <p14:tracePt t="85661" x="9877425" y="4071938"/>
          <p14:tracePt t="85662" x="9877425" y="4067175"/>
          <p14:tracePt t="85663" x="9877425" y="4064000"/>
          <p14:tracePt t="85664" x="9874250" y="4059238"/>
          <p14:tracePt t="85666" x="9874250" y="4056063"/>
          <p14:tracePt t="85667" x="9866313" y="4043363"/>
          <p14:tracePt t="85668" x="9861550" y="4040188"/>
          <p14:tracePt t="85669" x="9858375" y="4040188"/>
          <p14:tracePt t="85670" x="9853613" y="4032250"/>
          <p14:tracePt t="85671" x="9853613" y="4027488"/>
          <p14:tracePt t="85672" x="9850438" y="4024313"/>
          <p14:tracePt t="85673" x="9845675" y="4014788"/>
          <p14:tracePt t="85674" x="9840913" y="4011613"/>
          <p14:tracePt t="85675" x="9837738" y="4006850"/>
          <p14:tracePt t="85676" x="9832975" y="3998913"/>
          <p14:tracePt t="85677" x="9829800" y="3995738"/>
          <p14:tracePt t="85678" x="9825038" y="3990975"/>
          <p14:tracePt t="85679" x="9821863" y="3983038"/>
          <p14:tracePt t="85680" x="9817100" y="3979863"/>
          <p14:tracePt t="85681" x="9817100" y="3975100"/>
          <p14:tracePt t="85683" x="9805988" y="3959225"/>
          <p14:tracePt t="85686" x="9801225" y="3951288"/>
          <p14:tracePt t="85687" x="9793288" y="3940175"/>
          <p14:tracePt t="85688" x="9793288" y="3930650"/>
          <p14:tracePt t="85689" x="9790113" y="3930650"/>
          <p14:tracePt t="85690" x="9785350" y="3927475"/>
          <p14:tracePt t="85691" x="9782175" y="3919538"/>
          <p14:tracePt t="85692" x="9777413" y="3914775"/>
          <p14:tracePt t="85693" x="9774238" y="3911600"/>
          <p14:tracePt t="85694" x="9769475" y="3906838"/>
          <p14:tracePt t="85695" x="9766300" y="3898900"/>
          <p14:tracePt t="85696" x="9761538" y="3895725"/>
          <p14:tracePt t="85697" x="9758363" y="3890963"/>
          <p14:tracePt t="85699" x="9753600" y="3883025"/>
          <p14:tracePt t="85699" x="9748838" y="3879850"/>
          <p14:tracePt t="85700" x="9748838" y="3875088"/>
          <p14:tracePt t="85701" x="9745663" y="3871913"/>
          <p14:tracePt t="85702" x="9740900" y="3867150"/>
          <p14:tracePt t="85703" x="9737725" y="3863975"/>
          <p14:tracePt t="85705" x="9732963" y="3859213"/>
          <p14:tracePt t="85706" x="9729788" y="3856038"/>
          <p14:tracePt t="85707" x="9725025" y="3851275"/>
          <p14:tracePt t="85708" x="9725025" y="3848100"/>
          <p14:tracePt t="85709" x="9721850" y="3843338"/>
          <p14:tracePt t="85710" x="9717088" y="3838575"/>
          <p14:tracePt t="85711" x="9717088" y="3835400"/>
          <p14:tracePt t="85712" x="9713913" y="3830638"/>
          <p14:tracePt t="85713" x="9709150" y="3827463"/>
          <p14:tracePt t="85714" x="9705975" y="3827463"/>
          <p14:tracePt t="85715" x="9705975" y="3822700"/>
          <p14:tracePt t="85718" x="9701213" y="3819525"/>
          <p14:tracePt t="85719" x="9698038" y="3814763"/>
          <p14:tracePt t="85720" x="9698038" y="3811588"/>
          <p14:tracePt t="85721" x="9693275" y="3806825"/>
          <p14:tracePt t="85723" x="9690100" y="3803650"/>
          <p14:tracePt t="85724" x="9690100" y="3798888"/>
          <p14:tracePt t="85725" x="9685338" y="3798888"/>
          <p14:tracePt t="85726" x="9685338" y="3795713"/>
          <p14:tracePt t="85727" x="9682163" y="3795713"/>
          <p14:tracePt t="85729" x="9677400" y="3790950"/>
          <p14:tracePt t="85731" x="9677400" y="3787775"/>
          <p14:tracePt t="85733" x="9674225" y="3787775"/>
          <p14:tracePt t="85735" x="9674225" y="3783013"/>
          <p14:tracePt t="85736" x="9669463" y="3783013"/>
          <p14:tracePt t="85739" x="9666288" y="3779838"/>
          <p14:tracePt t="85744" x="9666288" y="3775075"/>
          <p14:tracePt t="85750" x="9661525" y="3771900"/>
          <p14:tracePt t="85755" x="9656763" y="3771900"/>
          <p14:tracePt t="85757" x="9656763" y="3767138"/>
          <p14:tracePt t="85767" x="9653588" y="3763963"/>
          <p14:tracePt t="86038" x="9653588" y="3767138"/>
          <p14:tracePt t="86129" x="9648825" y="3767138"/>
          <p14:tracePt t="86131" x="9645650" y="3767138"/>
          <p14:tracePt t="86132" x="9640888" y="3767138"/>
          <p14:tracePt t="86134" x="9632950" y="3767138"/>
          <p14:tracePt t="86135" x="9629775" y="3767138"/>
          <p14:tracePt t="86136" x="9625013" y="3767138"/>
          <p14:tracePt t="86138" x="9617075" y="3767138"/>
          <p14:tracePt t="86139" x="9609138" y="3767138"/>
          <p14:tracePt t="86140" x="9605963" y="3767138"/>
          <p14:tracePt t="86141" x="9598025" y="3767138"/>
          <p14:tracePt t="86142" x="9590088" y="3767138"/>
          <p14:tracePt t="86143" x="9582150" y="3767138"/>
          <p14:tracePt t="86144" x="9574213" y="3767138"/>
          <p14:tracePt t="86145" x="9556750" y="3767138"/>
          <p14:tracePt t="86146" x="9548813" y="3767138"/>
          <p14:tracePt t="86147" x="9537700" y="3767138"/>
          <p14:tracePt t="86149" x="9509125" y="3767138"/>
          <p14:tracePt t="86150" x="9493250" y="3767138"/>
          <p14:tracePt t="86151" x="9480550" y="3767138"/>
          <p14:tracePt t="86152" x="9461500" y="3767138"/>
          <p14:tracePt t="86153" x="9440863" y="3767138"/>
          <p14:tracePt t="86154" x="9429750" y="3767138"/>
          <p14:tracePt t="86155" x="9409113" y="3767138"/>
          <p14:tracePt t="86156" x="9398000" y="3767138"/>
          <p14:tracePt t="86157" x="9369425" y="3767138"/>
          <p14:tracePt t="86158" x="9353550" y="3767138"/>
          <p14:tracePt t="86159" x="9337675" y="3767138"/>
          <p14:tracePt t="86160" x="9317038" y="3767138"/>
          <p14:tracePt t="86161" x="9301163" y="3767138"/>
          <p14:tracePt t="86162" x="9272588" y="3767138"/>
          <p14:tracePt t="86163" x="9253538" y="3767138"/>
          <p14:tracePt t="86164" x="9240838" y="3767138"/>
          <p14:tracePt t="86165" x="9221788" y="3763963"/>
          <p14:tracePt t="86167" x="9180513" y="3763963"/>
          <p14:tracePt t="86168" x="9156700" y="3756025"/>
          <p14:tracePt t="86169" x="9140825" y="3756025"/>
          <p14:tracePt t="86170" x="9120188" y="3751263"/>
          <p14:tracePt t="86171" x="9104313" y="3751263"/>
          <p14:tracePt t="86172" x="9085263" y="3751263"/>
          <p14:tracePt t="86173" x="9069388" y="3746500"/>
          <p14:tracePt t="86174" x="9056688" y="3746500"/>
          <p14:tracePt t="86175" x="9037638" y="3743325"/>
          <p14:tracePt t="86176" x="9020175" y="3738563"/>
          <p14:tracePt t="86177" x="9004300" y="3738563"/>
          <p14:tracePt t="86178" x="8988425" y="3730625"/>
          <p14:tracePt t="86179" x="8980488" y="3730625"/>
          <p14:tracePt t="86180" x="8969375" y="3730625"/>
          <p14:tracePt t="86181" x="8953500" y="3727450"/>
          <p14:tracePt t="86182" x="8940800" y="3722688"/>
          <p14:tracePt t="86183" x="8932863" y="3722688"/>
          <p14:tracePt t="86184" x="8916988" y="3719513"/>
          <p14:tracePt t="86185" x="8909050" y="3714750"/>
          <p14:tracePt t="86186" x="8893175" y="3711575"/>
          <p14:tracePt t="86187" x="8885238" y="3711575"/>
          <p14:tracePt t="86188" x="8872538" y="3703638"/>
          <p14:tracePt t="86189" x="8864600" y="3698875"/>
          <p14:tracePt t="86190" x="8853488" y="3695700"/>
          <p14:tracePt t="86191" x="8843963" y="3690938"/>
          <p14:tracePt t="86192" x="8836025" y="3687763"/>
          <p14:tracePt t="86193" x="8828088" y="3687763"/>
          <p14:tracePt t="86194" x="8820150" y="3683000"/>
          <p14:tracePt t="86195" x="8812213" y="3679825"/>
          <p14:tracePt t="86196" x="8804275" y="3675063"/>
          <p14:tracePt t="86197" x="8801100" y="3671888"/>
          <p14:tracePt t="86199" x="8785225" y="3663950"/>
          <p14:tracePt t="86201" x="8777288" y="3659188"/>
          <p14:tracePt t="86202" x="8764588" y="3651250"/>
          <p14:tracePt t="86203" x="8761413" y="3643313"/>
          <p14:tracePt t="86204" x="8748713" y="3638550"/>
          <p14:tracePt t="86205" x="8743950" y="3635375"/>
          <p14:tracePt t="86206" x="8743950" y="3630613"/>
          <p14:tracePt t="86207" x="8740775" y="3627438"/>
          <p14:tracePt t="86208" x="8732838" y="3622675"/>
          <p14:tracePt t="86209" x="8732838" y="3619500"/>
          <p14:tracePt t="86210" x="8728075" y="3614738"/>
          <p14:tracePt t="86211" x="8724900" y="3611563"/>
          <p14:tracePt t="86212" x="8720138" y="3606800"/>
          <p14:tracePt t="86213" x="8716963" y="3603625"/>
          <p14:tracePt t="86214" x="8712200" y="3598863"/>
          <p14:tracePt t="86215" x="8709025" y="3590925"/>
          <p14:tracePt t="86216" x="8704263" y="3587750"/>
          <p14:tracePt t="86218" x="8696325" y="3582988"/>
          <p14:tracePt t="86219" x="8693150" y="3575050"/>
          <p14:tracePt t="86220" x="8693150" y="3571875"/>
          <p14:tracePt t="86221" x="8688388" y="3562350"/>
          <p14:tracePt t="86222" x="8685213" y="3559175"/>
          <p14:tracePt t="86223" x="8680450" y="3551238"/>
          <p14:tracePt t="86224" x="8677275" y="3546475"/>
          <p14:tracePt t="86225" x="8672513" y="3538538"/>
          <p14:tracePt t="86226" x="8672513" y="3535363"/>
          <p14:tracePt t="86227" x="8672513" y="3527425"/>
          <p14:tracePt t="86228" x="8664575" y="3519488"/>
          <p14:tracePt t="86229" x="8664575" y="3514725"/>
          <p14:tracePt t="86230" x="8659813" y="3506788"/>
          <p14:tracePt t="86231" x="8651875" y="3498850"/>
          <p14:tracePt t="86232" x="8651875" y="3495675"/>
          <p14:tracePt t="86233" x="8648700" y="3487738"/>
          <p14:tracePt t="86235" x="8636000" y="3467100"/>
          <p14:tracePt t="86236" x="8632825" y="3459163"/>
          <p14:tracePt t="86237" x="8628063" y="3451225"/>
          <p14:tracePt t="86238" x="8624888" y="3443288"/>
          <p14:tracePt t="86239" x="8620125" y="3435350"/>
          <p14:tracePt t="86240" x="8616950" y="3427413"/>
          <p14:tracePt t="86241" x="8612188" y="3414713"/>
          <p14:tracePt t="86242" x="8609013" y="3406775"/>
          <p14:tracePt t="86243" x="8604250" y="3395663"/>
          <p14:tracePt t="86244" x="8596313" y="3378200"/>
          <p14:tracePt t="86245" x="8588375" y="3370263"/>
          <p14:tracePt t="86246" x="8585200" y="3362325"/>
          <p14:tracePt t="86247" x="8580438" y="3346450"/>
          <p14:tracePt t="86248" x="8575675" y="3335338"/>
          <p14:tracePt t="86249" x="8572500" y="3319463"/>
          <p14:tracePt t="86250" x="8564563" y="3311525"/>
          <p14:tracePt t="86252" x="8551863" y="3282950"/>
          <p14:tracePt t="86253" x="8548688" y="3275013"/>
          <p14:tracePt t="86254" x="8543925" y="3254375"/>
          <p14:tracePt t="86255" x="8535988" y="3238500"/>
          <p14:tracePt t="86256" x="8532813" y="3227388"/>
          <p14:tracePt t="86257" x="8528050" y="3211513"/>
          <p14:tracePt t="86258" x="8516938" y="3190875"/>
          <p14:tracePt t="86259" x="8512175" y="3178175"/>
          <p14:tracePt t="86260" x="8509000" y="3162300"/>
          <p14:tracePt t="86261" x="8504238" y="3151188"/>
          <p14:tracePt t="86262" x="8501063" y="3135313"/>
          <p14:tracePt t="86263" x="8496300" y="3119438"/>
          <p14:tracePt t="86264" x="8483600" y="3098800"/>
          <p14:tracePt t="86265" x="8483600" y="3086100"/>
          <p14:tracePt t="86266" x="8480425" y="3070225"/>
          <p14:tracePt t="86267" x="8475663" y="3059113"/>
          <p14:tracePt t="86268" x="8467725" y="3038475"/>
          <p14:tracePt t="86269" x="8464550" y="3027363"/>
          <p14:tracePt t="86270" x="8459788" y="3009900"/>
          <p14:tracePt t="86271" x="8456613" y="2994025"/>
          <p14:tracePt t="86272" x="8451850" y="2982913"/>
          <p14:tracePt t="86273" x="8448675" y="2967038"/>
          <p14:tracePt t="86274" x="8440738" y="2951163"/>
          <p14:tracePt t="86276" x="8432800" y="2922588"/>
          <p14:tracePt t="86277" x="8428038" y="2906713"/>
          <p14:tracePt t="86278" x="8424863" y="2890838"/>
          <p14:tracePt t="86279" x="8420100" y="2878138"/>
          <p14:tracePt t="86280" x="8412163" y="2862263"/>
          <p14:tracePt t="86281" x="8408988" y="2854325"/>
          <p14:tracePt t="86282" x="8404225" y="2843213"/>
          <p14:tracePt t="86283" x="8404225" y="2833688"/>
          <p14:tracePt t="86284" x="8401050" y="2814638"/>
          <p14:tracePt t="86286" x="8396288" y="2806700"/>
          <p14:tracePt t="86288" x="8391525" y="2778125"/>
          <p14:tracePt t="86289" x="8388350" y="2767013"/>
          <p14:tracePt t="86290" x="8388350" y="2759075"/>
          <p14:tracePt t="86291" x="8388350" y="2751138"/>
          <p14:tracePt t="86292" x="8383588" y="2746375"/>
          <p14:tracePt t="86293" x="8383588" y="2738438"/>
          <p14:tracePt t="86294" x="8383588" y="2730500"/>
          <p14:tracePt t="86295" x="8383588" y="2722563"/>
          <p14:tracePt t="86296" x="8383588" y="2717800"/>
          <p14:tracePt t="86297" x="8380413" y="2709863"/>
          <p14:tracePt t="86299" x="8380413" y="2706688"/>
          <p14:tracePt t="86299" x="8380413" y="2701925"/>
          <p14:tracePt t="86300" x="8380413" y="2693988"/>
          <p14:tracePt t="86301" x="8380413" y="2690813"/>
          <p14:tracePt t="86302" x="8380413" y="2686050"/>
          <p14:tracePt t="86304" x="8380413" y="2682875"/>
          <p14:tracePt t="86304" x="8375650" y="2678113"/>
          <p14:tracePt t="86306" x="8375650" y="2674938"/>
          <p14:tracePt t="86308" x="8375650" y="2667000"/>
          <p14:tracePt t="86309" x="8375650" y="2662238"/>
          <p14:tracePt t="86310" x="8375650" y="2659063"/>
          <p14:tracePt t="86312" x="8375650" y="2654300"/>
          <p14:tracePt t="86314" x="8375650" y="2649538"/>
          <p14:tracePt t="86316" x="8375650" y="2646363"/>
          <p14:tracePt t="86319" x="8375650" y="2641600"/>
          <p14:tracePt t="86324" x="8375650" y="2638425"/>
          <p14:tracePt t="86359" x="8380413" y="2641600"/>
          <p14:tracePt t="86363" x="8380413" y="2646363"/>
          <p14:tracePt t="86364" x="8383588" y="2646363"/>
          <p14:tracePt t="86365" x="8388350" y="2646363"/>
          <p14:tracePt t="86366" x="8391525" y="2649538"/>
          <p14:tracePt t="86367" x="8396288" y="2649538"/>
          <p14:tracePt t="86369" x="8401050" y="2654300"/>
          <p14:tracePt t="86371" x="8412163" y="2659063"/>
          <p14:tracePt t="86372" x="8416925" y="2662238"/>
          <p14:tracePt t="86373" x="8420100" y="2667000"/>
          <p14:tracePt t="86374" x="8424863" y="2667000"/>
          <p14:tracePt t="86375" x="8428038" y="2670175"/>
          <p14:tracePt t="86376" x="8432800" y="2670175"/>
          <p14:tracePt t="86377" x="8435975" y="2674938"/>
          <p14:tracePt t="86378" x="8440738" y="2678113"/>
          <p14:tracePt t="86379" x="8448675" y="2682875"/>
          <p14:tracePt t="86380" x="8456613" y="2686050"/>
          <p14:tracePt t="86381" x="8459788" y="2690813"/>
          <p14:tracePt t="86382" x="8467725" y="2693988"/>
          <p14:tracePt t="86384" x="8480425" y="2693988"/>
          <p14:tracePt t="86385" x="8488363" y="2701925"/>
          <p14:tracePt t="86387" x="8501063" y="2709863"/>
          <p14:tracePt t="86387" x="8509000" y="2709863"/>
          <p14:tracePt t="86388" x="8516938" y="2714625"/>
          <p14:tracePt t="86389" x="8524875" y="2717800"/>
          <p14:tracePt t="86390" x="8532813" y="2722563"/>
          <p14:tracePt t="86391" x="8543925" y="2730500"/>
          <p14:tracePt t="86392" x="8551863" y="2738438"/>
          <p14:tracePt t="86393" x="8564563" y="2741613"/>
          <p14:tracePt t="86394" x="8572500" y="2746375"/>
          <p14:tracePt t="86395" x="8585200" y="2751138"/>
          <p14:tracePt t="86396" x="8596313" y="2754313"/>
          <p14:tracePt t="86397" x="8604250" y="2762250"/>
          <p14:tracePt t="86399" x="8624888" y="2774950"/>
          <p14:tracePt t="86400" x="8636000" y="2778125"/>
          <p14:tracePt t="86405" x="8693150" y="2798763"/>
          <p14:tracePt t="86406" x="8712200" y="2806700"/>
          <p14:tracePt t="86407" x="8720138" y="2809875"/>
          <p14:tracePt t="86408" x="8728075" y="2814638"/>
          <p14:tracePt t="86409" x="8736013" y="2817813"/>
          <p14:tracePt t="86410" x="8751888" y="2822575"/>
          <p14:tracePt t="86411" x="8764588" y="2825750"/>
          <p14:tracePt t="86412" x="8777288" y="2830513"/>
          <p14:tracePt t="86413" x="8785225" y="2833688"/>
          <p14:tracePt t="86414" x="8793163" y="2833688"/>
          <p14:tracePt t="86415" x="8801100" y="2838450"/>
          <p14:tracePt t="86416" x="8816975" y="2846388"/>
          <p14:tracePt t="86418" x="8836025" y="2854325"/>
          <p14:tracePt t="86420" x="8853488" y="2859088"/>
          <p14:tracePt t="86421" x="8869363" y="2859088"/>
          <p14:tracePt t="86422" x="8877300" y="2862263"/>
          <p14:tracePt t="86423" x="8885238" y="2862263"/>
          <p14:tracePt t="86424" x="8893175" y="2867025"/>
          <p14:tracePt t="86425" x="8896350" y="2867025"/>
          <p14:tracePt t="86426" x="8909050" y="2870200"/>
          <p14:tracePt t="86427" x="8916988" y="2870200"/>
          <p14:tracePt t="86428" x="8920163" y="2874963"/>
          <p14:tracePt t="86429" x="8928100" y="2874963"/>
          <p14:tracePt t="86430" x="8932863" y="2874963"/>
          <p14:tracePt t="86431" x="8940800" y="2874963"/>
          <p14:tracePt t="86433" x="8953500" y="2874963"/>
          <p14:tracePt t="86434" x="8961438" y="2874963"/>
          <p14:tracePt t="86436" x="8964613" y="2874963"/>
          <p14:tracePt t="86436" x="8972550" y="2874963"/>
          <p14:tracePt t="86437" x="8977313" y="2874963"/>
          <p14:tracePt t="86438" x="8980488" y="2874963"/>
          <p14:tracePt t="86439" x="8985250" y="2874963"/>
          <p14:tracePt t="86441" x="8988425" y="2874963"/>
          <p14:tracePt t="86442" x="8993188" y="2874963"/>
          <p14:tracePt t="86443" x="8996363" y="2874963"/>
          <p14:tracePt t="86444" x="9001125" y="2874963"/>
          <p14:tracePt t="86445" x="9004300" y="2874963"/>
          <p14:tracePt t="86446" x="9012238" y="2874963"/>
          <p14:tracePt t="86449" x="9020175" y="2874963"/>
          <p14:tracePt t="86450" x="9024938" y="2874963"/>
          <p14:tracePt t="86452" x="9028113" y="2874963"/>
          <p14:tracePt t="86456" x="9032875" y="2874963"/>
          <p14:tracePt t="86458" x="9037638" y="2874963"/>
          <p14:tracePt t="86462" x="9040813" y="2874963"/>
          <p14:tracePt t="86465" x="9040813" y="2870200"/>
          <p14:tracePt t="86469" x="9045575" y="2870200"/>
          <p14:tracePt t="86476" x="9045575" y="2867025"/>
          <p14:tracePt t="86554" x="9048750" y="2867025"/>
          <p14:tracePt t="86566" x="9053513" y="2867025"/>
          <p14:tracePt t="86569" x="9053513" y="2870200"/>
          <p14:tracePt t="86574" x="9056688" y="2870200"/>
          <p14:tracePt t="86577" x="9061450" y="2870200"/>
          <p14:tracePt t="86579" x="9064625" y="2870200"/>
          <p14:tracePt t="86581" x="9069388" y="2870200"/>
          <p14:tracePt t="86584" x="9072563" y="2870200"/>
          <p14:tracePt t="86584" x="9077325" y="2870200"/>
          <p14:tracePt t="86586" x="9080500" y="2870200"/>
          <p14:tracePt t="86590" x="9088438" y="2870200"/>
          <p14:tracePt t="86592" x="9096375" y="2870200"/>
          <p14:tracePt t="86593" x="9101138" y="2870200"/>
          <p14:tracePt t="86594" x="9109075" y="2870200"/>
          <p14:tracePt t="86596" x="9112250" y="2870200"/>
          <p14:tracePt t="86597" x="9117013" y="2870200"/>
          <p14:tracePt t="86598" x="9120188" y="2870200"/>
          <p14:tracePt t="86600" x="9129713" y="2870200"/>
          <p14:tracePt t="86601" x="9132888" y="2870200"/>
          <p14:tracePt t="86602" x="9137650" y="2870200"/>
          <p14:tracePt t="86603" x="9140825" y="2870200"/>
          <p14:tracePt t="86605" x="9148763" y="2870200"/>
          <p14:tracePt t="86606" x="9153525" y="2870200"/>
          <p14:tracePt t="86607" x="9156700" y="2870200"/>
          <p14:tracePt t="86608" x="9164638" y="2870200"/>
          <p14:tracePt t="86609" x="9169400" y="2870200"/>
          <p14:tracePt t="86610" x="9172575" y="2870200"/>
          <p14:tracePt t="86611" x="9177338" y="2870200"/>
          <p14:tracePt t="86612" x="9180513" y="2870200"/>
          <p14:tracePt t="86613" x="9185275" y="2870200"/>
          <p14:tracePt t="86614" x="9193213" y="2867025"/>
          <p14:tracePt t="86616" x="9196388" y="2867025"/>
          <p14:tracePt t="86616" x="9204325" y="2867025"/>
          <p14:tracePt t="86617" x="9209088" y="2867025"/>
          <p14:tracePt t="86618" x="9213850" y="2867025"/>
          <p14:tracePt t="86619" x="9221788" y="2862263"/>
          <p14:tracePt t="86620" x="9224963" y="2862263"/>
          <p14:tracePt t="86621" x="9229725" y="2862263"/>
          <p14:tracePt t="86622" x="9232900" y="2862263"/>
          <p14:tracePt t="86623" x="9240838" y="2862263"/>
          <p14:tracePt t="86625" x="9245600" y="2862263"/>
          <p14:tracePt t="86626" x="9253538" y="2859088"/>
          <p14:tracePt t="86627" x="9256713" y="2859088"/>
          <p14:tracePt t="86628" x="9261475" y="2859088"/>
          <p14:tracePt t="86629" x="9269413" y="2859088"/>
          <p14:tracePt t="86630" x="9272588" y="2854325"/>
          <p14:tracePt t="86631" x="9277350" y="2854325"/>
          <p14:tracePt t="86632" x="9285288" y="2854325"/>
          <p14:tracePt t="86634" x="9296400" y="2854325"/>
          <p14:tracePt t="86636" x="9305925" y="2851150"/>
          <p14:tracePt t="86638" x="9313863" y="2851150"/>
          <p14:tracePt t="86639" x="9317038" y="2851150"/>
          <p14:tracePt t="86640" x="9324975" y="2851150"/>
          <p14:tracePt t="86641" x="9329738" y="2851150"/>
          <p14:tracePt t="86642" x="9332913" y="2851150"/>
          <p14:tracePt t="86643" x="9337675" y="2851150"/>
          <p14:tracePt t="86644" x="9345613" y="2851150"/>
          <p14:tracePt t="86645" x="9348788" y="2851150"/>
          <p14:tracePt t="86646" x="9353550" y="2851150"/>
          <p14:tracePt t="86647" x="9356725" y="2851150"/>
          <p14:tracePt t="86649" x="9361488" y="2851150"/>
          <p14:tracePt t="86650" x="9369425" y="2846388"/>
          <p14:tracePt t="86651" x="9372600" y="2846388"/>
          <p14:tracePt t="86652" x="9377363" y="2846388"/>
          <p14:tracePt t="86653" x="9380538" y="2846388"/>
          <p14:tracePt t="86654" x="9385300" y="2846388"/>
          <p14:tracePt t="86655" x="9388475" y="2846388"/>
          <p14:tracePt t="86656" x="9393238" y="2846388"/>
          <p14:tracePt t="86657" x="9398000" y="2846388"/>
          <p14:tracePt t="86658" x="9398000" y="2843213"/>
          <p14:tracePt t="86659" x="9401175" y="2843213"/>
          <p14:tracePt t="86660" x="9405938" y="2843213"/>
          <p14:tracePt t="86662" x="9409113" y="2843213"/>
          <p14:tracePt t="86666" x="9413875" y="2843213"/>
          <p14:tracePt t="86667" x="9417050" y="2843213"/>
          <p14:tracePt t="86669" x="9421813" y="2843213"/>
          <p14:tracePt t="86670" x="9424988" y="2843213"/>
          <p14:tracePt t="86672" x="9429750" y="2843213"/>
          <p14:tracePt t="86675" x="9432925" y="2843213"/>
          <p14:tracePt t="86680" x="9437688" y="2843213"/>
          <p14:tracePt t="86760" x="9437688" y="2846388"/>
          <p14:tracePt t="86763" x="9437688" y="2851150"/>
          <p14:tracePt t="86764" x="9440863" y="2851150"/>
          <p14:tracePt t="86766" x="9440863" y="2854325"/>
          <p14:tracePt t="86769" x="9445625" y="2854325"/>
          <p14:tracePt t="86770" x="9445625" y="2859088"/>
          <p14:tracePt t="86772" x="9448800" y="2859088"/>
          <p14:tracePt t="86775" x="9448800" y="2862263"/>
          <p14:tracePt t="88688" x="9448800" y="2867025"/>
          <p14:tracePt t="88690" x="9448800" y="2870200"/>
          <p14:tracePt t="88692" x="9448800" y="2874963"/>
          <p14:tracePt t="88693" x="9448800" y="2878138"/>
          <p14:tracePt t="88694" x="9448800" y="2882900"/>
          <p14:tracePt t="88697" x="9448800" y="2886075"/>
          <p14:tracePt t="88698" x="9448800" y="2890838"/>
          <p14:tracePt t="88700" x="9448800" y="2901950"/>
          <p14:tracePt t="88701" x="9448800" y="2909888"/>
          <p14:tracePt t="88702" x="9448800" y="2914650"/>
          <p14:tracePt t="88703" x="9448800" y="2922588"/>
          <p14:tracePt t="88704" x="9448800" y="2930525"/>
          <p14:tracePt t="88705" x="9448800" y="2938463"/>
          <p14:tracePt t="88706" x="9448800" y="2943225"/>
          <p14:tracePt t="88707" x="9448800" y="2951163"/>
          <p14:tracePt t="88708" x="9448800" y="2959100"/>
          <p14:tracePt t="88709" x="9448800" y="2970213"/>
          <p14:tracePt t="88710" x="9448800" y="2978150"/>
          <p14:tracePt t="88711" x="9448800" y="2986088"/>
          <p14:tracePt t="88712" x="9448800" y="2994025"/>
          <p14:tracePt t="88714" x="9448800" y="3019425"/>
          <p14:tracePt t="88716" x="9448800" y="3038475"/>
          <p14:tracePt t="88717" x="9448800" y="3046413"/>
          <p14:tracePt t="88718" x="9448800" y="3054350"/>
          <p14:tracePt t="88719" x="9453563" y="3074988"/>
          <p14:tracePt t="88720" x="9453563" y="3082925"/>
          <p14:tracePt t="88721" x="9453563" y="3090863"/>
          <p14:tracePt t="88722" x="9453563" y="3101975"/>
          <p14:tracePt t="88723" x="9453563" y="3114675"/>
          <p14:tracePt t="88724" x="9453563" y="3127375"/>
          <p14:tracePt t="88725" x="9453563" y="3135313"/>
          <p14:tracePt t="88726" x="9453563" y="3151188"/>
          <p14:tracePt t="88727" x="9453563" y="3159125"/>
          <p14:tracePt t="88728" x="9453563" y="3167063"/>
          <p14:tracePt t="88729" x="9453563" y="3178175"/>
          <p14:tracePt t="88730" x="9453563" y="3194050"/>
          <p14:tracePt t="88731" x="9453563" y="3203575"/>
          <p14:tracePt t="88732" x="9453563" y="3211513"/>
          <p14:tracePt t="88733" x="9453563" y="3219450"/>
          <p14:tracePt t="88734" x="9453563" y="3230563"/>
          <p14:tracePt t="88735" x="9453563" y="3238500"/>
          <p14:tracePt t="88736" x="9453563" y="3246438"/>
          <p14:tracePt t="88737" x="9453563" y="3254375"/>
          <p14:tracePt t="88738" x="9453563" y="3262313"/>
          <p14:tracePt t="88739" x="9453563" y="3275013"/>
          <p14:tracePt t="88740" x="9453563" y="3286125"/>
          <p14:tracePt t="88741" x="9453563" y="3295650"/>
          <p14:tracePt t="88742" x="9453563" y="3303588"/>
          <p14:tracePt t="88743" x="9453563" y="3306763"/>
          <p14:tracePt t="88744" x="9453563" y="3314700"/>
          <p14:tracePt t="88745" x="9453563" y="3322638"/>
          <p14:tracePt t="88746" x="9448800" y="3327400"/>
          <p14:tracePt t="88747" x="9448800" y="3335338"/>
          <p14:tracePt t="88748" x="9448800" y="3338513"/>
          <p14:tracePt t="88749" x="9445625" y="3346450"/>
          <p14:tracePt t="88750" x="9445625" y="3351213"/>
          <p14:tracePt t="88751" x="9445625" y="3359150"/>
          <p14:tracePt t="88752" x="9445625" y="3362325"/>
          <p14:tracePt t="88753" x="9440863" y="3367088"/>
          <p14:tracePt t="88754" x="9440863" y="3370263"/>
          <p14:tracePt t="88755" x="9440863" y="3375025"/>
          <p14:tracePt t="88756" x="9440863" y="3378200"/>
          <p14:tracePt t="88757" x="9437688" y="3382963"/>
          <p14:tracePt t="88758" x="9437688" y="3387725"/>
          <p14:tracePt t="88759" x="9437688" y="3390900"/>
          <p14:tracePt t="88760" x="9437688" y="3395663"/>
          <p14:tracePt t="88761" x="9432925" y="3398838"/>
          <p14:tracePt t="88762" x="9432925" y="3403600"/>
          <p14:tracePt t="88763" x="9432925" y="3406775"/>
          <p14:tracePt t="88764" x="9432925" y="3411538"/>
          <p14:tracePt t="88767" x="9429750" y="3414713"/>
          <p14:tracePt t="88768" x="9429750" y="3419475"/>
          <p14:tracePt t="88770" x="9429750" y="3422650"/>
          <p14:tracePt t="88771" x="9429750" y="3427413"/>
          <p14:tracePt t="88772" x="9429750" y="3430588"/>
          <p14:tracePt t="88773" x="9424988" y="3430588"/>
          <p14:tracePt t="88774" x="9424988" y="3435350"/>
          <p14:tracePt t="88775" x="9424988" y="3438525"/>
          <p14:tracePt t="88777" x="9424988" y="3443288"/>
          <p14:tracePt t="88778" x="9424988" y="3446463"/>
          <p14:tracePt t="88779" x="9421813" y="3446463"/>
          <p14:tracePt t="88780" x="9421813" y="3451225"/>
          <p14:tracePt t="88784" x="9421813" y="3459163"/>
          <p14:tracePt t="88785" x="9417050" y="3462338"/>
          <p14:tracePt t="88787" x="9417050" y="3467100"/>
          <p14:tracePt t="88788" x="9417050" y="3470275"/>
          <p14:tracePt t="88790" x="9413875" y="3475038"/>
          <p14:tracePt t="88791" x="9413875" y="3479800"/>
          <p14:tracePt t="88792" x="9413875" y="3482975"/>
          <p14:tracePt t="88793" x="9413875" y="3487738"/>
          <p14:tracePt t="88794" x="9413875" y="3490913"/>
          <p14:tracePt t="88796" x="9413875" y="3495675"/>
          <p14:tracePt t="88797" x="9413875" y="3498850"/>
          <p14:tracePt t="88798" x="9413875" y="3503613"/>
          <p14:tracePt t="88800" x="9413875" y="3511550"/>
          <p14:tracePt t="88801" x="9413875" y="3514725"/>
          <p14:tracePt t="88802" x="9409113" y="3519488"/>
          <p14:tracePt t="88803" x="9409113" y="3522663"/>
          <p14:tracePt t="88804" x="9409113" y="3527425"/>
          <p14:tracePt t="88805" x="9409113" y="3535363"/>
          <p14:tracePt t="88806" x="9409113" y="3538538"/>
          <p14:tracePt t="88807" x="9409113" y="3543300"/>
          <p14:tracePt t="88808" x="9409113" y="3546475"/>
          <p14:tracePt t="88809" x="9405938" y="3551238"/>
          <p14:tracePt t="88810" x="9405938" y="3559175"/>
          <p14:tracePt t="88811" x="9405938" y="3562350"/>
          <p14:tracePt t="88812" x="9405938" y="3571875"/>
          <p14:tracePt t="88813" x="9405938" y="3575050"/>
          <p14:tracePt t="88814" x="9405938" y="3582988"/>
          <p14:tracePt t="88816" x="9405938" y="3590925"/>
          <p14:tracePt t="88817" x="9405938" y="3603625"/>
          <p14:tracePt t="88818" x="9405938" y="3606800"/>
          <p14:tracePt t="88819" x="9405938" y="3614738"/>
          <p14:tracePt t="88820" x="9401175" y="3627438"/>
          <p14:tracePt t="88821" x="9401175" y="3630613"/>
          <p14:tracePt t="88822" x="9401175" y="3638550"/>
          <p14:tracePt t="88823" x="9401175" y="3646488"/>
          <p14:tracePt t="88824" x="9401175" y="3654425"/>
          <p14:tracePt t="88825" x="9401175" y="3659188"/>
          <p14:tracePt t="88826" x="9401175" y="3671888"/>
          <p14:tracePt t="88827" x="9401175" y="3679825"/>
          <p14:tracePt t="88828" x="9401175" y="3683000"/>
          <p14:tracePt t="88829" x="9401175" y="3690938"/>
          <p14:tracePt t="88830" x="9401175" y="3698875"/>
          <p14:tracePt t="88831" x="9401175" y="3706813"/>
          <p14:tracePt t="88832" x="9401175" y="3714750"/>
          <p14:tracePt t="88833" x="9401175" y="3719513"/>
          <p14:tracePt t="88834" x="9401175" y="3727450"/>
          <p14:tracePt t="88835" x="9401175" y="3730625"/>
          <p14:tracePt t="88836" x="9401175" y="3738563"/>
          <p14:tracePt t="88837" x="9401175" y="3746500"/>
          <p14:tracePt t="88838" x="9401175" y="3751263"/>
          <p14:tracePt t="88839" x="9401175" y="3759200"/>
          <p14:tracePt t="88840" x="9401175" y="3767138"/>
          <p14:tracePt t="88841" x="9401175" y="3771900"/>
          <p14:tracePt t="88842" x="9401175" y="3775075"/>
          <p14:tracePt t="88843" x="9401175" y="3783013"/>
          <p14:tracePt t="88844" x="9401175" y="3787775"/>
          <p14:tracePt t="88846" x="9401175" y="3795713"/>
          <p14:tracePt t="88847" x="9401175" y="3798888"/>
          <p14:tracePt t="88848" x="9401175" y="3803650"/>
          <p14:tracePt t="88849" x="9401175" y="3806825"/>
          <p14:tracePt t="88850" x="9401175" y="3814763"/>
          <p14:tracePt t="88851" x="9401175" y="3819525"/>
          <p14:tracePt t="88852" x="9401175" y="3822700"/>
          <p14:tracePt t="88853" x="9401175" y="3827463"/>
          <p14:tracePt t="88855" x="9401175" y="3838575"/>
          <p14:tracePt t="88856" x="9401175" y="3843338"/>
          <p14:tracePt t="88858" x="9401175" y="3848100"/>
          <p14:tracePt t="88859" x="9401175" y="3851275"/>
          <p14:tracePt t="88860" x="9401175" y="3856038"/>
          <p14:tracePt t="88861" x="9401175" y="3859213"/>
          <p14:tracePt t="88862" x="9401175" y="3863975"/>
          <p14:tracePt t="88863" x="9401175" y="3867150"/>
          <p14:tracePt t="88866" x="9401175" y="3871913"/>
          <p14:tracePt t="88866" x="9401175" y="3875088"/>
          <p14:tracePt t="88867" x="9401175" y="3879850"/>
          <p14:tracePt t="88869" x="9401175" y="3883025"/>
          <p14:tracePt t="88872" x="9401175" y="3887788"/>
          <p14:tracePt t="88874" x="9401175" y="3890963"/>
          <p14:tracePt t="88876" x="9401175" y="3895725"/>
          <p14:tracePt t="88878" x="9401175" y="3898900"/>
          <p14:tracePt t="88881" x="9398000" y="3903663"/>
          <p14:tracePt t="88883" x="9398000" y="3906838"/>
          <p14:tracePt t="88885" x="9398000" y="3911600"/>
          <p14:tracePt t="88887" x="9398000" y="3914775"/>
          <p14:tracePt t="88890" x="9398000" y="3919538"/>
          <p14:tracePt t="88891" x="9393238" y="3919538"/>
          <p14:tracePt t="88892" x="9393238" y="3922713"/>
          <p14:tracePt t="88900" x="9388475" y="3930650"/>
          <p14:tracePt t="88903" x="9388475" y="3935413"/>
          <p14:tracePt t="88905" x="9388475" y="3940175"/>
          <p14:tracePt t="88907" x="9388475" y="3943350"/>
          <p14:tracePt t="88909" x="9388475" y="3948113"/>
          <p14:tracePt t="88911" x="9388475" y="3951288"/>
          <p14:tracePt t="88913" x="9388475" y="3956050"/>
          <p14:tracePt t="88916" x="9388475" y="3963988"/>
          <p14:tracePt t="88919" x="9388475" y="3967163"/>
          <p14:tracePt t="88921" x="9388475" y="3971925"/>
          <p14:tracePt t="88922" x="9388475" y="3975100"/>
          <p14:tracePt t="88923" x="9388475" y="3979863"/>
          <p14:tracePt t="88924" x="9388475" y="3983038"/>
          <p14:tracePt t="88925" x="9388475" y="3987800"/>
          <p14:tracePt t="88926" x="9388475" y="3990975"/>
          <p14:tracePt t="88927" x="9388475" y="3995738"/>
          <p14:tracePt t="88928" x="9388475" y="3998913"/>
          <p14:tracePt t="88929" x="9388475" y="4003675"/>
          <p14:tracePt t="88932" x="9388475" y="4011613"/>
          <p14:tracePt t="88933" x="9388475" y="4014788"/>
          <p14:tracePt t="88935" x="9388475" y="4019550"/>
          <p14:tracePt t="88936" x="9388475" y="4027488"/>
          <p14:tracePt t="88937" x="9388475" y="4032250"/>
          <p14:tracePt t="88938" x="9388475" y="4035425"/>
          <p14:tracePt t="88939" x="9388475" y="4040188"/>
          <p14:tracePt t="88940" x="9388475" y="4043363"/>
          <p14:tracePt t="88941" x="9388475" y="4048125"/>
          <p14:tracePt t="88942" x="9388475" y="4056063"/>
          <p14:tracePt t="88943" x="9388475" y="4059238"/>
          <p14:tracePt t="88945" x="9388475" y="4064000"/>
          <p14:tracePt t="88946" x="9388475" y="4071938"/>
          <p14:tracePt t="88947" x="9388475" y="4075113"/>
          <p14:tracePt t="88948" x="9388475" y="4079875"/>
          <p14:tracePt t="88949" x="9388475" y="4087813"/>
          <p14:tracePt t="88950" x="9388475" y="4090988"/>
          <p14:tracePt t="88951" x="9388475" y="4098925"/>
          <p14:tracePt t="88952" x="9388475" y="4103688"/>
          <p14:tracePt t="88953" x="9388475" y="4111625"/>
          <p14:tracePt t="88954" x="9388475" y="4116388"/>
          <p14:tracePt t="88955" x="9388475" y="4124325"/>
          <p14:tracePt t="88956" x="9388475" y="4132263"/>
          <p14:tracePt t="88957" x="9388475" y="4135438"/>
          <p14:tracePt t="88958" x="9388475" y="4140200"/>
          <p14:tracePt t="88959" x="9388475" y="4151313"/>
          <p14:tracePt t="88961" x="9393238" y="4159250"/>
          <p14:tracePt t="88962" x="9393238" y="4167188"/>
          <p14:tracePt t="88963" x="9393238" y="4171950"/>
          <p14:tracePt t="88964" x="9393238" y="4179888"/>
          <p14:tracePt t="88966" x="9393238" y="4191000"/>
          <p14:tracePt t="88967" x="9393238" y="4198938"/>
          <p14:tracePt t="88968" x="9393238" y="4208463"/>
          <p14:tracePt t="88969" x="9393238" y="4211638"/>
          <p14:tracePt t="88970" x="9393238" y="4219575"/>
          <p14:tracePt t="88971" x="9398000" y="4224338"/>
          <p14:tracePt t="88972" x="9398000" y="4232275"/>
          <p14:tracePt t="88973" x="9398000" y="4240213"/>
          <p14:tracePt t="88974" x="9398000" y="4243388"/>
          <p14:tracePt t="88975" x="9398000" y="4251325"/>
          <p14:tracePt t="88976" x="9398000" y="4256088"/>
          <p14:tracePt t="88977" x="9398000" y="4264025"/>
          <p14:tracePt t="88978" x="9401175" y="4271963"/>
          <p14:tracePt t="88979" x="9401175" y="4275138"/>
          <p14:tracePt t="88980" x="9401175" y="4283075"/>
          <p14:tracePt t="88981" x="9401175" y="4287838"/>
          <p14:tracePt t="88982" x="9401175" y="4295775"/>
          <p14:tracePt t="88983" x="9401175" y="4303713"/>
          <p14:tracePt t="88984" x="9401175" y="4308475"/>
          <p14:tracePt t="88985" x="9401175" y="4311650"/>
          <p14:tracePt t="88986" x="9401175" y="4316413"/>
          <p14:tracePt t="88987" x="9401175" y="4324350"/>
          <p14:tracePt t="88988" x="9401175" y="4327525"/>
          <p14:tracePt t="88989" x="9401175" y="4335463"/>
          <p14:tracePt t="88990" x="9405938" y="4340225"/>
          <p14:tracePt t="88991" x="9405938" y="4348163"/>
          <p14:tracePt t="88992" x="9405938" y="4356100"/>
          <p14:tracePt t="88993" x="9405938" y="4359275"/>
          <p14:tracePt t="88994" x="9405938" y="4367213"/>
          <p14:tracePt t="88995" x="9405938" y="4371975"/>
          <p14:tracePt t="88996" x="9405938" y="4379913"/>
          <p14:tracePt t="88997" x="9405938" y="4387850"/>
          <p14:tracePt t="88998" x="9405938" y="4392613"/>
          <p14:tracePt t="88999" x="9405938" y="4400550"/>
          <p14:tracePt t="89000" x="9405938" y="4403725"/>
          <p14:tracePt t="89001" x="9405938" y="4408488"/>
          <p14:tracePt t="89002" x="9405938" y="4419600"/>
          <p14:tracePt t="89004" x="9405938" y="4427538"/>
          <p14:tracePt t="89005" x="9409113" y="4440238"/>
          <p14:tracePt t="89007" x="9409113" y="4448175"/>
          <p14:tracePt t="89008" x="9409113" y="4456113"/>
          <p14:tracePt t="89009" x="9409113" y="4464050"/>
          <p14:tracePt t="89010" x="9409113" y="4467225"/>
          <p14:tracePt t="89011" x="9413875" y="4475163"/>
          <p14:tracePt t="89012" x="9413875" y="4492625"/>
          <p14:tracePt t="89013" x="9413875" y="4495800"/>
          <p14:tracePt t="89014" x="9413875" y="4503738"/>
          <p14:tracePt t="89015" x="9413875" y="4511675"/>
          <p14:tracePt t="89016" x="9413875" y="4519613"/>
          <p14:tracePt t="89017" x="9417050" y="4527550"/>
          <p14:tracePt t="89018" x="9417050" y="4535488"/>
          <p14:tracePt t="89019" x="9417050" y="4543425"/>
          <p14:tracePt t="89020" x="9421813" y="4551363"/>
          <p14:tracePt t="89021" x="9421813" y="4559300"/>
          <p14:tracePt t="89022" x="9421813" y="4567238"/>
          <p14:tracePt t="89023" x="9424988" y="4579938"/>
          <p14:tracePt t="89024" x="9424988" y="4587875"/>
          <p14:tracePt t="89025" x="9424988" y="4595813"/>
          <p14:tracePt t="89026" x="9424988" y="4603750"/>
          <p14:tracePt t="89027" x="9429750" y="4611688"/>
          <p14:tracePt t="89028" x="9429750" y="4624388"/>
          <p14:tracePt t="89029" x="9429750" y="4632325"/>
          <p14:tracePt t="89030" x="9432925" y="4640263"/>
          <p14:tracePt t="89031" x="9432925" y="4651375"/>
          <p14:tracePt t="89032" x="9437688" y="4664075"/>
          <p14:tracePt t="89033" x="9437688" y="4672013"/>
          <p14:tracePt t="89034" x="9437688" y="4679950"/>
          <p14:tracePt t="89035" x="9440863" y="4687888"/>
          <p14:tracePt t="89036" x="9440863" y="4703763"/>
          <p14:tracePt t="89037" x="9440863" y="4711700"/>
          <p14:tracePt t="89038" x="9448800" y="4724400"/>
          <p14:tracePt t="89039" x="9448800" y="4732338"/>
          <p14:tracePt t="89040" x="9448800" y="4748213"/>
          <p14:tracePt t="89041" x="9448800" y="4756150"/>
          <p14:tracePt t="89042" x="9448800" y="4768850"/>
          <p14:tracePt t="89043" x="9453563" y="4776788"/>
          <p14:tracePt t="89044" x="9453563" y="4792663"/>
          <p14:tracePt t="89045" x="9453563" y="4800600"/>
          <p14:tracePt t="89046" x="9453563" y="4811713"/>
          <p14:tracePt t="89047" x="9453563" y="4819650"/>
          <p14:tracePt t="89048" x="9456738" y="4840288"/>
          <p14:tracePt t="89049" x="9456738" y="4856163"/>
          <p14:tracePt t="89050" x="9456738" y="4864100"/>
          <p14:tracePt t="89051" x="9456738" y="4876800"/>
          <p14:tracePt t="89052" x="9456738" y="4895850"/>
          <p14:tracePt t="89053" x="9456738" y="4908550"/>
          <p14:tracePt t="89054" x="9456738" y="4916488"/>
          <p14:tracePt t="89055" x="9456738" y="4932363"/>
          <p14:tracePt t="89056" x="9456738" y="4945063"/>
          <p14:tracePt t="89057" x="9456738" y="4960938"/>
          <p14:tracePt t="89058" x="9456738" y="4972050"/>
          <p14:tracePt t="89059" x="9456738" y="4984750"/>
          <p14:tracePt t="89060" x="9456738" y="5000625"/>
          <p14:tracePt t="89061" x="9456738" y="5011738"/>
          <p14:tracePt t="89062" x="9456738" y="5027613"/>
          <p14:tracePt t="89063" x="9456738" y="5048250"/>
          <p14:tracePt t="89064" x="9456738" y="5060950"/>
          <p14:tracePt t="89065" x="9456738" y="5072063"/>
          <p14:tracePt t="89066" x="9456738" y="5084763"/>
          <p14:tracePt t="89067" x="9456738" y="5095875"/>
          <p14:tracePt t="89068" x="9456738" y="5116513"/>
          <p14:tracePt t="89069" x="9456738" y="5129213"/>
          <p14:tracePt t="89070" x="9453563" y="5145088"/>
          <p14:tracePt t="89071" x="9453563" y="5153025"/>
          <p14:tracePt t="89072" x="9453563" y="5164138"/>
          <p14:tracePt t="89073" x="9453563" y="5184775"/>
          <p14:tracePt t="89074" x="9448800" y="5195888"/>
          <p14:tracePt t="89075" x="9448800" y="5213350"/>
          <p14:tracePt t="89076" x="9448800" y="5224463"/>
          <p14:tracePt t="89077" x="9448800" y="5232400"/>
          <p14:tracePt t="89078" x="9440863" y="5253038"/>
          <p14:tracePt t="89079" x="9440863" y="5268913"/>
          <p14:tracePt t="89080" x="9440863" y="5276850"/>
          <p14:tracePt t="89081" x="9437688" y="5287963"/>
          <p14:tracePt t="89082" x="9437688" y="5305425"/>
          <p14:tracePt t="89083" x="9432925" y="5316538"/>
          <p14:tracePt t="89084" x="9432925" y="5332413"/>
          <p14:tracePt t="89085" x="9429750" y="5345113"/>
          <p14:tracePt t="89086" x="9429750" y="5353050"/>
          <p14:tracePt t="89087" x="9429750" y="5368925"/>
          <p14:tracePt t="89089" x="9424988" y="5392738"/>
          <p14:tracePt t="89090" x="9424988" y="5405438"/>
          <p14:tracePt t="89091" x="9417050" y="5416550"/>
          <p14:tracePt t="89092" x="9417050" y="5424488"/>
          <p14:tracePt t="89093" x="9413875" y="5445125"/>
          <p14:tracePt t="89094" x="9413875" y="5453063"/>
          <p14:tracePt t="89095" x="9409113" y="5468938"/>
          <p14:tracePt t="89096" x="9405938" y="5480050"/>
          <p14:tracePt t="89097" x="9405938" y="5489575"/>
          <p14:tracePt t="89098" x="9401175" y="5508625"/>
          <p14:tracePt t="89099" x="9401175" y="5516563"/>
          <p14:tracePt t="89100" x="9393238" y="5532438"/>
          <p14:tracePt t="89101" x="9393238" y="5540375"/>
          <p14:tracePt t="89102" x="9388475" y="5553075"/>
          <p14:tracePt t="89103" x="9388475" y="5568950"/>
          <p14:tracePt t="89104" x="9385300" y="5576888"/>
          <p14:tracePt t="89105" x="9385300" y="5589588"/>
          <p14:tracePt t="89106" x="9380538" y="5597525"/>
          <p14:tracePt t="89107" x="9380538" y="5605463"/>
          <p14:tracePt t="89108" x="9377363" y="5621338"/>
          <p14:tracePt t="89109" x="9377363" y="5632450"/>
          <p14:tracePt t="89110" x="9372600" y="5645150"/>
          <p14:tracePt t="89111" x="9369425" y="5653088"/>
          <p14:tracePt t="89112" x="9369425" y="5661025"/>
          <p14:tracePt t="89113" x="9364663" y="5673725"/>
          <p14:tracePt t="89114" x="9361488" y="5681663"/>
          <p14:tracePt t="89115" x="9361488" y="5697538"/>
          <p14:tracePt t="89116" x="9353550" y="5705475"/>
          <p14:tracePt t="89117" x="9353550" y="5713413"/>
          <p14:tracePt t="89118" x="9348788" y="5729288"/>
          <p14:tracePt t="89119" x="9345613" y="5737225"/>
          <p14:tracePt t="89121" x="9340850" y="5753100"/>
          <p14:tracePt t="89122" x="9337675" y="5761038"/>
          <p14:tracePt t="89123" x="9332913" y="5776913"/>
          <p14:tracePt t="89124" x="9329738" y="5784850"/>
          <p14:tracePt t="89125" x="9324975" y="5797550"/>
          <p14:tracePt t="89126" x="9317038" y="5808663"/>
          <p14:tracePt t="89127" x="9317038" y="5816600"/>
          <p14:tracePt t="89128" x="9313863" y="5829300"/>
          <p14:tracePt t="89129" x="9309100" y="5837238"/>
          <p14:tracePt t="89130" x="9305925" y="5848350"/>
          <p14:tracePt t="89131" x="9305925" y="5857875"/>
          <p14:tracePt t="89132" x="9301163" y="5865813"/>
          <p14:tracePt t="89133" x="9296400" y="5873750"/>
          <p14:tracePt t="89135" x="9288463" y="5897563"/>
          <p14:tracePt t="89136" x="9285288" y="5905500"/>
          <p14:tracePt t="89137" x="9277350" y="5913438"/>
          <p14:tracePt t="89138" x="9272588" y="5921375"/>
          <p14:tracePt t="89139" x="9269413" y="5929313"/>
          <p14:tracePt t="89140" x="9264650" y="5940425"/>
          <p14:tracePt t="89141" x="9261475" y="5949950"/>
          <p14:tracePt t="89142" x="9256713" y="5957888"/>
          <p14:tracePt t="89143" x="9253538" y="5965825"/>
          <p14:tracePt t="89144" x="9248775" y="5973763"/>
          <p14:tracePt t="89145" x="9245600" y="5984875"/>
          <p14:tracePt t="89146" x="9240838" y="5992813"/>
          <p14:tracePt t="89147" x="9237663" y="6000750"/>
          <p14:tracePt t="89148" x="9232900" y="6005513"/>
          <p14:tracePt t="89149" x="9229725" y="6016625"/>
          <p14:tracePt t="89150" x="9224963" y="6021388"/>
          <p14:tracePt t="89153" x="9213850" y="6042025"/>
          <p14:tracePt t="89154" x="9209088" y="6049963"/>
          <p14:tracePt t="89155" x="9204325" y="6057900"/>
          <p14:tracePt t="89156" x="9201150" y="6061075"/>
          <p14:tracePt t="89157" x="9196388" y="6069013"/>
          <p14:tracePt t="89158" x="9193213" y="6073775"/>
          <p14:tracePt t="89159" x="9188450" y="6081713"/>
          <p14:tracePt t="89160" x="9185275" y="6089650"/>
          <p14:tracePt t="89161" x="9180513" y="6097588"/>
          <p14:tracePt t="89162" x="9177338" y="6100763"/>
          <p14:tracePt t="89163" x="9172575" y="6105525"/>
          <p14:tracePt t="89164" x="9169400" y="6113463"/>
          <p14:tracePt t="89166" x="9164638" y="6121400"/>
          <p14:tracePt t="89166" x="9161463" y="6124575"/>
          <p14:tracePt t="89167" x="9156700" y="6129338"/>
          <p14:tracePt t="89169" x="9148763" y="6142038"/>
          <p14:tracePt t="89171" x="9140825" y="6149975"/>
          <p14:tracePt t="89172" x="9137650" y="6153150"/>
          <p14:tracePt t="89173" x="9132888" y="6157913"/>
          <p14:tracePt t="89174" x="9129713" y="6165850"/>
          <p14:tracePt t="89175" x="9124950" y="6169025"/>
          <p14:tracePt t="89176" x="9120188" y="6173788"/>
          <p14:tracePt t="89178" x="9120188" y="6176963"/>
          <p14:tracePt t="89179" x="9117013" y="6181725"/>
          <p14:tracePt t="89180" x="9112250" y="6184900"/>
          <p14:tracePt t="89181" x="9109075" y="6192838"/>
          <p14:tracePt t="89182" x="9104313" y="6197600"/>
          <p14:tracePt t="89183" x="9101138" y="6200775"/>
          <p14:tracePt t="89184" x="9096375" y="6205538"/>
          <p14:tracePt t="89187" x="9088438" y="6213475"/>
          <p14:tracePt t="89187" x="9085263" y="6216650"/>
          <p14:tracePt t="89188" x="9085263" y="6221413"/>
          <p14:tracePt t="89189" x="9077325" y="6226175"/>
          <p14:tracePt t="89191" x="9072563" y="6226175"/>
          <p14:tracePt t="89192" x="9069388" y="6229350"/>
          <p14:tracePt t="89193" x="9064625" y="6234113"/>
          <p14:tracePt t="89194" x="9064625" y="6237288"/>
          <p14:tracePt t="89195" x="9061450" y="6242050"/>
          <p14:tracePt t="89196" x="9061450" y="6245225"/>
          <p14:tracePt t="89197" x="9056688" y="6245225"/>
          <p14:tracePt t="89198" x="9053513" y="6249988"/>
          <p14:tracePt t="89199" x="9048750" y="6253163"/>
          <p14:tracePt t="89200" x="9045575" y="6257925"/>
          <p14:tracePt t="89202" x="9037638" y="6261100"/>
          <p14:tracePt t="89204" x="9028113" y="6265863"/>
          <p14:tracePt t="89206" x="9024938" y="6269038"/>
          <p14:tracePt t="89207" x="9020175" y="6269038"/>
          <p14:tracePt t="89208" x="9017000" y="6269038"/>
          <p14:tracePt t="89209" x="9017000" y="6273800"/>
          <p14:tracePt t="89210" x="9012238" y="6273800"/>
          <p14:tracePt t="89211" x="9009063" y="6276975"/>
          <p14:tracePt t="89212" x="9004300" y="6276975"/>
          <p14:tracePt t="89213" x="9001125" y="6281738"/>
          <p14:tracePt t="89214" x="8996363" y="6281738"/>
          <p14:tracePt t="89215" x="8993188" y="6284913"/>
          <p14:tracePt t="89216" x="8988425" y="6284913"/>
          <p14:tracePt t="89217" x="8985250" y="6289675"/>
          <p14:tracePt t="89218" x="8980488" y="6289675"/>
          <p14:tracePt t="89219" x="8972550" y="6292850"/>
          <p14:tracePt t="89220" x="8969375" y="6292850"/>
          <p14:tracePt t="89221" x="8969375" y="6297613"/>
          <p14:tracePt t="89222" x="8961438" y="6297613"/>
          <p14:tracePt t="89223" x="8956675" y="6297613"/>
          <p14:tracePt t="89224" x="8948738" y="6300788"/>
          <p14:tracePt t="89225" x="8945563" y="6300788"/>
          <p14:tracePt t="89226" x="8936038" y="6300788"/>
          <p14:tracePt t="89227" x="8932863" y="6300788"/>
          <p14:tracePt t="89228" x="8924925" y="6300788"/>
          <p14:tracePt t="89229" x="8920163" y="6300788"/>
          <p14:tracePt t="89230" x="8909050" y="6305550"/>
          <p14:tracePt t="89231" x="8904288" y="6305550"/>
          <p14:tracePt t="89232" x="8896350" y="6305550"/>
          <p14:tracePt t="89233" x="8888413" y="6305550"/>
          <p14:tracePt t="89234" x="8880475" y="6305550"/>
          <p14:tracePt t="89235" x="8872538" y="6305550"/>
          <p14:tracePt t="89236" x="8864600" y="6305550"/>
          <p14:tracePt t="89237" x="8856663" y="6305550"/>
          <p14:tracePt t="89238" x="8848725" y="6305550"/>
          <p14:tracePt t="89239" x="8832850" y="6305550"/>
          <p14:tracePt t="89240" x="8824913" y="6305550"/>
          <p14:tracePt t="89241" x="8816975" y="6305550"/>
          <p14:tracePt t="89242" x="8804275" y="6305550"/>
          <p14:tracePt t="89243" x="8796338" y="6305550"/>
          <p14:tracePt t="89244" x="8780463" y="6305550"/>
          <p14:tracePt t="89245" x="8769350" y="6305550"/>
          <p14:tracePt t="89246" x="8761413" y="6305550"/>
          <p14:tracePt t="89247" x="8743950" y="6305550"/>
          <p14:tracePt t="89248" x="8732838" y="6305550"/>
          <p14:tracePt t="89249" x="8724900" y="6300788"/>
          <p14:tracePt t="89250" x="8704263" y="6300788"/>
          <p14:tracePt t="89251" x="8693150" y="6297613"/>
          <p14:tracePt t="89252" x="8680450" y="6297613"/>
          <p14:tracePt t="89253" x="8667750" y="6289675"/>
          <p14:tracePt t="89254" x="8656638" y="6289675"/>
          <p14:tracePt t="89255" x="8636000" y="6284913"/>
          <p14:tracePt t="89256" x="8620125" y="6284913"/>
          <p14:tracePt t="89257" x="8609013" y="6281738"/>
          <p14:tracePt t="89258" x="8601075" y="6281738"/>
          <p14:tracePt t="89259" x="8585200" y="6276975"/>
          <p14:tracePt t="89261" x="8551863" y="6273800"/>
          <p14:tracePt t="89262" x="8535988" y="6273800"/>
          <p14:tracePt t="89263" x="8524875" y="6269038"/>
          <p14:tracePt t="89264" x="8512175" y="6269038"/>
          <p14:tracePt t="89266" x="8496300" y="6261100"/>
          <p14:tracePt t="89266" x="8483600" y="6261100"/>
          <p14:tracePt t="89267" x="8467725" y="6257925"/>
          <p14:tracePt t="89268" x="8459788" y="6257925"/>
          <p14:tracePt t="89269" x="8443913" y="6253163"/>
          <p14:tracePt t="89270" x="8432800" y="6253163"/>
          <p14:tracePt t="89271" x="8424863" y="6253163"/>
          <p14:tracePt t="89272" x="8412163" y="6249988"/>
          <p14:tracePt t="89273" x="8401050" y="6249988"/>
          <p14:tracePt t="89274" x="8391525" y="6249988"/>
          <p14:tracePt t="89275" x="8380413" y="6249988"/>
          <p14:tracePt t="89276" x="8372475" y="6245225"/>
          <p14:tracePt t="89277" x="8367713" y="6245225"/>
          <p14:tracePt t="89278" x="8359775" y="6245225"/>
          <p14:tracePt t="89279" x="8351838" y="6245225"/>
          <p14:tracePt t="89280" x="8343900" y="6242050"/>
          <p14:tracePt t="89281" x="8340725" y="6242050"/>
          <p14:tracePt t="89282" x="8335963" y="6242050"/>
          <p14:tracePt t="89283" x="8332788" y="6242050"/>
          <p14:tracePt t="89284" x="8328025" y="6242050"/>
          <p14:tracePt t="89285" x="8320088" y="6242050"/>
          <p14:tracePt t="89287" x="8316913" y="6242050"/>
          <p14:tracePt t="89288" x="8312150" y="6242050"/>
          <p14:tracePt t="89290" x="8307388" y="6242050"/>
          <p14:tracePt t="89324" x="8312150" y="6242050"/>
          <p14:tracePt t="89326" x="8316913" y="6242050"/>
          <p14:tracePt t="89326" x="8320088" y="6242050"/>
          <p14:tracePt t="89328" x="8328025" y="6242050"/>
          <p14:tracePt t="89329" x="8332788" y="6242050"/>
          <p14:tracePt t="89330" x="8335963" y="6242050"/>
          <p14:tracePt t="89331" x="8343900" y="6245225"/>
          <p14:tracePt t="89332" x="8351838" y="6245225"/>
          <p14:tracePt t="89333" x="8356600" y="6249988"/>
          <p14:tracePt t="89334" x="8364538" y="6249988"/>
          <p14:tracePt t="89335" x="8372475" y="6253163"/>
          <p14:tracePt t="89336" x="8383588" y="6261100"/>
          <p14:tracePt t="89337" x="8401050" y="6261100"/>
          <p14:tracePt t="89338" x="8408988" y="6265863"/>
          <p14:tracePt t="89339" x="8420100" y="6269038"/>
          <p14:tracePt t="89340" x="8435975" y="6273800"/>
          <p14:tracePt t="89341" x="8448675" y="6276975"/>
          <p14:tracePt t="89342" x="8464550" y="6281738"/>
          <p14:tracePt t="89343" x="8475663" y="6289675"/>
          <p14:tracePt t="89344" x="8493125" y="6292850"/>
          <p14:tracePt t="89345" x="8512175" y="6292850"/>
          <p14:tracePt t="89346" x="8532813" y="6297613"/>
          <p14:tracePt t="89347" x="8543925" y="6300788"/>
          <p14:tracePt t="89348" x="8559800" y="6305550"/>
          <p14:tracePt t="89349" x="8572500" y="6313488"/>
          <p14:tracePt t="89350" x="8593138" y="6318250"/>
          <p14:tracePt t="89352" x="8632825" y="6321425"/>
          <p14:tracePt t="89353" x="8643938" y="6326188"/>
          <p14:tracePt t="89354" x="8659813" y="6326188"/>
          <p14:tracePt t="89355" x="8672513" y="6329363"/>
          <p14:tracePt t="89356" x="8693150" y="6329363"/>
          <p14:tracePt t="89357" x="8709025" y="6337300"/>
          <p14:tracePt t="89358" x="8720138" y="6337300"/>
          <p14:tracePt t="89359" x="8732838" y="6337300"/>
          <p14:tracePt t="89360" x="8748713" y="6337300"/>
          <p14:tracePt t="89361" x="8769350" y="6342063"/>
          <p14:tracePt t="89362" x="8780463" y="6342063"/>
          <p14:tracePt t="89363" x="8788400" y="6342063"/>
          <p14:tracePt t="89364" x="8804275" y="6342063"/>
          <p14:tracePt t="89366" x="8824913" y="6342063"/>
          <p14:tracePt t="89367" x="8840788" y="6342063"/>
          <p14:tracePt t="89370" x="8864600" y="6342063"/>
          <p14:tracePt t="89371" x="8872538" y="6342063"/>
          <p14:tracePt t="89372" x="8880475" y="6342063"/>
          <p14:tracePt t="89373" x="8885238" y="6342063"/>
          <p14:tracePt t="89374" x="8888413" y="6342063"/>
          <p14:tracePt t="89375" x="8896350" y="6342063"/>
          <p14:tracePt t="89376" x="8896350" y="6337300"/>
          <p14:tracePt t="89377" x="8901113" y="6337300"/>
          <p14:tracePt t="89378" x="8904288" y="6337300"/>
          <p14:tracePt t="89379" x="8909050" y="6334125"/>
          <p14:tracePt t="89380" x="8912225" y="6334125"/>
          <p14:tracePt t="89381" x="8916988" y="6329363"/>
          <p14:tracePt t="89383" x="8920163" y="6326188"/>
          <p14:tracePt t="89385" x="8920163" y="6321425"/>
          <p14:tracePt t="89386" x="8924925" y="6321425"/>
          <p14:tracePt t="89387" x="8928100" y="6318250"/>
          <p14:tracePt t="89389" x="8928100" y="6313488"/>
          <p14:tracePt t="89390" x="8932863" y="6313488"/>
          <p14:tracePt t="89393" x="8932863" y="6310313"/>
          <p14:tracePt t="89394" x="8936038" y="6305550"/>
          <p14:tracePt t="89396" x="8936038" y="6300788"/>
          <p14:tracePt t="89397" x="8936038" y="6297613"/>
          <p14:tracePt t="89398" x="8936038" y="6292850"/>
          <p14:tracePt t="89399" x="8936038" y="6289675"/>
          <p14:tracePt t="89401" x="8936038" y="6281738"/>
          <p14:tracePt t="89403" x="8936038" y="6273800"/>
          <p14:tracePt t="89405" x="8936038" y="6269038"/>
          <p14:tracePt t="89406" x="8936038" y="6261100"/>
          <p14:tracePt t="89407" x="8936038" y="6257925"/>
          <p14:tracePt t="89408" x="8936038" y="6253163"/>
          <p14:tracePt t="89409" x="8936038" y="6249988"/>
          <p14:tracePt t="89410" x="8936038" y="6245225"/>
          <p14:tracePt t="89411" x="8936038" y="6242050"/>
          <p14:tracePt t="89412" x="8932863" y="6234113"/>
          <p14:tracePt t="89413" x="8932863" y="6229350"/>
          <p14:tracePt t="89414" x="8928100" y="6221413"/>
          <p14:tracePt t="89415" x="8924925" y="6216650"/>
          <p14:tracePt t="89416" x="8924925" y="6208713"/>
          <p14:tracePt t="89417" x="8920163" y="6205538"/>
          <p14:tracePt t="89418" x="8916988" y="6205538"/>
          <p14:tracePt t="89419" x="8912225" y="6197600"/>
          <p14:tracePt t="89420" x="8912225" y="6192838"/>
          <p14:tracePt t="89421" x="8909050" y="6189663"/>
          <p14:tracePt t="89422" x="8901113" y="6181725"/>
          <p14:tracePt t="89423" x="8896350" y="6173788"/>
          <p14:tracePt t="89424" x="8893175" y="6169025"/>
          <p14:tracePt t="89425" x="8888413" y="6165850"/>
          <p14:tracePt t="89426" x="8880475" y="6157913"/>
          <p14:tracePt t="89427" x="8877300" y="6145213"/>
          <p14:tracePt t="89428" x="8869363" y="6142038"/>
          <p14:tracePt t="89429" x="8864600" y="6134100"/>
          <p14:tracePt t="89430" x="8861425" y="6129338"/>
          <p14:tracePt t="89431" x="8853488" y="6124575"/>
          <p14:tracePt t="89432" x="8840788" y="6116638"/>
          <p14:tracePt t="89433" x="8840788" y="6113463"/>
          <p14:tracePt t="89435" x="8820150" y="6100763"/>
          <p14:tracePt t="89436" x="8816975" y="6097588"/>
          <p14:tracePt t="89437" x="8809038" y="6089650"/>
          <p14:tracePt t="89438" x="8801100" y="6084888"/>
          <p14:tracePt t="89439" x="8796338" y="6076950"/>
          <p14:tracePt t="89440" x="8788400" y="6073775"/>
          <p14:tracePt t="89441" x="8785225" y="6069013"/>
          <p14:tracePt t="89442" x="8777288" y="6061075"/>
          <p14:tracePt t="89443" x="8769350" y="6057900"/>
          <p14:tracePt t="89444" x="8761413" y="6049963"/>
          <p14:tracePt t="89445" x="8756650" y="6049963"/>
          <p14:tracePt t="89446" x="8748713" y="6045200"/>
          <p14:tracePt t="89447" x="8736013" y="6037263"/>
          <p14:tracePt t="89449" x="8728075" y="6032500"/>
          <p14:tracePt t="89450" x="8724900" y="6029325"/>
          <p14:tracePt t="89452" x="8704263" y="6021388"/>
          <p14:tracePt t="89453" x="8701088" y="6016625"/>
          <p14:tracePt t="89455" x="8693150" y="6013450"/>
          <p14:tracePt t="89456" x="8688388" y="6008688"/>
          <p14:tracePt t="89457" x="8680450" y="6005513"/>
          <p14:tracePt t="89458" x="8677275" y="6005513"/>
          <p14:tracePt t="89459" x="8672513" y="6000750"/>
          <p14:tracePt t="89460" x="8667750" y="6000750"/>
          <p14:tracePt t="89461" x="8664575" y="6000750"/>
          <p14:tracePt t="89462" x="8659813" y="5997575"/>
          <p14:tracePt t="89463" x="8656638" y="5997575"/>
          <p14:tracePt t="89464" x="8651875" y="5992813"/>
          <p14:tracePt t="89465" x="8648700" y="5992813"/>
          <p14:tracePt t="89466" x="8643938" y="5989638"/>
          <p14:tracePt t="89468" x="8640763" y="5989638"/>
          <p14:tracePt t="89469" x="8636000" y="5984875"/>
          <p14:tracePt t="89471" x="8632825" y="5984875"/>
          <p14:tracePt t="89472" x="8628063" y="5981700"/>
          <p14:tracePt t="89475" x="8624888" y="5981700"/>
          <p14:tracePt t="89477" x="8620125" y="5981700"/>
          <p14:tracePt t="89480" x="8616950" y="5981700"/>
          <p14:tracePt t="89481" x="8616950" y="5976938"/>
          <p14:tracePt t="89484" x="8612188" y="5976938"/>
          <p14:tracePt t="89486" x="8609013" y="5976938"/>
          <p14:tracePt t="89492" x="8604250" y="5976938"/>
          <p14:tracePt t="89513" x="8601075" y="5976938"/>
          <p14:tracePt t="89518" x="8596313" y="5976938"/>
          <p14:tracePt t="89521" x="8593138" y="5976938"/>
          <p14:tracePt t="89523" x="8588375" y="5976938"/>
          <p14:tracePt t="89526" x="8585200" y="5976938"/>
          <p14:tracePt t="89528" x="8580438" y="5976938"/>
          <p14:tracePt t="89529" x="8575675" y="5976938"/>
          <p14:tracePt t="89532" x="8572500" y="5976938"/>
          <p14:tracePt t="89533" x="8567738" y="5976938"/>
          <p14:tracePt t="89535" x="8564563" y="5976938"/>
          <p14:tracePt t="89538" x="8559800" y="5976938"/>
          <p14:tracePt t="89540" x="8556625" y="5976938"/>
          <p14:tracePt t="89541" x="8551863" y="5976938"/>
          <p14:tracePt t="89542" x="8548688" y="5976938"/>
          <p14:tracePt t="89543" x="8543925" y="5976938"/>
          <p14:tracePt t="89545" x="8540750" y="5976938"/>
          <p14:tracePt t="89546" x="8535988" y="5976938"/>
          <p14:tracePt t="89547" x="8532813" y="5976938"/>
          <p14:tracePt t="89548" x="8528050" y="5976938"/>
          <p14:tracePt t="89549" x="8524875" y="5976938"/>
          <p14:tracePt t="89552" x="8520113" y="5976938"/>
          <p14:tracePt t="89553" x="8516938" y="5976938"/>
          <p14:tracePt t="89554" x="8512175" y="5976938"/>
          <p14:tracePt t="89555" x="8509000" y="5976938"/>
          <p14:tracePt t="89557" x="8504238" y="5976938"/>
          <p14:tracePt t="89558" x="8496300" y="5976938"/>
          <p14:tracePt t="89560" x="8493125" y="5976938"/>
          <p14:tracePt t="89561" x="8488363" y="5976938"/>
          <p14:tracePt t="89562" x="8483600" y="5976938"/>
          <p14:tracePt t="89563" x="8480425" y="5976938"/>
          <p14:tracePt t="89564" x="8475663" y="5976938"/>
          <p14:tracePt t="89566" x="8472488" y="5976938"/>
          <p14:tracePt t="89567" x="8467725" y="5976938"/>
          <p14:tracePt t="89568" x="8464550" y="5981700"/>
          <p14:tracePt t="89569" x="8459788" y="5981700"/>
          <p14:tracePt t="89571" x="8456613" y="5984875"/>
          <p14:tracePt t="89572" x="8451850" y="5984875"/>
          <p14:tracePt t="89573" x="8448675" y="5984875"/>
          <p14:tracePt t="89574" x="8448675" y="5989638"/>
          <p14:tracePt t="89575" x="8443913" y="5989638"/>
          <p14:tracePt t="89576" x="8440738" y="5989638"/>
          <p14:tracePt t="89578" x="8435975" y="5989638"/>
          <p14:tracePt t="89579" x="8435975" y="5992813"/>
          <p14:tracePt t="89580" x="8432800" y="5992813"/>
          <p14:tracePt t="89582" x="8428038" y="5997575"/>
          <p14:tracePt t="89584" x="8420100" y="5997575"/>
          <p14:tracePt t="89585" x="8420100" y="6000750"/>
          <p14:tracePt t="89586" x="8416925" y="6000750"/>
          <p14:tracePt t="89587" x="8416925" y="6005513"/>
          <p14:tracePt t="89589" x="8412163" y="6005513"/>
          <p14:tracePt t="89590" x="8408988" y="6005513"/>
          <p14:tracePt t="89591" x="8408988" y="6008688"/>
          <p14:tracePt t="89592" x="8404225" y="6008688"/>
          <p14:tracePt t="89594" x="8401050" y="6008688"/>
          <p14:tracePt t="89596" x="8396288" y="6008688"/>
          <p14:tracePt t="89597" x="8396288" y="6013450"/>
          <p14:tracePt t="89598" x="8396288" y="6016625"/>
          <p14:tracePt t="89601" x="8396288" y="6021388"/>
          <p14:tracePt t="89602" x="8391525" y="6024563"/>
          <p14:tracePt t="89604" x="8391525" y="6029325"/>
          <p14:tracePt t="89605" x="8388350" y="6029325"/>
          <p14:tracePt t="89607" x="8388350" y="6032500"/>
          <p14:tracePt t="89608" x="8383588" y="6032500"/>
          <p14:tracePt t="89609" x="8383588" y="6037263"/>
          <p14:tracePt t="89610" x="8383588" y="6042025"/>
          <p14:tracePt t="89612" x="8383588" y="6045200"/>
          <p14:tracePt t="89613" x="8383588" y="6049963"/>
          <p14:tracePt t="89616" x="8383588" y="6053138"/>
          <p14:tracePt t="89617" x="8383588" y="6057900"/>
          <p14:tracePt t="89619" x="8383588" y="6061075"/>
          <p14:tracePt t="89620" x="8383588" y="6065838"/>
          <p14:tracePt t="89621" x="8383588" y="6069013"/>
          <p14:tracePt t="89623" x="8383588" y="6073775"/>
          <p14:tracePt t="89624" x="8383588" y="6076950"/>
          <p14:tracePt t="89625" x="8383588" y="6081713"/>
          <p14:tracePt t="89626" x="8383588" y="6084888"/>
          <p14:tracePt t="89627" x="8383588" y="6089650"/>
          <p14:tracePt t="89629" x="8383588" y="6097588"/>
          <p14:tracePt t="89631" x="8388350" y="6097588"/>
          <p14:tracePt t="89632" x="8388350" y="6100763"/>
          <p14:tracePt t="89633" x="8391525" y="6105525"/>
          <p14:tracePt t="89634" x="8391525" y="6108700"/>
          <p14:tracePt t="89635" x="8396288" y="6113463"/>
          <p14:tracePt t="89636" x="8396288" y="6116638"/>
          <p14:tracePt t="89637" x="8396288" y="6121400"/>
          <p14:tracePt t="89638" x="8401050" y="6124575"/>
          <p14:tracePt t="89639" x="8404225" y="6134100"/>
          <p14:tracePt t="89640" x="8408988" y="6137275"/>
          <p14:tracePt t="89641" x="8412163" y="6142038"/>
          <p14:tracePt t="89642" x="8416925" y="6145213"/>
          <p14:tracePt t="89643" x="8420100" y="6145213"/>
          <p14:tracePt t="89644" x="8428038" y="6149975"/>
          <p14:tracePt t="89645" x="8432800" y="6153150"/>
          <p14:tracePt t="89646" x="8435975" y="6157913"/>
          <p14:tracePt t="89647" x="8440738" y="6161088"/>
          <p14:tracePt t="89648" x="8443913" y="6169025"/>
          <p14:tracePt t="89649" x="8451850" y="6173788"/>
          <p14:tracePt t="89651" x="8464550" y="6181725"/>
          <p14:tracePt t="89652" x="8472488" y="6184900"/>
          <p14:tracePt t="89653" x="8475663" y="6189663"/>
          <p14:tracePt t="89654" x="8483600" y="6192838"/>
          <p14:tracePt t="89655" x="8493125" y="6197600"/>
          <p14:tracePt t="89656" x="8501063" y="6200775"/>
          <p14:tracePt t="89657" x="8509000" y="6200775"/>
          <p14:tracePt t="89658" x="8520113" y="6205538"/>
          <p14:tracePt t="89659" x="8528050" y="6213475"/>
          <p14:tracePt t="89660" x="8535988" y="6216650"/>
          <p14:tracePt t="89661" x="8543925" y="6216650"/>
          <p14:tracePt t="89662" x="8551863" y="6221413"/>
          <p14:tracePt t="89663" x="8559800" y="6221413"/>
          <p14:tracePt t="89664" x="8567738" y="6226175"/>
          <p14:tracePt t="89665" x="8575675" y="6226175"/>
          <p14:tracePt t="89667" x="8588375" y="6229350"/>
          <p14:tracePt t="89667" x="8596313" y="6229350"/>
          <p14:tracePt t="89668" x="8604250" y="6229350"/>
          <p14:tracePt t="89671" x="8628063" y="6234113"/>
          <p14:tracePt t="89672" x="8636000" y="6234113"/>
          <p14:tracePt t="89673" x="8640763" y="6234113"/>
          <p14:tracePt t="89674" x="8648700" y="6234113"/>
          <p14:tracePt t="89675" x="8659813" y="6234113"/>
          <p14:tracePt t="89676" x="8664575" y="6234113"/>
          <p14:tracePt t="89677" x="8672513" y="6234113"/>
          <p14:tracePt t="89678" x="8680450" y="6234113"/>
          <p14:tracePt t="89679" x="8685213" y="6234113"/>
          <p14:tracePt t="89680" x="8693150" y="6234113"/>
          <p14:tracePt t="89681" x="8701088" y="6234113"/>
          <p14:tracePt t="89682" x="8709025" y="6234113"/>
          <p14:tracePt t="89683" x="8712200" y="6234113"/>
          <p14:tracePt t="89684" x="8720138" y="6229350"/>
          <p14:tracePt t="89685" x="8728075" y="6229350"/>
          <p14:tracePt t="89686" x="8736013" y="6226175"/>
          <p14:tracePt t="89687" x="8740775" y="6226175"/>
          <p14:tracePt t="89688" x="8748713" y="6221413"/>
          <p14:tracePt t="89689" x="8756650" y="6221413"/>
          <p14:tracePt t="89690" x="8769350" y="6216650"/>
          <p14:tracePt t="89692" x="8777288" y="6213475"/>
          <p14:tracePt t="89693" x="8788400" y="6208713"/>
          <p14:tracePt t="89694" x="8793163" y="6208713"/>
          <p14:tracePt t="89695" x="8801100" y="6205538"/>
          <p14:tracePt t="89696" x="8809038" y="6200775"/>
          <p14:tracePt t="89697" x="8812213" y="6200775"/>
          <p14:tracePt t="89698" x="8816975" y="6197600"/>
          <p14:tracePt t="89699" x="8824913" y="6197600"/>
          <p14:tracePt t="89700" x="8824913" y="6192838"/>
          <p14:tracePt t="89701" x="8828088" y="6189663"/>
          <p14:tracePt t="89702" x="8836025" y="6184900"/>
          <p14:tracePt t="89703" x="8840788" y="6181725"/>
          <p14:tracePt t="89704" x="8843963" y="6181725"/>
          <p14:tracePt t="89705" x="8848725" y="6176963"/>
          <p14:tracePt t="89706" x="8853488" y="6173788"/>
          <p14:tracePt t="89707" x="8856663" y="6169025"/>
          <p14:tracePt t="89708" x="8861425" y="6165850"/>
          <p14:tracePt t="89709" x="8864600" y="6165850"/>
          <p14:tracePt t="89710" x="8869363" y="6161088"/>
          <p14:tracePt t="89711" x="8869363" y="6157913"/>
          <p14:tracePt t="89713" x="8872538" y="6153150"/>
          <p14:tracePt t="89714" x="8872538" y="6149975"/>
          <p14:tracePt t="89716" x="8877300" y="6145213"/>
          <p14:tracePt t="89717" x="8877300" y="6142038"/>
          <p14:tracePt t="89718" x="8877300" y="6137275"/>
          <p14:tracePt t="89719" x="8880475" y="6134100"/>
          <p14:tracePt t="89720" x="8880475" y="6129338"/>
          <p14:tracePt t="89722" x="8880475" y="6124575"/>
          <p14:tracePt t="89723" x="8880475" y="6121400"/>
          <p14:tracePt t="89724" x="8880475" y="6116638"/>
          <p14:tracePt t="89725" x="8885238" y="6116638"/>
          <p14:tracePt t="89726" x="8885238" y="6113463"/>
          <p14:tracePt t="89728" x="8885238" y="6108700"/>
          <p14:tracePt t="89729" x="8885238" y="6105525"/>
          <p14:tracePt t="89730" x="8885238" y="6100763"/>
          <p14:tracePt t="89731" x="8885238" y="6097588"/>
          <p14:tracePt t="89732" x="8885238" y="6092825"/>
          <p14:tracePt t="89733" x="8885238" y="6089650"/>
          <p14:tracePt t="89735" x="8885238" y="6084888"/>
          <p14:tracePt t="89736" x="8885238" y="6081713"/>
          <p14:tracePt t="89737" x="8885238" y="6076950"/>
          <p14:tracePt t="89739" x="8880475" y="6073775"/>
          <p14:tracePt t="89740" x="8880475" y="6069013"/>
          <p14:tracePt t="89741" x="8877300" y="6069013"/>
          <p14:tracePt t="89742" x="8877300" y="6065838"/>
          <p14:tracePt t="89743" x="8877300" y="6061075"/>
          <p14:tracePt t="89745" x="8872538" y="6057900"/>
          <p14:tracePt t="89746" x="8869363" y="6053138"/>
          <p14:tracePt t="89747" x="8864600" y="6049963"/>
          <p14:tracePt t="89748" x="8864600" y="6045200"/>
          <p14:tracePt t="89749" x="8861425" y="6045200"/>
          <p14:tracePt t="89750" x="8853488" y="6042025"/>
          <p14:tracePt t="89751" x="8853488" y="6037263"/>
          <p14:tracePt t="89752" x="8843963" y="6032500"/>
          <p14:tracePt t="89753" x="8840788" y="6029325"/>
          <p14:tracePt t="89754" x="8836025" y="6029325"/>
          <p14:tracePt t="89755" x="8832850" y="6029325"/>
          <p14:tracePt t="89756" x="8824913" y="6024563"/>
          <p14:tracePt t="89757" x="8820150" y="6021388"/>
          <p14:tracePt t="89758" x="8816975" y="6016625"/>
          <p14:tracePt t="89759" x="8812213" y="6016625"/>
          <p14:tracePt t="89760" x="8804275" y="6013450"/>
          <p14:tracePt t="89762" x="8796338" y="6008688"/>
          <p14:tracePt t="89763" x="8793163" y="6008688"/>
          <p14:tracePt t="89764" x="8788400" y="6005513"/>
          <p14:tracePt t="89766" x="8772525" y="6000750"/>
          <p14:tracePt t="89768" x="8764588" y="5997575"/>
          <p14:tracePt t="89769" x="8761413" y="5992813"/>
          <p14:tracePt t="89770" x="8756650" y="5992813"/>
          <p14:tracePt t="89771" x="8748713" y="5989638"/>
          <p14:tracePt t="89772" x="8743950" y="5989638"/>
          <p14:tracePt t="89773" x="8740775" y="5989638"/>
          <p14:tracePt t="89774" x="8736013" y="5989638"/>
          <p14:tracePt t="89776" x="8728075" y="5984875"/>
          <p14:tracePt t="89779" x="8724900" y="5984875"/>
          <p14:tracePt t="89781" x="8720138" y="5984875"/>
          <p14:tracePt t="89782" x="8716963" y="5984875"/>
          <p14:tracePt t="89785" x="8712200" y="5984875"/>
          <p14:tracePt t="89788" x="8709025" y="5984875"/>
          <p14:tracePt t="89793" x="8704263" y="5984875"/>
          <p14:tracePt t="89799" x="8701088" y="5984875"/>
          <p14:tracePt t="89801" x="8696325" y="5984875"/>
          <p14:tracePt t="89804" x="8693150" y="5984875"/>
          <p14:tracePt t="89808" x="8688388" y="5984875"/>
          <p14:tracePt t="89810" x="8688388" y="5989638"/>
          <p14:tracePt t="89814" x="8685213" y="5989638"/>
          <p14:tracePt t="89816" x="8680450" y="5992813"/>
          <p14:tracePt t="89821" x="8677275" y="5992813"/>
          <p14:tracePt t="89822" x="8677275" y="5997575"/>
          <p14:tracePt t="89826" x="8677275" y="6000750"/>
          <p14:tracePt t="89829" x="8672513" y="6005513"/>
          <p14:tracePt t="89834" x="8672513" y="6008688"/>
          <p14:tracePt t="89835" x="8672513" y="6013450"/>
          <p14:tracePt t="89836" x="8672513" y="6016625"/>
          <p14:tracePt t="89838" x="8672513" y="6021388"/>
          <p14:tracePt t="89840" x="8672513" y="6029325"/>
          <p14:tracePt t="89842" x="8672513" y="6032500"/>
          <p14:tracePt t="89843" x="8672513" y="6037263"/>
          <p14:tracePt t="89844" x="8672513" y="6042025"/>
          <p14:tracePt t="89845" x="8672513" y="6045200"/>
          <p14:tracePt t="89847" x="8677275" y="6045200"/>
          <p14:tracePt t="89848" x="8677275" y="6049963"/>
          <p14:tracePt t="89850" x="8680450" y="6057900"/>
          <p14:tracePt t="89851" x="8685213" y="6061075"/>
          <p14:tracePt t="89852" x="8685213" y="6065838"/>
          <p14:tracePt t="89853" x="8685213" y="6069013"/>
          <p14:tracePt t="89854" x="8688388" y="6073775"/>
          <p14:tracePt t="89855" x="8693150" y="6076950"/>
          <p14:tracePt t="89856" x="8696325" y="6081713"/>
          <p14:tracePt t="89857" x="8704263" y="6084888"/>
          <p14:tracePt t="89858" x="8709025" y="6089650"/>
          <p14:tracePt t="89859" x="8712200" y="6089650"/>
          <p14:tracePt t="89860" x="8716963" y="6097588"/>
          <p14:tracePt t="89861" x="8724900" y="6105525"/>
          <p14:tracePt t="89862" x="8728075" y="6105525"/>
          <p14:tracePt t="89863" x="8736013" y="6108700"/>
          <p14:tracePt t="89864" x="8740775" y="6113463"/>
          <p14:tracePt t="89866" x="8748713" y="6116638"/>
          <p14:tracePt t="89866" x="8756650" y="6121400"/>
          <p14:tracePt t="89868" x="8777288" y="6137275"/>
          <p14:tracePt t="89869" x="8785225" y="6142038"/>
          <p14:tracePt t="89870" x="8793163" y="6145213"/>
          <p14:tracePt t="89871" x="8801100" y="6149975"/>
          <p14:tracePt t="89872" x="8816975" y="6153150"/>
          <p14:tracePt t="89873" x="8824913" y="6157913"/>
          <p14:tracePt t="89874" x="8832850" y="6161088"/>
          <p14:tracePt t="89875" x="8848725" y="6169025"/>
          <p14:tracePt t="89876" x="8856663" y="6173788"/>
          <p14:tracePt t="89877" x="8869363" y="6176963"/>
          <p14:tracePt t="89878" x="8877300" y="6176963"/>
          <p14:tracePt t="89879" x="8888413" y="6181725"/>
          <p14:tracePt t="89880" x="8896350" y="6184900"/>
          <p14:tracePt t="89881" x="8909050" y="6184900"/>
          <p14:tracePt t="89882" x="8924925" y="6189663"/>
          <p14:tracePt t="89883" x="8932863" y="6192838"/>
          <p14:tracePt t="89885" x="8953500" y="6200775"/>
          <p14:tracePt t="89887" x="8977313" y="6205538"/>
          <p14:tracePt t="89888" x="8993188" y="6208713"/>
          <p14:tracePt t="89889" x="9001125" y="6208713"/>
          <p14:tracePt t="89890" x="9009063" y="6213475"/>
          <p14:tracePt t="89891" x="9017000" y="6213475"/>
          <p14:tracePt t="89892" x="9028113" y="6213475"/>
          <p14:tracePt t="89893" x="9037638" y="6216650"/>
          <p14:tracePt t="89894" x="9053513" y="6216650"/>
          <p14:tracePt t="89895" x="9061450" y="6221413"/>
          <p14:tracePt t="89896" x="9069388" y="6221413"/>
          <p14:tracePt t="89897" x="9085263" y="6226175"/>
          <p14:tracePt t="89898" x="9093200" y="6226175"/>
          <p14:tracePt t="89899" x="9101138" y="6226175"/>
          <p14:tracePt t="89900" x="9109075" y="6229350"/>
          <p14:tracePt t="89903" x="9124950" y="6229350"/>
          <p14:tracePt t="89904" x="9140825" y="6234113"/>
          <p14:tracePt t="89905" x="9145588" y="6234113"/>
          <p14:tracePt t="89906" x="9153525" y="6234113"/>
          <p14:tracePt t="89907" x="9161463" y="6234113"/>
          <p14:tracePt t="89908" x="9169400" y="6234113"/>
          <p14:tracePt t="89909" x="9177338" y="6234113"/>
          <p14:tracePt t="89910" x="9180513" y="6237288"/>
          <p14:tracePt t="89911" x="9185275" y="6237288"/>
          <p14:tracePt t="89912" x="9193213" y="6237288"/>
          <p14:tracePt t="89913" x="9196388" y="6237288"/>
          <p14:tracePt t="89914" x="9204325" y="6237288"/>
          <p14:tracePt t="89916" x="9213850" y="6237288"/>
          <p14:tracePt t="89917" x="9217025" y="6237288"/>
          <p14:tracePt t="89919" x="9221788" y="6237288"/>
          <p14:tracePt t="89921" x="9224963" y="6237288"/>
          <p14:tracePt t="89924" x="9229725" y="6237288"/>
          <p14:tracePt t="90050" x="9224963" y="6237288"/>
          <p14:tracePt t="90058" x="9221788" y="6237288"/>
          <p14:tracePt t="90061" x="9221788" y="6234113"/>
          <p14:tracePt t="90095" x="9221788" y="6229350"/>
          <p14:tracePt t="94171" x="9221788" y="6226175"/>
          <p14:tracePt t="94182" x="9221788" y="6221413"/>
          <p14:tracePt t="94186" x="9221788" y="6216650"/>
          <p14:tracePt t="94189" x="9221788" y="6213475"/>
          <p14:tracePt t="94191" x="9217025" y="6205538"/>
          <p14:tracePt t="94192" x="9213850" y="6200775"/>
          <p14:tracePt t="94193" x="9209088" y="6197600"/>
          <p14:tracePt t="94194" x="9204325" y="6189663"/>
          <p14:tracePt t="94196" x="9196388" y="6176963"/>
          <p14:tracePt t="94197" x="9193213" y="6176963"/>
          <p14:tracePt t="94198" x="9188450" y="6169025"/>
          <p14:tracePt t="94200" x="9177338" y="6149975"/>
          <p14:tracePt t="94202" x="9164638" y="6142038"/>
          <p14:tracePt t="94203" x="9161463" y="6129338"/>
          <p14:tracePt t="94205" x="9145588" y="6113463"/>
          <p14:tracePt t="94206" x="9137650" y="6097588"/>
          <p14:tracePt t="94209" x="9120188" y="6084888"/>
          <p14:tracePt t="94210" x="9101138" y="6061075"/>
          <p14:tracePt t="94211" x="9093200" y="6053138"/>
          <p14:tracePt t="94212" x="9080500" y="6042025"/>
          <p14:tracePt t="94214" x="9069388" y="6024563"/>
          <p14:tracePt t="94215" x="9061450" y="6016625"/>
          <p14:tracePt t="94217" x="9040813" y="5997575"/>
          <p14:tracePt t="94218" x="9032875" y="5992813"/>
          <p14:tracePt t="94219" x="9028113" y="5984875"/>
          <p14:tracePt t="94220" x="9020175" y="5976938"/>
          <p14:tracePt t="94221" x="9009063" y="5965825"/>
          <p14:tracePt t="94222" x="9001125" y="5961063"/>
          <p14:tracePt t="94223" x="8993188" y="5953125"/>
          <p14:tracePt t="94224" x="8988425" y="5949950"/>
          <p14:tracePt t="94225" x="8980488" y="5940425"/>
          <p14:tracePt t="94226" x="8972550" y="5937250"/>
          <p14:tracePt t="94227" x="8969375" y="5929313"/>
          <p14:tracePt t="94228" x="8956675" y="5924550"/>
          <p14:tracePt t="94229" x="8953500" y="5913438"/>
          <p14:tracePt t="94230" x="8945563" y="5908675"/>
          <p14:tracePt t="94231" x="8940800" y="5900738"/>
          <p14:tracePt t="94232" x="8932863" y="5897563"/>
          <p14:tracePt t="94233" x="8928100" y="5889625"/>
          <p14:tracePt t="94234" x="8920163" y="5884863"/>
          <p14:tracePt t="94236" x="8909050" y="5873750"/>
          <p14:tracePt t="94237" x="8904288" y="5868988"/>
          <p14:tracePt t="94238" x="8896350" y="5865813"/>
          <p14:tracePt t="94239" x="8893175" y="5857875"/>
          <p14:tracePt t="94240" x="8888413" y="5853113"/>
          <p14:tracePt t="94241" x="8880475" y="5845175"/>
          <p14:tracePt t="94242" x="8877300" y="5840413"/>
          <p14:tracePt t="94243" x="8869363" y="5837238"/>
          <p14:tracePt t="94244" x="8864600" y="5832475"/>
          <p14:tracePt t="94245" x="8856663" y="5829300"/>
          <p14:tracePt t="94246" x="8853488" y="5821363"/>
          <p14:tracePt t="94247" x="8843963" y="5816600"/>
          <p14:tracePt t="94248" x="8840788" y="5813425"/>
          <p14:tracePt t="94249" x="8836025" y="5808663"/>
          <p14:tracePt t="94250" x="8832850" y="5805488"/>
          <p14:tracePt t="94251" x="8824913" y="5797550"/>
          <p14:tracePt t="94254" x="8809038" y="5784850"/>
          <p14:tracePt t="94255" x="8804275" y="5781675"/>
          <p14:tracePt t="94256" x="8796338" y="5776913"/>
          <p14:tracePt t="94257" x="8793163" y="5773738"/>
          <p14:tracePt t="94258" x="8788400" y="5768975"/>
          <p14:tracePt t="94259" x="8785225" y="5765800"/>
          <p14:tracePt t="94260" x="8777288" y="5761038"/>
          <p14:tracePt t="94261" x="8772525" y="5761038"/>
          <p14:tracePt t="94262" x="8769350" y="5753100"/>
          <p14:tracePt t="94263" x="8764588" y="5748338"/>
          <p14:tracePt t="94264" x="8764588" y="5745163"/>
          <p14:tracePt t="94265" x="8756650" y="5740400"/>
          <p14:tracePt t="94266" x="8748713" y="5732463"/>
          <p14:tracePt t="94267" x="8748713" y="5729288"/>
          <p14:tracePt t="94268" x="8743950" y="5724525"/>
          <p14:tracePt t="94269" x="8736013" y="5721350"/>
          <p14:tracePt t="94270" x="8732838" y="5716588"/>
          <p14:tracePt t="94271" x="8728075" y="5713413"/>
          <p14:tracePt t="94272" x="8720138" y="5708650"/>
          <p14:tracePt t="94273" x="8716963" y="5705475"/>
          <p14:tracePt t="94274" x="8712200" y="5700713"/>
          <p14:tracePt t="94275" x="8709025" y="5697538"/>
          <p14:tracePt t="94276" x="8701088" y="5692775"/>
          <p14:tracePt t="94277" x="8696325" y="5689600"/>
          <p14:tracePt t="94278" x="8693150" y="5684838"/>
          <p14:tracePt t="94279" x="8688388" y="5681663"/>
          <p14:tracePt t="94280" x="8685213" y="5681663"/>
          <p14:tracePt t="94281" x="8685213" y="5676900"/>
          <p14:tracePt t="94282" x="8672513" y="5668963"/>
          <p14:tracePt t="94283" x="8672513" y="5664200"/>
          <p14:tracePt t="94284" x="8672513" y="5661025"/>
          <p14:tracePt t="94286" x="8664575" y="5653088"/>
          <p14:tracePt t="94287" x="8659813" y="5648325"/>
          <p14:tracePt t="94288" x="8656638" y="5645150"/>
          <p14:tracePt t="94289" x="8656638" y="5640388"/>
          <p14:tracePt t="94290" x="8651875" y="5637213"/>
          <p14:tracePt t="94292" x="8648700" y="5629275"/>
          <p14:tracePt t="94294" x="8643938" y="5624513"/>
          <p14:tracePt t="94295" x="8643938" y="5621338"/>
          <p14:tracePt t="94297" x="8640763" y="5616575"/>
          <p14:tracePt t="94299" x="8640763" y="5613400"/>
          <p14:tracePt t="94300" x="8640763" y="5608638"/>
          <p14:tracePt t="94303" x="8636000" y="5605463"/>
          <p14:tracePt t="94304" x="8636000" y="5597525"/>
          <p14:tracePt t="94306" x="8636000" y="5592763"/>
          <p14:tracePt t="94307" x="8636000" y="5589588"/>
          <p14:tracePt t="94309" x="8636000" y="5584825"/>
          <p14:tracePt t="94310" x="8636000" y="5581650"/>
          <p14:tracePt t="94313" x="8636000" y="5576888"/>
          <p14:tracePt t="94314" x="8636000" y="5572125"/>
          <p14:tracePt t="94315" x="8636000" y="5568950"/>
          <p14:tracePt t="94316" x="8636000" y="5564188"/>
          <p14:tracePt t="94317" x="8640763" y="5561013"/>
          <p14:tracePt t="94318" x="8640763" y="5556250"/>
          <p14:tracePt t="94319" x="8640763" y="5553075"/>
          <p14:tracePt t="94320" x="8643938" y="5548313"/>
          <p14:tracePt t="94321" x="8648700" y="5545138"/>
          <p14:tracePt t="94322" x="8651875" y="5540375"/>
          <p14:tracePt t="94323" x="8656638" y="5540375"/>
          <p14:tracePt t="94324" x="8659813" y="5537200"/>
          <p14:tracePt t="94325" x="8659813" y="5532438"/>
          <p14:tracePt t="94326" x="8664575" y="5524500"/>
          <p14:tracePt t="94327" x="8667750" y="5521325"/>
          <p14:tracePt t="94328" x="8672513" y="5513388"/>
          <p14:tracePt t="94329" x="8672513" y="5508625"/>
          <p14:tracePt t="94330" x="8677275" y="5505450"/>
          <p14:tracePt t="94331" x="8680450" y="5497513"/>
          <p14:tracePt t="94332" x="8685213" y="5489575"/>
          <p14:tracePt t="94333" x="8688388" y="5484813"/>
          <p14:tracePt t="94334" x="8693150" y="5480050"/>
          <p14:tracePt t="94335" x="8696325" y="5476875"/>
          <p14:tracePt t="94336" x="8696325" y="5468938"/>
          <p14:tracePt t="94337" x="8701088" y="5464175"/>
          <p14:tracePt t="94338" x="8704263" y="5461000"/>
          <p14:tracePt t="94339" x="8709025" y="5453063"/>
          <p14:tracePt t="94340" x="8712200" y="5448300"/>
          <p14:tracePt t="94341" x="8712200" y="5445125"/>
          <p14:tracePt t="94342" x="8716963" y="5437188"/>
          <p14:tracePt t="94343" x="8720138" y="5437188"/>
          <p14:tracePt t="94344" x="8720138" y="5432425"/>
          <p14:tracePt t="94345" x="8720138" y="5429250"/>
          <p14:tracePt t="94346" x="8720138" y="5421313"/>
          <p14:tracePt t="94347" x="8720138" y="5416550"/>
          <p14:tracePt t="94348" x="8720138" y="5408613"/>
          <p14:tracePt t="94349" x="8720138" y="5405438"/>
          <p14:tracePt t="94350" x="8720138" y="5397500"/>
          <p14:tracePt t="94352" x="8720138" y="5384800"/>
          <p14:tracePt t="94354" x="8716963" y="5376863"/>
          <p14:tracePt t="94355" x="8712200" y="5368925"/>
          <p14:tracePt t="94356" x="8712200" y="5364163"/>
          <p14:tracePt t="94357" x="8709025" y="5364163"/>
          <p14:tracePt t="94358" x="8704263" y="5356225"/>
          <p14:tracePt t="94359" x="8701088" y="5353050"/>
          <p14:tracePt t="94362" x="8696325" y="5348288"/>
          <p14:tracePt t="94447" x="8693150" y="5348288"/>
          <p14:tracePt t="94449" x="8688388" y="5348288"/>
          <p14:tracePt t="94451" x="8685213" y="5348288"/>
          <p14:tracePt t="94455" x="8680450" y="5348288"/>
          <p14:tracePt t="94456" x="8677275" y="5348288"/>
          <p14:tracePt t="94458" x="8672513" y="5348288"/>
          <p14:tracePt t="94459" x="8667750" y="5348288"/>
          <p14:tracePt t="94460" x="8664575" y="5353050"/>
          <p14:tracePt t="94461" x="8659813" y="5353050"/>
          <p14:tracePt t="94462" x="8656638" y="5353050"/>
          <p14:tracePt t="94464" x="8648700" y="5353050"/>
          <p14:tracePt t="94465" x="8643938" y="5353050"/>
          <p14:tracePt t="94467" x="8640763" y="5353050"/>
          <p14:tracePt t="94468" x="8632825" y="5353050"/>
          <p14:tracePt t="94469" x="8628063" y="5353050"/>
          <p14:tracePt t="94470" x="8620125" y="5353050"/>
          <p14:tracePt t="94471" x="8616950" y="5353050"/>
          <p14:tracePt t="94472" x="8609013" y="5353050"/>
          <p14:tracePt t="94473" x="8601075" y="5353050"/>
          <p14:tracePt t="94474" x="8593138" y="5348288"/>
          <p14:tracePt t="94475" x="8588375" y="5348288"/>
          <p14:tracePt t="94476" x="8580438" y="5345113"/>
          <p14:tracePt t="94477" x="8572500" y="5340350"/>
          <p14:tracePt t="94478" x="8559800" y="5337175"/>
          <p14:tracePt t="94479" x="8551863" y="5332413"/>
          <p14:tracePt t="94480" x="8540750" y="5329238"/>
          <p14:tracePt t="94481" x="8535988" y="5324475"/>
          <p14:tracePt t="94483" x="8528050" y="5321300"/>
          <p14:tracePt t="94483" x="8524875" y="5313363"/>
          <p14:tracePt t="94484" x="8512175" y="5305425"/>
          <p14:tracePt t="94485" x="8509000" y="5292725"/>
          <p14:tracePt t="94486" x="8504238" y="5284788"/>
          <p14:tracePt t="94487" x="8501063" y="5276850"/>
          <p14:tracePt t="94488" x="8501063" y="5264150"/>
          <p14:tracePt t="94489" x="8496300" y="5253038"/>
          <p14:tracePt t="94490" x="8493125" y="5237163"/>
          <p14:tracePt t="94491" x="8493125" y="5221288"/>
          <p14:tracePt t="94492" x="8493125" y="5208588"/>
          <p14:tracePt t="94493" x="8493125" y="5192713"/>
          <p14:tracePt t="94494" x="8488363" y="5168900"/>
          <p14:tracePt t="94495" x="8488363" y="5153025"/>
          <p14:tracePt t="94496" x="8488363" y="5137150"/>
          <p14:tracePt t="94497" x="8488363" y="5116513"/>
          <p14:tracePt t="94498" x="8488363" y="5095875"/>
          <p14:tracePt t="94499" x="8488363" y="5072063"/>
          <p14:tracePt t="94500" x="8488363" y="5037138"/>
          <p14:tracePt t="94501" x="8488363" y="5008563"/>
          <p14:tracePt t="94502" x="8488363" y="4992688"/>
          <p14:tracePt t="94503" x="8488363" y="4964113"/>
          <p14:tracePt t="94504" x="8488363" y="4919663"/>
          <p14:tracePt t="94505" x="8488363" y="4895850"/>
          <p14:tracePt t="94506" x="8493125" y="4868863"/>
          <p14:tracePt t="94507" x="8493125" y="4840288"/>
          <p14:tracePt t="94509" x="8501063" y="4760913"/>
          <p14:tracePt t="94510" x="8504238" y="4732338"/>
          <p14:tracePt t="94511" x="8504238" y="4700588"/>
          <p14:tracePt t="94512" x="8509000" y="4672013"/>
          <p14:tracePt t="94513" x="8509000" y="4635500"/>
          <p14:tracePt t="94514" x="8516938" y="4608513"/>
          <p14:tracePt t="94515" x="8520113" y="4564063"/>
          <p14:tracePt t="94516" x="8528050" y="4527550"/>
          <p14:tracePt t="94517" x="8532813" y="4500563"/>
          <p14:tracePt t="94518" x="8532813" y="4475163"/>
          <p14:tracePt t="94519" x="8540750" y="4440238"/>
          <p14:tracePt t="94520" x="8543925" y="4395788"/>
          <p14:tracePt t="94521" x="8551863" y="4367213"/>
          <p14:tracePt t="94522" x="8551863" y="4332288"/>
          <p14:tracePt t="94523" x="8556625" y="4303713"/>
          <p14:tracePt t="94524" x="8564563" y="4275138"/>
          <p14:tracePt t="94526" x="8564563" y="4224338"/>
          <p14:tracePt t="94526" x="8567738" y="4195763"/>
          <p14:tracePt t="94527" x="8567738" y="4171950"/>
          <p14:tracePt t="94528" x="8572500" y="4135438"/>
          <p14:tracePt t="94529" x="8572500" y="4106863"/>
          <p14:tracePt t="94530" x="8572500" y="4064000"/>
          <p14:tracePt t="94531" x="8580438" y="4035425"/>
          <p14:tracePt t="94532" x="8580438" y="4003675"/>
          <p14:tracePt t="94533" x="8580438" y="3975100"/>
          <p14:tracePt t="94534" x="8585200" y="3948113"/>
          <p14:tracePt t="94536" x="8593138" y="3875088"/>
          <p14:tracePt t="94537" x="8593138" y="3851275"/>
          <p14:tracePt t="94538" x="8593138" y="3822700"/>
          <p14:tracePt t="94539" x="8593138" y="3798888"/>
          <p14:tracePt t="94540" x="8593138" y="3756025"/>
          <p14:tracePt t="94541" x="8596313" y="3727450"/>
          <p14:tracePt t="94542" x="8596313" y="3698875"/>
          <p14:tracePt t="94543" x="8596313" y="3683000"/>
          <p14:tracePt t="94544" x="8596313" y="3654425"/>
          <p14:tracePt t="94545" x="8596313" y="3619500"/>
          <p14:tracePt t="94546" x="8596313" y="3595688"/>
          <p14:tracePt t="94547" x="8596313" y="3575050"/>
          <p14:tracePt t="94548" x="8596313" y="3554413"/>
          <p14:tracePt t="94549" x="8596313" y="3538538"/>
          <p14:tracePt t="94550" x="8596313" y="3503613"/>
          <p14:tracePt t="94551" x="8596313" y="3487738"/>
          <p14:tracePt t="94552" x="8596313" y="3470275"/>
          <p14:tracePt t="94553" x="8596313" y="3451225"/>
          <p14:tracePt t="94554" x="8596313" y="3435350"/>
          <p14:tracePt t="94555" x="8596313" y="3414713"/>
          <p14:tracePt t="94556" x="8593138" y="3395663"/>
          <p14:tracePt t="94557" x="8593138" y="3378200"/>
          <p14:tracePt t="94558" x="8585200" y="3367088"/>
          <p14:tracePt t="94559" x="8585200" y="3351213"/>
          <p14:tracePt t="94560" x="8580438" y="3338513"/>
          <p14:tracePt t="94561" x="8580438" y="3327400"/>
          <p14:tracePt t="94562" x="8580438" y="3314700"/>
          <p14:tracePt t="94563" x="8575675" y="3306763"/>
          <p14:tracePt t="94564" x="8575675" y="3298825"/>
          <p14:tracePt t="94565" x="8575675" y="3290888"/>
          <p14:tracePt t="94566" x="8572500" y="3278188"/>
          <p14:tracePt t="94567" x="8572500" y="3275013"/>
          <p14:tracePt t="94568" x="8572500" y="3267075"/>
          <p14:tracePt t="94569" x="8572500" y="3262313"/>
          <p14:tracePt t="94570" x="8572500" y="3259138"/>
          <p14:tracePt t="94571" x="8572500" y="3254375"/>
          <p14:tracePt t="94572" x="8572500" y="3251200"/>
          <p14:tracePt t="94573" x="8572500" y="3246438"/>
          <p14:tracePt t="94574" x="8572500" y="3243263"/>
          <p14:tracePt t="94575" x="8567738" y="3243263"/>
          <p14:tracePt t="94576" x="8567738" y="3238500"/>
          <p14:tracePt t="94580" x="8567738" y="3235325"/>
          <p14:tracePt t="94584" x="8567738" y="3230563"/>
          <p14:tracePt t="94604" x="8567738" y="3227388"/>
          <p14:tracePt t="94619" x="8567738" y="3222625"/>
          <p14:tracePt t="94623" x="8564563" y="3222625"/>
          <p14:tracePt t="94624" x="8564563" y="3219450"/>
          <p14:tracePt t="94626" x="8564563" y="3214688"/>
          <p14:tracePt t="94628" x="8564563" y="3211513"/>
          <p14:tracePt t="94630" x="8559800" y="3211513"/>
          <p14:tracePt t="94631" x="8559800" y="3206750"/>
          <p14:tracePt t="94632" x="8559800" y="3203575"/>
          <p14:tracePt t="94634" x="8559800" y="3198813"/>
          <p14:tracePt t="94637" x="8556625" y="3194050"/>
          <p14:tracePt t="94639" x="8556625" y="3190875"/>
          <p14:tracePt t="94640" x="8556625" y="3186113"/>
          <p14:tracePt t="94641" x="8556625" y="3182938"/>
          <p14:tracePt t="94644" x="8551863" y="3178175"/>
          <p14:tracePt t="94645" x="8551863" y="3170238"/>
          <p14:tracePt t="94646" x="8551863" y="3167063"/>
          <p14:tracePt t="94647" x="8548688" y="3162300"/>
          <p14:tracePt t="94648" x="8548688" y="3159125"/>
          <p14:tracePt t="94651" x="8548688" y="3151188"/>
          <p14:tracePt t="94652" x="8548688" y="3146425"/>
          <p14:tracePt t="94653" x="8548688" y="3143250"/>
          <p14:tracePt t="94654" x="8548688" y="3138488"/>
          <p14:tracePt t="94655" x="8548688" y="3135313"/>
          <p14:tracePt t="94656" x="8543925" y="3127375"/>
          <p14:tracePt t="94657" x="8543925" y="3122613"/>
          <p14:tracePt t="94658" x="8543925" y="3119438"/>
          <p14:tracePt t="94659" x="8540750" y="3114675"/>
          <p14:tracePt t="94660" x="8540750" y="3106738"/>
          <p14:tracePt t="94661" x="8535988" y="3101975"/>
          <p14:tracePt t="94662" x="8535988" y="3098800"/>
          <p14:tracePt t="94663" x="8535988" y="3094038"/>
          <p14:tracePt t="94664" x="8532813" y="3090863"/>
          <p14:tracePt t="94665" x="8532813" y="3086100"/>
          <p14:tracePt t="94666" x="8528050" y="3078163"/>
          <p14:tracePt t="94668" x="8524875" y="3070225"/>
          <p14:tracePt t="94669" x="8524875" y="3067050"/>
          <p14:tracePt t="94670" x="8524875" y="3062288"/>
          <p14:tracePt t="94671" x="8524875" y="3054350"/>
          <p14:tracePt t="94672" x="8520113" y="3051175"/>
          <p14:tracePt t="94673" x="8520113" y="3046413"/>
          <p14:tracePt t="94674" x="8520113" y="3043238"/>
          <p14:tracePt t="94675" x="8516938" y="3043238"/>
          <p14:tracePt t="94676" x="8516938" y="3035300"/>
          <p14:tracePt t="94677" x="8512175" y="3030538"/>
          <p14:tracePt t="94679" x="8509000" y="3027363"/>
          <p14:tracePt t="94680" x="8509000" y="3022600"/>
          <p14:tracePt t="94682" x="8504238" y="3019425"/>
          <p14:tracePt t="94683" x="8504238" y="3014663"/>
          <p14:tracePt t="94685" x="8504238" y="3009900"/>
          <p14:tracePt t="94687" x="8501063" y="3009900"/>
          <p14:tracePt t="94689" x="8501063" y="3006725"/>
          <p14:tracePt t="94799" x="8501063" y="3001963"/>
          <p14:tracePt t="94873" x="8501063" y="3006725"/>
          <p14:tracePt t="94888" x="8501063" y="3009900"/>
          <p14:tracePt t="94891" x="8501063" y="3014663"/>
          <p14:tracePt t="94894" x="8501063" y="3019425"/>
          <p14:tracePt t="94895" x="8504238" y="3019425"/>
          <p14:tracePt t="94898" x="8509000" y="3022600"/>
          <p14:tracePt t="94901" x="8512175" y="3022600"/>
          <p14:tracePt t="94902" x="8512175" y="3027363"/>
          <p14:tracePt t="94903" x="8516938" y="3027363"/>
          <p14:tracePt t="94905" x="8520113" y="3030538"/>
          <p14:tracePt t="94909" x="8524875" y="3030538"/>
          <p14:tracePt t="94910" x="8528050" y="3030538"/>
          <p14:tracePt t="94911" x="8532813" y="3035300"/>
          <p14:tracePt t="94913" x="8535988" y="3035300"/>
          <p14:tracePt t="94914" x="8535988" y="3038475"/>
          <p14:tracePt t="94917" x="8543925" y="3038475"/>
          <p14:tracePt t="94919" x="8548688" y="3043238"/>
          <p14:tracePt t="94920" x="8551863" y="3043238"/>
          <p14:tracePt t="94922" x="8556625" y="3046413"/>
          <p14:tracePt t="94924" x="8559800" y="3046413"/>
          <p14:tracePt t="94926" x="8564563" y="3046413"/>
          <p14:tracePt t="94927" x="8567738" y="3046413"/>
          <p14:tracePt t="94930" x="8572500" y="3046413"/>
          <p14:tracePt t="94933" x="8575675" y="3051175"/>
          <p14:tracePt t="94943" x="8580438" y="3051175"/>
          <p14:tracePt t="94944" x="8580438" y="3054350"/>
          <p14:tracePt t="94947" x="8585200" y="3054350"/>
          <p14:tracePt t="94955" x="8588375" y="3054350"/>
          <p14:tracePt t="94959" x="8593138" y="3054350"/>
          <p14:tracePt t="94963" x="8596313" y="3054350"/>
          <p14:tracePt t="94971" x="8601075" y="3054350"/>
          <p14:tracePt t="94977" x="8604250" y="3059113"/>
          <p14:tracePt t="94981" x="8609013" y="3059113"/>
          <p14:tracePt t="94985" x="8612188" y="3059113"/>
          <p14:tracePt t="94987" x="8612188" y="3062288"/>
          <p14:tracePt t="94989" x="8616950" y="3062288"/>
          <p14:tracePt t="94996" x="8620125" y="3062288"/>
          <p14:tracePt t="94997" x="8624888" y="3062288"/>
          <p14:tracePt t="95000" x="8628063" y="3067050"/>
          <p14:tracePt t="95001" x="8632825" y="3067050"/>
          <p14:tracePt t="95003" x="8636000" y="3067050"/>
          <p14:tracePt t="95005" x="8640763" y="3067050"/>
          <p14:tracePt t="95007" x="8643938" y="3070225"/>
          <p14:tracePt t="95008" x="8648700" y="3070225"/>
          <p14:tracePt t="95010" x="8651875" y="3070225"/>
          <p14:tracePt t="95011" x="8656638" y="3074988"/>
          <p14:tracePt t="95013" x="8659813" y="3074988"/>
          <p14:tracePt t="95014" x="8664575" y="3074988"/>
          <p14:tracePt t="95015" x="8667750" y="3074988"/>
          <p14:tracePt t="95016" x="8672513" y="3074988"/>
          <p14:tracePt t="95017" x="8680450" y="3074988"/>
          <p14:tracePt t="95018" x="8685213" y="3074988"/>
          <p14:tracePt t="95019" x="8688388" y="3078163"/>
          <p14:tracePt t="95020" x="8696325" y="3078163"/>
          <p14:tracePt t="95021" x="8704263" y="3078163"/>
          <p14:tracePt t="95022" x="8709025" y="3082925"/>
          <p14:tracePt t="95023" x="8716963" y="3082925"/>
          <p14:tracePt t="95024" x="8720138" y="3086100"/>
          <p14:tracePt t="95025" x="8728075" y="3086100"/>
          <p14:tracePt t="95027" x="8748713" y="3090863"/>
          <p14:tracePt t="95028" x="8756650" y="3090863"/>
          <p14:tracePt t="95029" x="8764588" y="3094038"/>
          <p14:tracePt t="95030" x="8772525" y="3094038"/>
          <p14:tracePt t="95031" x="8785225" y="3098800"/>
          <p14:tracePt t="95032" x="8801100" y="3098800"/>
          <p14:tracePt t="95033" x="8816975" y="3106738"/>
          <p14:tracePt t="95035" x="8840788" y="3111500"/>
          <p14:tracePt t="95036" x="8856663" y="3114675"/>
          <p14:tracePt t="95037" x="8877300" y="3114675"/>
          <p14:tracePt t="95038" x="8893175" y="3119438"/>
          <p14:tracePt t="95039" x="8904288" y="3122613"/>
          <p14:tracePt t="95040" x="8924925" y="3122613"/>
          <p14:tracePt t="95041" x="8940800" y="3127375"/>
          <p14:tracePt t="95042" x="8964613" y="3135313"/>
          <p14:tracePt t="95043" x="8985250" y="3135313"/>
          <p14:tracePt t="95044" x="9004300" y="3138488"/>
          <p14:tracePt t="95045" x="9024938" y="3138488"/>
          <p14:tracePt t="95046" x="9048750" y="3143250"/>
          <p14:tracePt t="95047" x="9069388" y="3151188"/>
          <p14:tracePt t="95048" x="9096375" y="3154363"/>
          <p14:tracePt t="95050" x="9140825" y="3159125"/>
          <p14:tracePt t="95052" x="9204325" y="3170238"/>
          <p14:tracePt t="95054" x="9253538" y="3175000"/>
          <p14:tracePt t="95055" x="9280525" y="3182938"/>
          <p14:tracePt t="95056" x="9317038" y="3186113"/>
          <p14:tracePt t="95057" x="9348788" y="3186113"/>
          <p14:tracePt t="95058" x="9385300" y="3194050"/>
          <p14:tracePt t="95059" x="9413875" y="3198813"/>
          <p14:tracePt t="95060" x="9440863" y="3198813"/>
          <p14:tracePt t="95061" x="9469438" y="3206750"/>
          <p14:tracePt t="95062" x="9521825" y="3211513"/>
          <p14:tracePt t="95063" x="9556750" y="3219450"/>
          <p14:tracePt t="95064" x="9593263" y="3219450"/>
          <p14:tracePt t="95065" x="9629775" y="3222625"/>
          <p14:tracePt t="95066" x="9661525" y="3230563"/>
          <p14:tracePt t="95067" x="9713913" y="3230563"/>
          <p14:tracePt t="95068" x="9748838" y="3235325"/>
          <p14:tracePt t="95070" x="9821863" y="3243263"/>
          <p14:tracePt t="95071" x="9858375" y="3246438"/>
          <p14:tracePt t="95072" x="9909175" y="3246438"/>
          <p14:tracePt t="95073" x="9953625" y="3254375"/>
          <p14:tracePt t="95074" x="9985375" y="3254375"/>
          <p14:tracePt t="95075" x="10021888" y="3259138"/>
          <p14:tracePt t="95076" x="10058400" y="3259138"/>
          <p14:tracePt t="95077" x="10118725" y="3267075"/>
          <p14:tracePt t="95078" x="10153650" y="3267075"/>
          <p14:tracePt t="95079" x="10198100" y="3270250"/>
          <p14:tracePt t="95080" x="10234613" y="3270250"/>
          <p14:tracePt t="95081" x="10266363" y="3270250"/>
          <p14:tracePt t="95082" x="10326688" y="3278188"/>
          <p14:tracePt t="95083" x="10361613" y="3278188"/>
          <p14:tracePt t="95084" x="10398125" y="3286125"/>
          <p14:tracePt t="95086" x="10474325" y="3286125"/>
          <p14:tracePt t="95088" x="10561638" y="3286125"/>
          <p14:tracePt t="95089" x="10606088" y="3286125"/>
          <p14:tracePt t="95090" x="10637838" y="3286125"/>
          <p14:tracePt t="95091" x="10674350" y="3286125"/>
          <p14:tracePt t="95092" x="10726738" y="3286125"/>
          <p14:tracePt t="95093" x="10763250" y="3286125"/>
          <p14:tracePt t="95094" x="10795000" y="3286125"/>
          <p14:tracePt t="95095" x="10829925" y="3290888"/>
          <p14:tracePt t="95096" x="10866438" y="3290888"/>
          <p14:tracePt t="95097" x="10902950" y="3290888"/>
          <p14:tracePt t="95098" x="10942638" y="3290888"/>
          <p14:tracePt t="95100" x="11014075" y="3290888"/>
          <p14:tracePt t="95101" x="11050588" y="3298825"/>
          <p14:tracePt t="95102" x="11095038" y="3298825"/>
          <p14:tracePt t="95103" x="11118850" y="3298825"/>
          <p14:tracePt t="95104" x="11155363" y="3298825"/>
          <p14:tracePt t="95105" x="11179175" y="3298825"/>
          <p14:tracePt t="95106" x="11207750" y="3298825"/>
          <p14:tracePt t="95107" x="11234738" y="3298825"/>
          <p14:tracePt t="95108" x="11274425" y="3298825"/>
          <p14:tracePt t="95109" x="11310938" y="3298825"/>
          <p14:tracePt t="95110" x="11339513" y="3298825"/>
          <p14:tracePt t="95111" x="11363325" y="3298825"/>
          <p14:tracePt t="95112" x="11399838" y="3298825"/>
          <p14:tracePt t="95113" x="11426825" y="3298825"/>
          <p14:tracePt t="95114" x="11450638" y="3298825"/>
          <p14:tracePt t="95115" x="11479213" y="3298825"/>
          <p14:tracePt t="95116" x="11503025" y="3298825"/>
          <p14:tracePt t="95117" x="11523663" y="3298825"/>
          <p14:tracePt t="95119" x="11583988" y="3298825"/>
          <p14:tracePt t="95120" x="11603038" y="3298825"/>
          <p14:tracePt t="95121" x="11626850" y="3298825"/>
          <p14:tracePt t="95122" x="11655425" y="3298825"/>
          <p14:tracePt t="95123" x="11679238" y="3298825"/>
          <p14:tracePt t="95124" x="11699875" y="3298825"/>
          <p14:tracePt t="95125" x="11723688" y="3298825"/>
          <p14:tracePt t="95126" x="11744325" y="3298825"/>
          <p14:tracePt t="95127" x="11763375" y="3298825"/>
          <p14:tracePt t="95128" x="11795125" y="3298825"/>
          <p14:tracePt t="95129" x="11815763" y="3303588"/>
          <p14:tracePt t="95130" x="11836400" y="3303588"/>
          <p14:tracePt t="95131" x="11855450" y="3303588"/>
          <p14:tracePt t="95132" x="11879263" y="3303588"/>
          <p14:tracePt t="95133" x="11891963" y="3303588"/>
          <p14:tracePt t="95135" x="11931650" y="3306763"/>
          <p14:tracePt t="95136" x="11944350" y="3306763"/>
          <p14:tracePt t="95137" x="11963400" y="3306763"/>
          <p14:tracePt t="95138" x="11991975" y="3306763"/>
          <p14:tracePt t="95139" x="12007850" y="3306763"/>
          <p14:tracePt t="95140" x="12023725" y="3306763"/>
          <p14:tracePt t="95141" x="12044363" y="3311525"/>
          <p14:tracePt t="95142" x="12060238" y="3311525"/>
          <p14:tracePt t="95143" x="12079288" y="3311525"/>
          <p14:tracePt t="95144" x="12095163" y="3311525"/>
          <p14:tracePt t="95145" x="12107863" y="3311525"/>
          <p14:tracePt t="95146" x="12123738" y="3311525"/>
          <p14:tracePt t="95147" x="12136438" y="3314700"/>
          <p14:tracePt t="95148" x="12155488" y="3314700"/>
          <p14:tracePt t="95150" x="12176125" y="3314700"/>
        </p14:tracePtLst>
      </p14:laserTraceLst>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bdélník: se zakulacenými rohy 25">
            <a:extLst>
              <a:ext uri="{FF2B5EF4-FFF2-40B4-BE49-F238E27FC236}">
                <a16:creationId xmlns:a16="http://schemas.microsoft.com/office/drawing/2014/main" id="{D35358D5-DA10-449A-A7C0-F6CA56B9E79E}"/>
              </a:ext>
            </a:extLst>
          </p:cNvPr>
          <p:cNvSpPr/>
          <p:nvPr/>
        </p:nvSpPr>
        <p:spPr>
          <a:xfrm>
            <a:off x="7118260" y="3243801"/>
            <a:ext cx="4752304" cy="1674253"/>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 name="Zástupný symbol pro číslo snímku 2">
            <a:extLst>
              <a:ext uri="{FF2B5EF4-FFF2-40B4-BE49-F238E27FC236}">
                <a16:creationId xmlns:a16="http://schemas.microsoft.com/office/drawing/2014/main" id="{E87DDF46-B07A-4183-A6C4-5CFC46E95960}"/>
              </a:ext>
            </a:extLst>
          </p:cNvPr>
          <p:cNvSpPr>
            <a:spLocks noGrp="1"/>
          </p:cNvSpPr>
          <p:nvPr>
            <p:ph type="sldNum" sz="quarter" idx="12"/>
          </p:nvPr>
        </p:nvSpPr>
        <p:spPr/>
        <p:txBody>
          <a:bodyPr/>
          <a:lstStyle/>
          <a:p>
            <a:fld id="{87170177-53BE-4EA4-8CC9-5D64EAB74717}" type="slidenum">
              <a:rPr lang="cs-CZ" sz="900" smtClean="0"/>
              <a:t>6</a:t>
            </a:fld>
            <a:endParaRPr lang="cs-CZ" sz="900" dirty="0"/>
          </a:p>
        </p:txBody>
      </p:sp>
      <p:sp>
        <p:nvSpPr>
          <p:cNvPr id="4" name="Rectangle 94">
            <a:extLst>
              <a:ext uri="{FF2B5EF4-FFF2-40B4-BE49-F238E27FC236}">
                <a16:creationId xmlns:a16="http://schemas.microsoft.com/office/drawing/2014/main" id="{32C0964D-8390-4CE7-85AE-760E74072C20}"/>
              </a:ext>
            </a:extLst>
          </p:cNvPr>
          <p:cNvSpPr/>
          <p:nvPr/>
        </p:nvSpPr>
        <p:spPr>
          <a:xfrm>
            <a:off x="0" y="-17702"/>
            <a:ext cx="12192001" cy="10800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82">
            <a:extLst>
              <a:ext uri="{FF2B5EF4-FFF2-40B4-BE49-F238E27FC236}">
                <a16:creationId xmlns:a16="http://schemas.microsoft.com/office/drawing/2014/main" id="{D0E75087-D62C-461B-B63C-582B2042EDFC}"/>
              </a:ext>
            </a:extLst>
          </p:cNvPr>
          <p:cNvSpPr txBox="1"/>
          <p:nvPr/>
        </p:nvSpPr>
        <p:spPr>
          <a:xfrm>
            <a:off x="304263" y="200887"/>
            <a:ext cx="11583472" cy="584775"/>
          </a:xfrm>
          <a:prstGeom prst="rect">
            <a:avLst/>
          </a:prstGeom>
          <a:noFill/>
        </p:spPr>
        <p:txBody>
          <a:bodyPr wrap="square" rtlCol="0">
            <a:spAutoFit/>
          </a:bodyPr>
          <a:lstStyle/>
          <a:p>
            <a:r>
              <a:rPr lang="cs-CZ" sz="3200" b="1" dirty="0" err="1">
                <a:solidFill>
                  <a:schemeClr val="bg2"/>
                </a:solidFill>
                <a:latin typeface="+mj-lt"/>
              </a:rPr>
              <a:t>Introduction</a:t>
            </a:r>
            <a:r>
              <a:rPr lang="cs-CZ" sz="3200" b="1" dirty="0">
                <a:solidFill>
                  <a:schemeClr val="bg2"/>
                </a:solidFill>
                <a:latin typeface="+mj-lt"/>
              </a:rPr>
              <a:t> – </a:t>
            </a:r>
            <a:r>
              <a:rPr lang="en-GB" sz="3200" b="1" dirty="0">
                <a:solidFill>
                  <a:schemeClr val="bg2"/>
                </a:solidFill>
                <a:latin typeface="+mj-lt"/>
              </a:rPr>
              <a:t>Auto AEC-Q200 Requirements &amp; Availability</a:t>
            </a:r>
            <a:endParaRPr lang="en-US" sz="3200" dirty="0">
              <a:solidFill>
                <a:schemeClr val="tx2"/>
              </a:solidFill>
            </a:endParaRPr>
          </a:p>
        </p:txBody>
      </p:sp>
      <p:sp>
        <p:nvSpPr>
          <p:cNvPr id="14" name="TextovéPole 13">
            <a:extLst>
              <a:ext uri="{FF2B5EF4-FFF2-40B4-BE49-F238E27FC236}">
                <a16:creationId xmlns:a16="http://schemas.microsoft.com/office/drawing/2014/main" id="{EA16CCD9-5FFB-498F-8EDC-2ACD33BAC2CF}"/>
              </a:ext>
            </a:extLst>
          </p:cNvPr>
          <p:cNvSpPr txBox="1"/>
          <p:nvPr/>
        </p:nvSpPr>
        <p:spPr>
          <a:xfrm>
            <a:off x="145423" y="1200824"/>
            <a:ext cx="6972837" cy="3323987"/>
          </a:xfrm>
          <a:prstGeom prst="rect">
            <a:avLst/>
          </a:prstGeom>
          <a:noFill/>
        </p:spPr>
        <p:txBody>
          <a:bodyPr wrap="square">
            <a:spAutoFit/>
          </a:bodyPr>
          <a:lstStyle/>
          <a:p>
            <a:r>
              <a:rPr lang="en-US" sz="1400" b="1" dirty="0"/>
              <a:t>AEC-Q200 Revision D minimum requirements for qualification</a:t>
            </a:r>
            <a:r>
              <a:rPr lang="en-US" sz="1400" dirty="0"/>
              <a:t> of passive electrical devices.</a:t>
            </a:r>
          </a:p>
          <a:p>
            <a:endParaRPr lang="en-US" sz="1400" dirty="0"/>
          </a:p>
          <a:p>
            <a:r>
              <a:rPr lang="en-US" sz="1400" dirty="0"/>
              <a:t>In base document the general requirements includes:</a:t>
            </a:r>
          </a:p>
          <a:p>
            <a:r>
              <a:rPr lang="en-US" sz="1400" dirty="0"/>
              <a:t>•	Qualification and Requalification conditions</a:t>
            </a:r>
          </a:p>
          <a:p>
            <a:r>
              <a:rPr lang="en-US" sz="1400" dirty="0"/>
              <a:t>•	Qualification Tests</a:t>
            </a:r>
          </a:p>
          <a:p>
            <a:r>
              <a:rPr lang="en-US" sz="1400" dirty="0"/>
              <a:t>•	Qualification Sample Size Requirements</a:t>
            </a:r>
          </a:p>
          <a:p>
            <a:endParaRPr lang="en-US" sz="1400" dirty="0"/>
          </a:p>
          <a:p>
            <a:r>
              <a:rPr lang="en-US" sz="1400" dirty="0"/>
              <a:t>Specific to tantalum and ceramic capacitors: </a:t>
            </a:r>
          </a:p>
          <a:p>
            <a:r>
              <a:rPr lang="en-US" sz="1400" dirty="0"/>
              <a:t>•	Methods Referenced Tantalum and Ceramic Capacitors </a:t>
            </a:r>
          </a:p>
          <a:p>
            <a:r>
              <a:rPr lang="en-US" sz="1400" dirty="0"/>
              <a:t>•	Ceramic/Tantalum Process Change Qualification guidelines for the Selected Test</a:t>
            </a:r>
          </a:p>
          <a:p>
            <a:r>
              <a:rPr lang="en-US" sz="1400" dirty="0"/>
              <a:t>•	Acceptance Criteria for Ceramic COG, X7R and X5R SMD Capacitors</a:t>
            </a:r>
          </a:p>
          <a:p>
            <a:r>
              <a:rPr lang="en-US" sz="1400" dirty="0"/>
              <a:t>•	Acceptance Criteria for Tantalum and Niobium Oxide Capacitors</a:t>
            </a:r>
          </a:p>
          <a:p>
            <a:endParaRPr lang="en-US" sz="1400" dirty="0"/>
          </a:p>
          <a:p>
            <a:r>
              <a:rPr lang="en-US" sz="1400" dirty="0"/>
              <a:t>Note: </a:t>
            </a:r>
            <a:r>
              <a:rPr lang="en-US" sz="1400" b="1" dirty="0"/>
              <a:t>AEC-Q200 define qualification test requirements only. </a:t>
            </a:r>
            <a:r>
              <a:rPr lang="en-US" sz="1400" dirty="0"/>
              <a:t>Quality system documents such as PPAP/APQP are now part of the latest IATF 16949 quality system certification.</a:t>
            </a:r>
          </a:p>
        </p:txBody>
      </p:sp>
      <p:sp>
        <p:nvSpPr>
          <p:cNvPr id="18" name="TextovéPole 17">
            <a:extLst>
              <a:ext uri="{FF2B5EF4-FFF2-40B4-BE49-F238E27FC236}">
                <a16:creationId xmlns:a16="http://schemas.microsoft.com/office/drawing/2014/main" id="{83787FCC-4173-4D71-9EBA-A7370C6840EC}"/>
              </a:ext>
            </a:extLst>
          </p:cNvPr>
          <p:cNvSpPr txBox="1"/>
          <p:nvPr/>
        </p:nvSpPr>
        <p:spPr>
          <a:xfrm>
            <a:off x="7062452" y="1200824"/>
            <a:ext cx="5212724" cy="1815882"/>
          </a:xfrm>
          <a:prstGeom prst="rect">
            <a:avLst/>
          </a:prstGeom>
          <a:noFill/>
        </p:spPr>
        <p:txBody>
          <a:bodyPr wrap="square">
            <a:spAutoFit/>
          </a:bodyPr>
          <a:lstStyle/>
          <a:p>
            <a:r>
              <a:rPr lang="en-US" sz="1400" dirty="0"/>
              <a:t>In the event of conflict in the AEC-Q200 requirements, the product can be supplied following order of precedence applies: </a:t>
            </a:r>
          </a:p>
          <a:p>
            <a:endParaRPr lang="en-US" sz="1400" dirty="0"/>
          </a:p>
          <a:p>
            <a:r>
              <a:rPr lang="en-US" sz="1400" dirty="0"/>
              <a:t>1. The purchase order </a:t>
            </a:r>
          </a:p>
          <a:p>
            <a:r>
              <a:rPr lang="en-US" sz="1400" dirty="0"/>
              <a:t>2. The user’s individual device specification </a:t>
            </a:r>
          </a:p>
          <a:p>
            <a:r>
              <a:rPr lang="en-US" sz="1400" dirty="0"/>
              <a:t>3. The AEC-Q200 document </a:t>
            </a:r>
          </a:p>
          <a:p>
            <a:r>
              <a:rPr lang="en-US" sz="1400" dirty="0"/>
              <a:t>4. The AEC-Q200 family other specific documents </a:t>
            </a:r>
          </a:p>
          <a:p>
            <a:r>
              <a:rPr lang="en-US" sz="1400" dirty="0"/>
              <a:t>5. The supplier's data sheet </a:t>
            </a:r>
          </a:p>
        </p:txBody>
      </p:sp>
      <p:sp>
        <p:nvSpPr>
          <p:cNvPr id="21" name="TextovéPole 20">
            <a:extLst>
              <a:ext uri="{FF2B5EF4-FFF2-40B4-BE49-F238E27FC236}">
                <a16:creationId xmlns:a16="http://schemas.microsoft.com/office/drawing/2014/main" id="{5BEBA8C6-0623-4BA2-875A-3F10E86CF7E2}"/>
              </a:ext>
            </a:extLst>
          </p:cNvPr>
          <p:cNvSpPr txBox="1"/>
          <p:nvPr/>
        </p:nvSpPr>
        <p:spPr>
          <a:xfrm>
            <a:off x="307483" y="5133082"/>
            <a:ext cx="10874062" cy="954107"/>
          </a:xfrm>
          <a:prstGeom prst="rect">
            <a:avLst/>
          </a:prstGeom>
          <a:noFill/>
        </p:spPr>
        <p:txBody>
          <a:bodyPr wrap="square">
            <a:spAutoFit/>
          </a:bodyPr>
          <a:lstStyle/>
          <a:p>
            <a:r>
              <a:rPr lang="en-US" sz="1400" dirty="0"/>
              <a:t>The data, test method, calculations, and internal criteria need not be demonstrated or performed on the qualification of every new device but should be available to the user </a:t>
            </a:r>
            <a:r>
              <a:rPr lang="en-US" sz="1400" b="1" dirty="0"/>
              <a:t>upon request</a:t>
            </a:r>
            <a:r>
              <a:rPr lang="en-US" sz="1400" dirty="0"/>
              <a:t>. </a:t>
            </a:r>
          </a:p>
          <a:p>
            <a:endParaRPr lang="en-US" sz="1400" dirty="0"/>
          </a:p>
          <a:p>
            <a:r>
              <a:rPr lang="en-US" sz="1400" b="1" dirty="0"/>
              <a:t>Note:  This information may be subject to a confidentiality agreement, since it contains proprietary information of the supplier.</a:t>
            </a:r>
          </a:p>
        </p:txBody>
      </p:sp>
      <p:sp>
        <p:nvSpPr>
          <p:cNvPr id="25" name="TextovéPole 24">
            <a:extLst>
              <a:ext uri="{FF2B5EF4-FFF2-40B4-BE49-F238E27FC236}">
                <a16:creationId xmlns:a16="http://schemas.microsoft.com/office/drawing/2014/main" id="{D654804A-02DA-46D2-8B84-C9558AB61FAC}"/>
              </a:ext>
            </a:extLst>
          </p:cNvPr>
          <p:cNvSpPr txBox="1"/>
          <p:nvPr/>
        </p:nvSpPr>
        <p:spPr>
          <a:xfrm>
            <a:off x="7216460" y="3342264"/>
            <a:ext cx="4654104" cy="1477328"/>
          </a:xfrm>
          <a:prstGeom prst="rect">
            <a:avLst/>
          </a:prstGeom>
          <a:noFill/>
        </p:spPr>
        <p:txBody>
          <a:bodyPr wrap="square">
            <a:spAutoFit/>
          </a:bodyPr>
          <a:lstStyle/>
          <a:p>
            <a:r>
              <a:rPr lang="en-US" dirty="0">
                <a:solidFill>
                  <a:schemeClr val="bg1">
                    <a:lumMod val="95000"/>
                  </a:schemeClr>
                </a:solidFill>
              </a:rPr>
              <a:t>AEC-Q200 data-package is not necessary publicly available document. It shall be available upon request; however, manufacturer has the right to request confidentiality agreement prior providing these documents. </a:t>
            </a:r>
            <a:endParaRPr lang="cs-CZ" dirty="0">
              <a:solidFill>
                <a:schemeClr val="bg1">
                  <a:lumMod val="95000"/>
                </a:schemeClr>
              </a:solidFill>
            </a:endParaRPr>
          </a:p>
        </p:txBody>
      </p:sp>
      <p:sp>
        <p:nvSpPr>
          <p:cNvPr id="11" name="TextovéPole 10">
            <a:extLst>
              <a:ext uri="{FF2B5EF4-FFF2-40B4-BE49-F238E27FC236}">
                <a16:creationId xmlns:a16="http://schemas.microsoft.com/office/drawing/2014/main" id="{9E7510DD-049D-4B6E-824D-348FD49FD960}"/>
              </a:ext>
            </a:extLst>
          </p:cNvPr>
          <p:cNvSpPr txBox="1"/>
          <p:nvPr/>
        </p:nvSpPr>
        <p:spPr>
          <a:xfrm>
            <a:off x="10568095" y="2862402"/>
            <a:ext cx="1353447" cy="369332"/>
          </a:xfrm>
          <a:prstGeom prst="rect">
            <a:avLst/>
          </a:prstGeom>
          <a:noFill/>
        </p:spPr>
        <p:txBody>
          <a:bodyPr wrap="none" rtlCol="0">
            <a:spAutoFit/>
          </a:bodyPr>
          <a:lstStyle/>
          <a:p>
            <a:r>
              <a:rPr lang="en-GB" b="1" dirty="0"/>
              <a:t>Observation</a:t>
            </a:r>
            <a:endParaRPr lang="cs-CZ" b="1" dirty="0"/>
          </a:p>
        </p:txBody>
      </p:sp>
      <p:sp>
        <p:nvSpPr>
          <p:cNvPr id="13" name="Zástupný symbol pro zápatí 2">
            <a:extLst>
              <a:ext uri="{FF2B5EF4-FFF2-40B4-BE49-F238E27FC236}">
                <a16:creationId xmlns:a16="http://schemas.microsoft.com/office/drawing/2014/main" id="{915EABF3-A976-459B-BB75-B9F4C8F74D62}"/>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2" name="Zvuk 1">
            <a:hlinkClick r:id="" action="ppaction://media"/>
            <a:extLst>
              <a:ext uri="{FF2B5EF4-FFF2-40B4-BE49-F238E27FC236}">
                <a16:creationId xmlns:a16="http://schemas.microsoft.com/office/drawing/2014/main" id="{C674E917-382B-4CDA-BD85-9A0086106E46}"/>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3406053050"/>
      </p:ext>
    </p:extLst>
  </p:cSld>
  <p:clrMapOvr>
    <a:masterClrMapping/>
  </p:clrMapOvr>
  <mc:AlternateContent xmlns:mc="http://schemas.openxmlformats.org/markup-compatibility/2006">
    <mc:Choice xmlns:p14="http://schemas.microsoft.com/office/powerpoint/2010/main" Requires="p14">
      <p:transition spd="slow" p14:dur="2000" advTm="61658"/>
    </mc:Choice>
    <mc:Fallback>
      <p:transition spd="slow" advTm="6165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extLst>
    <p:ext uri="{3A86A75C-4F4B-4683-9AE1-C65F6400EC91}">
      <p14:laserTraceLst xmlns:p14="http://schemas.microsoft.com/office/powerpoint/2010/main">
        <p14:tracePtLst>
          <p14:tracePt t="11142" x="12155488" y="2838450"/>
          <p14:tracePt t="11143" x="12128500" y="2833688"/>
          <p14:tracePt t="11145" x="12031663" y="2822575"/>
          <p14:tracePt t="11146" x="12003088" y="2822575"/>
          <p14:tracePt t="11148" x="11976100" y="2814638"/>
          <p14:tracePt t="11149" x="11947525" y="2809875"/>
          <p14:tracePt t="11149" x="11903075" y="2801938"/>
          <p14:tracePt t="11150" x="11868150" y="2801938"/>
          <p14:tracePt t="11151" x="11839575" y="2798763"/>
          <p14:tracePt t="11152" x="11803063" y="2794000"/>
          <p14:tracePt t="11153" x="11771313" y="2794000"/>
          <p14:tracePt t="11154" x="11734800" y="2786063"/>
          <p14:tracePt t="11155" x="11691938" y="2778125"/>
          <p14:tracePt t="11157" x="11655425" y="2778125"/>
          <p14:tracePt t="11157" x="11618913" y="2774950"/>
          <p14:tracePt t="11159" x="11523663" y="2762250"/>
          <p14:tracePt t="11160" x="11487150" y="2754313"/>
          <p14:tracePt t="11161" x="11442700" y="2754313"/>
          <p14:tracePt t="11162" x="11407775" y="2751138"/>
          <p14:tracePt t="11163" x="11363325" y="2741613"/>
          <p14:tracePt t="11164" x="11318875" y="2738438"/>
          <p14:tracePt t="11165" x="11258550" y="2730500"/>
          <p14:tracePt t="11166" x="11215688" y="2722563"/>
          <p14:tracePt t="11167" x="11171238" y="2722563"/>
          <p14:tracePt t="11168" x="11126788" y="2717800"/>
          <p14:tracePt t="11169" x="11087100" y="2717800"/>
          <p14:tracePt t="11170" x="11026775" y="2709863"/>
          <p14:tracePt t="11171" x="10982325" y="2706688"/>
          <p14:tracePt t="11172" x="10931525" y="2706688"/>
          <p14:tracePt t="11174" x="10887075" y="2706688"/>
          <p14:tracePt t="11175" x="10842625" y="2698750"/>
          <p14:tracePt t="11176" x="10729913" y="2698750"/>
          <p14:tracePt t="11177" x="10687050" y="2698750"/>
          <p14:tracePt t="11179" x="10642600" y="2690813"/>
          <p14:tracePt t="11179" x="10602913" y="2690813"/>
          <p14:tracePt t="11180" x="10534650" y="2690813"/>
          <p14:tracePt t="11181" x="10490200" y="2690813"/>
          <p14:tracePt t="11182" x="10445750" y="2690813"/>
          <p14:tracePt t="11183" x="10402888" y="2690813"/>
          <p14:tracePt t="11184" x="10361613" y="2690813"/>
          <p14:tracePt t="11185" x="10293350" y="2690813"/>
          <p14:tracePt t="11186" x="10250488" y="2690813"/>
          <p14:tracePt t="11187" x="10206038" y="2690813"/>
          <p14:tracePt t="11188" x="10161588" y="2690813"/>
          <p14:tracePt t="11190" x="10121900" y="2690813"/>
          <p14:tracePt t="11191" x="10017125" y="2693988"/>
          <p14:tracePt t="11193" x="9974263" y="2701925"/>
          <p14:tracePt t="11194" x="9937750" y="2701925"/>
          <p14:tracePt t="11194" x="9893300" y="2706688"/>
          <p14:tracePt t="11196" x="9825038" y="2714625"/>
          <p14:tracePt t="11197" x="9782175" y="2722563"/>
          <p14:tracePt t="11197" x="9737725" y="2725738"/>
          <p14:tracePt t="11198" x="9693275" y="2733675"/>
          <p14:tracePt t="11199" x="9648825" y="2733675"/>
          <p14:tracePt t="11200" x="9590088" y="2738438"/>
          <p14:tracePt t="11201" x="9545638" y="2746375"/>
          <p14:tracePt t="11202" x="9501188" y="2754313"/>
          <p14:tracePt t="11203" x="9456738" y="2759075"/>
          <p14:tracePt t="11204" x="9413875" y="2759075"/>
          <p14:tracePt t="11205" x="9353550" y="2767013"/>
          <p14:tracePt t="11207" x="9309100" y="2767013"/>
          <p14:tracePt t="11207" x="9264650" y="2767013"/>
          <p14:tracePt t="11209" x="9224963" y="2767013"/>
          <p14:tracePt t="11210" x="9180513" y="2767013"/>
          <p14:tracePt t="11210" x="9137650" y="2767013"/>
          <p14:tracePt t="11212" x="9077325" y="2767013"/>
          <p14:tracePt t="11213" x="9032875" y="2767013"/>
          <p14:tracePt t="11213" x="9001125" y="2767013"/>
          <p14:tracePt t="11214" x="8964613" y="2767013"/>
          <p14:tracePt t="11215" x="8904288" y="2767013"/>
          <p14:tracePt t="11216" x="8872538" y="2767013"/>
          <p14:tracePt t="11217" x="8836025" y="2767013"/>
          <p14:tracePt t="11218" x="8801100" y="2762250"/>
          <p14:tracePt t="11219" x="8756650" y="2762250"/>
          <p14:tracePt t="11220" x="8720138" y="2759075"/>
          <p14:tracePt t="11222" x="8667750" y="2751138"/>
          <p14:tracePt t="11222" x="8632825" y="2751138"/>
          <p14:tracePt t="11223" x="8604250" y="2746375"/>
          <p14:tracePt t="11225" x="8572500" y="2746375"/>
          <p14:tracePt t="11226" x="8520113" y="2738438"/>
          <p14:tracePt t="11227" x="8493125" y="2738438"/>
          <p14:tracePt t="11228" x="8456613" y="2733675"/>
          <p14:tracePt t="11228" x="8428038" y="2725738"/>
          <p14:tracePt t="11229" x="8404225" y="2725738"/>
          <p14:tracePt t="11231" x="8367713" y="2725738"/>
          <p14:tracePt t="11231" x="8332788" y="2722563"/>
          <p14:tracePt t="11232" x="8296275" y="2714625"/>
          <p14:tracePt t="11233" x="8267700" y="2714625"/>
          <p14:tracePt t="11234" x="8240713" y="2709863"/>
          <p14:tracePt t="11235" x="8199438" y="2709863"/>
          <p14:tracePt t="11237" x="8180388" y="2706688"/>
          <p14:tracePt t="11237" x="8151813" y="2706688"/>
          <p14:tracePt t="11238" x="8123238" y="2698750"/>
          <p14:tracePt t="11240" x="8080375" y="2693988"/>
          <p14:tracePt t="11241" x="8035925" y="2693988"/>
          <p14:tracePt t="11243" x="7988300" y="2690813"/>
          <p14:tracePt t="11244" x="7964488" y="2690813"/>
          <p14:tracePt t="11245" x="7943850" y="2686050"/>
          <p14:tracePt t="11246" x="7907338" y="2686050"/>
          <p14:tracePt t="11247" x="7880350" y="2678113"/>
          <p14:tracePt t="11248" x="7859713" y="2678113"/>
          <p14:tracePt t="11249" x="7835900" y="2674938"/>
          <p14:tracePt t="11250" x="7807325" y="2674938"/>
          <p14:tracePt t="11251" x="7772400" y="2667000"/>
          <p14:tracePt t="11253" x="7747000" y="2667000"/>
          <p14:tracePt t="11253" x="7727950" y="2667000"/>
          <p14:tracePt t="11254" x="7699375" y="2662238"/>
          <p14:tracePt t="11255" x="7675563" y="2662238"/>
          <p14:tracePt t="11257" x="7631113" y="2662238"/>
          <p14:tracePt t="11257" x="7604125" y="2659063"/>
          <p14:tracePt t="11259" x="7567613" y="2659063"/>
          <p14:tracePt t="11259" x="7543800" y="2659063"/>
          <p14:tracePt t="11260" x="7507288" y="2659063"/>
          <p14:tracePt t="11261" x="7462838" y="2649538"/>
          <p14:tracePt t="11262" x="7427913" y="2649538"/>
          <p14:tracePt t="11263" x="7394575" y="2649538"/>
          <p14:tracePt t="11264" x="7359650" y="2649538"/>
          <p14:tracePt t="11265" x="7323138" y="2649538"/>
          <p14:tracePt t="11266" x="7270750" y="2649538"/>
          <p14:tracePt t="11267" x="7239000" y="2649538"/>
          <p14:tracePt t="11268" x="7194550" y="2649538"/>
          <p14:tracePt t="11269" x="7159625" y="2649538"/>
          <p14:tracePt t="11270" x="7118350" y="2649538"/>
          <p14:tracePt t="11271" x="7059613" y="2649538"/>
          <p14:tracePt t="11272" x="7015163" y="2649538"/>
          <p14:tracePt t="11274" x="6970713" y="2649538"/>
          <p14:tracePt t="11275" x="6918325" y="2649538"/>
          <p14:tracePt t="11275" x="6875463" y="2649538"/>
          <p14:tracePt t="11276" x="6799263" y="2649538"/>
          <p14:tracePt t="11277" x="6750050" y="2649538"/>
          <p14:tracePt t="11278" x="6699250" y="2649538"/>
          <p14:tracePt t="11279" x="6646863" y="2654300"/>
          <p14:tracePt t="11280" x="6586538" y="2654300"/>
          <p14:tracePt t="11281" x="6502400" y="2654300"/>
          <p14:tracePt t="11282" x="6438900" y="2659063"/>
          <p14:tracePt t="11283" x="6381750" y="2659063"/>
          <p14:tracePt t="11284" x="6318250" y="2667000"/>
          <p14:tracePt t="11285" x="6249988" y="2667000"/>
          <p14:tracePt t="11286" x="6157913" y="2674938"/>
          <p14:tracePt t="11287" x="6089650" y="2682875"/>
          <p14:tracePt t="11288" x="6021388" y="2686050"/>
          <p14:tracePt t="11289" x="5953125" y="2693988"/>
          <p14:tracePt t="11290" x="5873750" y="2701925"/>
          <p14:tracePt t="11292" x="5781675" y="2709863"/>
          <p14:tracePt t="11292" x="5713413" y="2709863"/>
          <p14:tracePt t="11293" x="5653088" y="2709863"/>
          <p14:tracePt t="11295" x="5592763" y="2709863"/>
          <p14:tracePt t="11295" x="5534025" y="2714625"/>
          <p14:tracePt t="11296" x="5465763" y="2714625"/>
          <p14:tracePt t="11297" x="5413375" y="2714625"/>
          <p14:tracePt t="11298" x="5360988" y="2714625"/>
          <p14:tracePt t="11299" x="5321300" y="2714625"/>
          <p14:tracePt t="11300" x="5265738" y="2714625"/>
          <p14:tracePt t="11301" x="5197475" y="2714625"/>
          <p14:tracePt t="11302" x="5157788" y="2714625"/>
          <p14:tracePt t="11303" x="5113338" y="2714625"/>
          <p14:tracePt t="11304" x="5068888" y="2706688"/>
          <p14:tracePt t="11305" x="5032375" y="2706688"/>
          <p14:tracePt t="11307" x="4997450" y="2701925"/>
          <p14:tracePt t="11308" x="4945063" y="2693988"/>
          <p14:tracePt t="11309" x="4872038" y="2682875"/>
          <p14:tracePt t="11310" x="4845050" y="2678113"/>
          <p14:tracePt t="11312" x="4792663" y="2662238"/>
          <p14:tracePt t="11312" x="4764088" y="2659063"/>
          <p14:tracePt t="11313" x="4737100" y="2649538"/>
          <p14:tracePt t="11315" x="4700588" y="2646363"/>
          <p14:tracePt t="11315" x="4672013" y="2641600"/>
          <p14:tracePt t="11316" x="4645025" y="2633663"/>
          <p14:tracePt t="11317" x="4600575" y="2622550"/>
          <p14:tracePt t="11318" x="4579938" y="2622550"/>
          <p14:tracePt t="11319" x="4556125" y="2617788"/>
          <p14:tracePt t="11320" x="4524375" y="2606675"/>
          <p14:tracePt t="11321" x="4487863" y="2598738"/>
          <p14:tracePt t="11322" x="4464050" y="2593975"/>
          <p14:tracePt t="11324" x="4437063" y="2586038"/>
          <p14:tracePt t="11324" x="4416425" y="2582863"/>
          <p14:tracePt t="11326" x="4387850" y="2582863"/>
          <p14:tracePt t="11327" x="4368800" y="2578100"/>
          <p14:tracePt t="11327" x="4332288" y="2570163"/>
          <p14:tracePt t="11329" x="4311650" y="2566988"/>
          <p14:tracePt t="11329" x="4284663" y="2562225"/>
          <p14:tracePt t="11330" x="4264025" y="2562225"/>
          <p14:tracePt t="11331" x="4232275" y="2554288"/>
          <p14:tracePt t="11332" x="4211638" y="2549525"/>
          <p14:tracePt t="11333" x="4192588" y="2546350"/>
          <p14:tracePt t="11334" x="4176713" y="2546350"/>
          <p14:tracePt t="11335" x="4148138" y="2541588"/>
          <p14:tracePt t="11336" x="4127500" y="2541588"/>
          <p14:tracePt t="11337" x="4103688" y="2533650"/>
          <p14:tracePt t="11338" x="4084638" y="2533650"/>
          <p14:tracePt t="11339" x="4064000" y="2530475"/>
          <p14:tracePt t="11341" x="4048125" y="2525713"/>
          <p14:tracePt t="11341" x="4024313" y="2522538"/>
          <p14:tracePt t="11344" x="3971925" y="2509838"/>
          <p14:tracePt t="11345" x="3956050" y="2506663"/>
          <p14:tracePt t="11347" x="3943350" y="2506663"/>
          <p14:tracePt t="11347" x="3924300" y="2501900"/>
          <p14:tracePt t="11348" x="3908425" y="2498725"/>
          <p14:tracePt t="11349" x="3895725" y="2493963"/>
          <p14:tracePt t="11350" x="3879850" y="2486025"/>
          <p14:tracePt t="11351" x="3867150" y="2486025"/>
          <p14:tracePt t="11352" x="3848100" y="2482850"/>
          <p14:tracePt t="11353" x="3832225" y="2478088"/>
          <p14:tracePt t="11354" x="3819525" y="2478088"/>
          <p14:tracePt t="11355" x="3811588" y="2474913"/>
          <p14:tracePt t="11357" x="3795713" y="2474913"/>
          <p14:tracePt t="11357" x="3783013" y="2470150"/>
          <p14:tracePt t="11359" x="3775075" y="2470150"/>
          <p14:tracePt t="11360" x="3759200" y="2470150"/>
          <p14:tracePt t="11360" x="3751263" y="2465388"/>
          <p14:tracePt t="11361" x="3743325" y="2465388"/>
          <p14:tracePt t="11362" x="3724275" y="2457450"/>
          <p14:tracePt t="11364" x="3716338" y="2457450"/>
          <p14:tracePt t="11364" x="3708400" y="2457450"/>
          <p14:tracePt t="11365" x="3698875" y="2457450"/>
          <p14:tracePt t="11366" x="3687763" y="2457450"/>
          <p14:tracePt t="11367" x="3679825" y="2457450"/>
          <p14:tracePt t="11368" x="3663950" y="2457450"/>
          <p14:tracePt t="11369" x="3656013" y="2457450"/>
          <p14:tracePt t="11370" x="3648075" y="2457450"/>
          <p14:tracePt t="11371" x="3640138" y="2457450"/>
          <p14:tracePt t="11373" x="3632200" y="2457450"/>
          <p14:tracePt t="11374" x="3624263" y="2457450"/>
          <p14:tracePt t="11375" x="3616325" y="2457450"/>
          <p14:tracePt t="11376" x="3598863" y="2457450"/>
          <p14:tracePt t="11377" x="3582988" y="2457450"/>
          <p14:tracePt t="11378" x="3575050" y="2457450"/>
          <p14:tracePt t="11379" x="3571875" y="2457450"/>
          <p14:tracePt t="11380" x="3563938" y="2457450"/>
          <p14:tracePt t="11381" x="3556000" y="2457450"/>
          <p14:tracePt t="11382" x="3548063" y="2457450"/>
          <p14:tracePt t="11383" x="3540125" y="2457450"/>
          <p14:tracePt t="11384" x="3532188" y="2462213"/>
          <p14:tracePt t="11385" x="3524250" y="2462213"/>
          <p14:tracePt t="11386" x="3519488" y="2462213"/>
          <p14:tracePt t="11387" x="3506788" y="2462213"/>
          <p14:tracePt t="11388" x="3503613" y="2462213"/>
          <p14:tracePt t="11390" x="3487738" y="2465388"/>
          <p14:tracePt t="11392" x="3479800" y="2465388"/>
          <p14:tracePt t="11393" x="3471863" y="2465388"/>
          <p14:tracePt t="11393" x="3463925" y="2465388"/>
          <p14:tracePt t="11394" x="3455988" y="2465388"/>
          <p14:tracePt t="11396" x="3448050" y="2474913"/>
          <p14:tracePt t="11396" x="3440113" y="2474913"/>
          <p14:tracePt t="11397" x="3422650" y="2474913"/>
          <p14:tracePt t="11398" x="3414713" y="2474913"/>
          <p14:tracePt t="11399" x="3406775" y="2474913"/>
          <p14:tracePt t="11400" x="3398838" y="2474913"/>
          <p14:tracePt t="11401" x="3390900" y="2474913"/>
          <p14:tracePt t="11402" x="3382963" y="2474913"/>
          <p14:tracePt t="11403" x="3371850" y="2474913"/>
          <p14:tracePt t="11404" x="3359150" y="2478088"/>
          <p14:tracePt t="11405" x="3351213" y="2478088"/>
          <p14:tracePt t="11407" x="3343275" y="2478088"/>
          <p14:tracePt t="11408" x="3319463" y="2478088"/>
          <p14:tracePt t="11410" x="3306763" y="2478088"/>
          <p14:tracePt t="11410" x="3298825" y="2478088"/>
          <p14:tracePt t="11412" x="3287713" y="2478088"/>
          <p14:tracePt t="11413" x="3279775" y="2478088"/>
          <p14:tracePt t="11414" x="3259138" y="2482850"/>
          <p14:tracePt t="11414" x="3251200" y="2482850"/>
          <p14:tracePt t="11415" x="3238500" y="2482850"/>
          <p14:tracePt t="11416" x="3222625" y="2482850"/>
          <p14:tracePt t="11417" x="3211513" y="2482850"/>
          <p14:tracePt t="11418" x="3195638" y="2482850"/>
          <p14:tracePt t="11419" x="3182938" y="2482850"/>
          <p14:tracePt t="11420" x="3167063" y="2482850"/>
          <p14:tracePt t="11421" x="3154363" y="2482850"/>
          <p14:tracePt t="11422" x="3143250" y="2482850"/>
          <p14:tracePt t="11424" x="3114675" y="2482850"/>
          <p14:tracePt t="11425" x="3103563" y="2482850"/>
          <p14:tracePt t="11425" x="3082925" y="2482850"/>
          <p14:tracePt t="11427" x="3071813" y="2482850"/>
          <p14:tracePt t="11428" x="3051175" y="2482850"/>
          <p14:tracePt t="11429" x="3030538" y="2482850"/>
          <p14:tracePt t="11429" x="3019425" y="2482850"/>
          <p14:tracePt t="11430" x="2998788" y="2482850"/>
          <p14:tracePt t="11431" x="2978150" y="2482850"/>
          <p14:tracePt t="11432" x="2959100" y="2482850"/>
          <p14:tracePt t="11433" x="2935288" y="2482850"/>
          <p14:tracePt t="11434" x="2906713" y="2482850"/>
          <p14:tracePt t="11435" x="2890838" y="2482850"/>
          <p14:tracePt t="11436" x="2862263" y="2482850"/>
          <p14:tracePt t="11437" x="2843213" y="2482850"/>
          <p14:tracePt t="11438" x="2811463" y="2478088"/>
          <p14:tracePt t="11441" x="2759075" y="2474913"/>
          <p14:tracePt t="11442" x="2730500" y="2474913"/>
          <p14:tracePt t="11442" x="2701925" y="2470150"/>
          <p14:tracePt t="11443" x="2667000" y="2462213"/>
          <p14:tracePt t="11445" x="2638425" y="2462213"/>
          <p14:tracePt t="11447" x="2586038" y="2457450"/>
          <p14:tracePt t="11448" x="2559050" y="2449513"/>
          <p14:tracePt t="11449" x="2514600" y="2446338"/>
          <p14:tracePt t="11450" x="2493963" y="2446338"/>
          <p14:tracePt t="11450" x="2470150" y="2441575"/>
          <p14:tracePt t="11451" x="2443163" y="2433638"/>
          <p14:tracePt t="11452" x="2414588" y="2433638"/>
          <p14:tracePt t="11453" x="2378075" y="2430463"/>
          <p14:tracePt t="11455" x="2351088" y="2422525"/>
          <p14:tracePt t="11456" x="2325688" y="2422525"/>
          <p14:tracePt t="11457" x="2306638" y="2417763"/>
          <p14:tracePt t="11457" x="2278063" y="2414588"/>
          <p14:tracePt t="11459" x="2241550" y="2406650"/>
          <p14:tracePt t="11459" x="2222500" y="2401888"/>
          <p14:tracePt t="11461" x="2201863" y="2398713"/>
          <p14:tracePt t="11462" x="2182813" y="2398713"/>
          <p14:tracePt t="11462" x="2162175" y="2390775"/>
          <p14:tracePt t="11464" x="2125663" y="2386013"/>
          <p14:tracePt t="11465" x="2114550" y="2382838"/>
          <p14:tracePt t="11466" x="2093913" y="2378075"/>
          <p14:tracePt t="11466" x="2078038" y="2370138"/>
          <p14:tracePt t="11467" x="2057400" y="2370138"/>
          <p14:tracePt t="11468" x="2038350" y="2362200"/>
          <p14:tracePt t="11469" x="2025650" y="2362200"/>
          <p14:tracePt t="11471" x="2009775" y="2357438"/>
          <p14:tracePt t="11471" x="1998663" y="2354263"/>
          <p14:tracePt t="11473" x="1981200" y="2346325"/>
          <p14:tracePt t="11474" x="1970088" y="2341563"/>
          <p14:tracePt t="11474" x="1962150" y="2338388"/>
          <p14:tracePt t="11476" x="1946275" y="2333625"/>
          <p14:tracePt t="11479" x="1922463" y="2325688"/>
          <p14:tracePt t="11479" x="1909763" y="2322513"/>
          <p14:tracePt t="11480" x="1901825" y="2317750"/>
          <p14:tracePt t="11481" x="1893888" y="2309813"/>
          <p14:tracePt t="11482" x="1889125" y="2309813"/>
          <p14:tracePt t="11483" x="1881188" y="2306638"/>
          <p14:tracePt t="11484" x="1878013" y="2301875"/>
          <p14:tracePt t="11485" x="1870075" y="2298700"/>
          <p14:tracePt t="11486" x="1865313" y="2293938"/>
          <p14:tracePt t="11487" x="1862138" y="2290763"/>
          <p14:tracePt t="11488" x="1862138" y="2286000"/>
          <p14:tracePt t="11490" x="1841500" y="2278063"/>
          <p14:tracePt t="11491" x="1838325" y="2273300"/>
          <p14:tracePt t="11494" x="1825625" y="2262188"/>
          <p14:tracePt t="11495" x="1814513" y="2249488"/>
          <p14:tracePt t="11496" x="1809750" y="2246313"/>
          <p14:tracePt t="11497" x="1801813" y="2238375"/>
          <p14:tracePt t="11498" x="1793875" y="2225675"/>
          <p14:tracePt t="11499" x="1789113" y="2217738"/>
          <p14:tracePt t="11500" x="1778000" y="2214563"/>
          <p14:tracePt t="11501" x="1770063" y="2206625"/>
          <p14:tracePt t="11502" x="1762125" y="2193925"/>
          <p14:tracePt t="11503" x="1754188" y="2181225"/>
          <p14:tracePt t="11504" x="1741488" y="2173288"/>
          <p14:tracePt t="11505" x="1733550" y="2162175"/>
          <p14:tracePt t="11507" x="1725613" y="2149475"/>
          <p14:tracePt t="11507" x="1712913" y="2138363"/>
          <p14:tracePt t="11509" x="1689100" y="2109788"/>
          <p14:tracePt t="11510" x="1677988" y="2093913"/>
          <p14:tracePt t="11511" x="1665288" y="2081213"/>
          <p14:tracePt t="11512" x="1657350" y="2073275"/>
          <p14:tracePt t="11513" x="1641475" y="2049463"/>
          <p14:tracePt t="11514" x="1625600" y="2038350"/>
          <p14:tracePt t="11515" x="1617663" y="2022475"/>
          <p14:tracePt t="11516" x="1601788" y="2005013"/>
          <p14:tracePt t="11517" x="1593850" y="1993900"/>
          <p14:tracePt t="11518" x="1577975" y="1978025"/>
          <p14:tracePt t="11519" x="1562100" y="1957388"/>
          <p14:tracePt t="11520" x="1546225" y="1941513"/>
          <p14:tracePt t="11521" x="1528763" y="1925638"/>
          <p14:tracePt t="11522" x="1520825" y="1905000"/>
          <p14:tracePt t="11523" x="1497013" y="1881188"/>
          <p14:tracePt t="11524" x="1481138" y="1865313"/>
          <p14:tracePt t="11526" x="1470025" y="1854200"/>
          <p14:tracePt t="11527" x="1446213" y="1820863"/>
          <p14:tracePt t="11528" x="1428750" y="1809750"/>
          <p14:tracePt t="11529" x="1404938" y="1785938"/>
          <p14:tracePt t="11530" x="1397000" y="1770063"/>
          <p14:tracePt t="11531" x="1381125" y="1757363"/>
          <p14:tracePt t="11532" x="1365250" y="1741488"/>
          <p14:tracePt t="11533" x="1344613" y="1725613"/>
          <p14:tracePt t="11534" x="1328738" y="1709738"/>
          <p14:tracePt t="11535" x="1320800" y="1693863"/>
          <p14:tracePt t="11536" x="1304925" y="1685925"/>
          <p14:tracePt t="11537" x="1289050" y="1670050"/>
          <p14:tracePt t="11538" x="1281113" y="1662113"/>
          <p14:tracePt t="11540" x="1249363" y="1628775"/>
          <p14:tracePt t="11541" x="1241425" y="1617663"/>
          <p14:tracePt t="11543" x="1225550" y="1604963"/>
          <p14:tracePt t="11544" x="1201738" y="1581150"/>
          <p14:tracePt t="11545" x="1193800" y="1573213"/>
          <p14:tracePt t="11546" x="1185863" y="1565275"/>
          <p14:tracePt t="11547" x="1168400" y="1557338"/>
          <p14:tracePt t="11549" x="1160463" y="1544638"/>
          <p14:tracePt t="11549" x="1152525" y="1536700"/>
          <p14:tracePt t="11550" x="1144588" y="1533525"/>
          <p14:tracePt t="11551" x="1133475" y="1525588"/>
          <p14:tracePt t="11552" x="1125538" y="1517650"/>
          <p14:tracePt t="11553" x="1120775" y="1517650"/>
          <p14:tracePt t="11554" x="1109663" y="1504950"/>
          <p14:tracePt t="11555" x="1104900" y="1504950"/>
          <p14:tracePt t="11557" x="1096963" y="1501775"/>
          <p14:tracePt t="11557" x="1089025" y="1493838"/>
          <p14:tracePt t="11560" x="1076325" y="1489075"/>
          <p14:tracePt t="11561" x="1065213" y="1481138"/>
          <p14:tracePt t="11562" x="1060450" y="1477963"/>
          <p14:tracePt t="11563" x="1057275" y="1473200"/>
          <p14:tracePt t="11564" x="1049338" y="1470025"/>
          <p14:tracePt t="11565" x="1044575" y="1465263"/>
          <p14:tracePt t="11566" x="1041400" y="1460500"/>
          <p14:tracePt t="11568" x="1036638" y="1460500"/>
          <p14:tracePt t="11568" x="1033463" y="1457325"/>
          <p14:tracePt t="11569" x="1033463" y="1452563"/>
          <p14:tracePt t="11570" x="1028700" y="1449388"/>
          <p14:tracePt t="11571" x="1025525" y="1449388"/>
          <p14:tracePt t="11572" x="1020763" y="1444625"/>
          <p14:tracePt t="11574" x="1017588" y="1444625"/>
          <p14:tracePt t="11574" x="1012825" y="1441450"/>
          <p14:tracePt t="11576" x="1009650" y="1441450"/>
          <p14:tracePt t="11577" x="1004888" y="1436688"/>
          <p14:tracePt t="11580" x="1001713" y="1436688"/>
          <p14:tracePt t="11581" x="996950" y="1436688"/>
          <p14:tracePt t="11583" x="992188" y="1436688"/>
          <p14:tracePt t="11588" x="989013" y="1436688"/>
          <p14:tracePt t="11590" x="984250" y="1436688"/>
          <p14:tracePt t="11593" x="981075" y="1436688"/>
          <p14:tracePt t="11597" x="976313" y="1436688"/>
          <p14:tracePt t="11600" x="973138" y="1436688"/>
          <p14:tracePt t="11604" x="968375" y="1436688"/>
          <p14:tracePt t="11608" x="965200" y="1436688"/>
          <p14:tracePt t="11658" x="965200" y="1433513"/>
          <p14:tracePt t="11659" x="960438" y="1433513"/>
          <p14:tracePt t="11662" x="957263" y="1428750"/>
          <p14:tracePt t="11662" x="952500" y="1428750"/>
          <p14:tracePt t="11663" x="952500" y="1425575"/>
          <p14:tracePt t="11665" x="949325" y="1420813"/>
          <p14:tracePt t="11666" x="944563" y="1420813"/>
          <p14:tracePt t="11667" x="941388" y="1417638"/>
          <p14:tracePt t="11668" x="933450" y="1417638"/>
          <p14:tracePt t="11669" x="928688" y="1412875"/>
          <p14:tracePt t="11670" x="920750" y="1409700"/>
          <p14:tracePt t="11671" x="917575" y="1404938"/>
          <p14:tracePt t="11673" x="912813" y="1401763"/>
          <p14:tracePt t="11674" x="904875" y="1401763"/>
          <p14:tracePt t="11675" x="900113" y="1397000"/>
          <p14:tracePt t="11675" x="889000" y="1393825"/>
          <p14:tracePt t="11676" x="881063" y="1389063"/>
          <p14:tracePt t="11677" x="876300" y="1385888"/>
          <p14:tracePt t="11678" x="868363" y="1385888"/>
          <p14:tracePt t="11679" x="860425" y="1381125"/>
          <p14:tracePt t="11680" x="844550" y="1377950"/>
          <p14:tracePt t="11681" x="836613" y="1373188"/>
          <p14:tracePt t="11682" x="828675" y="1368425"/>
          <p14:tracePt t="11683" x="825500" y="1365250"/>
          <p14:tracePt t="11684" x="817563" y="1360488"/>
          <p14:tracePt t="11685" x="804863" y="1357313"/>
          <p14:tracePt t="11686" x="792163" y="1352550"/>
          <p14:tracePt t="11687" x="784225" y="1349375"/>
          <p14:tracePt t="11688" x="776288" y="1341438"/>
          <p14:tracePt t="11690" x="752475" y="1333500"/>
          <p14:tracePt t="11692" x="744538" y="1328738"/>
          <p14:tracePt t="11693" x="741363" y="1328738"/>
          <p14:tracePt t="11693" x="733425" y="1325563"/>
          <p14:tracePt t="11695" x="725488" y="1320800"/>
          <p14:tracePt t="11695" x="715963" y="1317625"/>
          <p14:tracePt t="11696" x="708025" y="1312863"/>
          <p14:tracePt t="11697" x="700088" y="1309688"/>
          <p14:tracePt t="11698" x="696913" y="1304925"/>
          <p14:tracePt t="11699" x="688975" y="1304925"/>
          <p14:tracePt t="11700" x="684213" y="1301750"/>
          <p14:tracePt t="11701" x="676275" y="1296988"/>
          <p14:tracePt t="11702" x="668338" y="1296988"/>
          <p14:tracePt t="11703" x="665163" y="1293813"/>
          <p14:tracePt t="11704" x="660400" y="1289050"/>
          <p14:tracePt t="11706" x="652463" y="1289050"/>
          <p14:tracePt t="11707" x="649288" y="1289050"/>
          <p14:tracePt t="11707" x="644525" y="1285875"/>
          <p14:tracePt t="11709" x="641350" y="1285875"/>
          <p14:tracePt t="11710" x="641350" y="1281113"/>
          <p14:tracePt t="11710" x="636588" y="1281113"/>
          <p14:tracePt t="11712" x="633413" y="1281113"/>
          <p14:tracePt t="11712" x="633413" y="1276350"/>
          <p14:tracePt t="11714" x="628650" y="1276350"/>
          <p14:tracePt t="11721" x="623888" y="1276350"/>
          <p14:tracePt t="11769" x="623888" y="1281113"/>
          <p14:tracePt t="11771" x="628650" y="1281113"/>
          <p14:tracePt t="11773" x="628650" y="1285875"/>
          <p14:tracePt t="11775" x="628650" y="1289050"/>
          <p14:tracePt t="11776" x="628650" y="1293813"/>
          <p14:tracePt t="11778" x="628650" y="1296988"/>
          <p14:tracePt t="11779" x="633413" y="1296988"/>
          <p14:tracePt t="11780" x="633413" y="1301750"/>
          <p14:tracePt t="11781" x="633413" y="1304925"/>
          <p14:tracePt t="11783" x="636588" y="1309688"/>
          <p14:tracePt t="11786" x="641350" y="1312863"/>
          <p14:tracePt t="11787" x="644525" y="1317625"/>
          <p14:tracePt t="11790" x="644525" y="1325563"/>
          <p14:tracePt t="11791" x="649288" y="1328738"/>
          <p14:tracePt t="11793" x="649288" y="1333500"/>
          <p14:tracePt t="11794" x="652463" y="1336675"/>
          <p14:tracePt t="11795" x="652463" y="1341438"/>
          <p14:tracePt t="11797" x="652463" y="1344613"/>
          <p14:tracePt t="11798" x="657225" y="1349375"/>
          <p14:tracePt t="11801" x="657225" y="1352550"/>
          <p14:tracePt t="11802" x="657225" y="1357313"/>
          <p14:tracePt t="11803" x="660400" y="1360488"/>
          <p14:tracePt t="11805" x="660400" y="1365250"/>
          <p14:tracePt t="11807" x="660400" y="1368425"/>
          <p14:tracePt t="11808" x="665163" y="1373188"/>
          <p14:tracePt t="11810" x="668338" y="1377950"/>
          <p14:tracePt t="11812" x="668338" y="1381125"/>
          <p14:tracePt t="11813" x="668338" y="1385888"/>
          <p14:tracePt t="11814" x="668338" y="1389063"/>
          <p14:tracePt t="11816" x="668338" y="1393825"/>
          <p14:tracePt t="11821" x="668338" y="1397000"/>
          <p14:tracePt t="11862" x="673100" y="1397000"/>
          <p14:tracePt t="11864" x="676275" y="1397000"/>
          <p14:tracePt t="11865" x="681038" y="1397000"/>
          <p14:tracePt t="11866" x="684213" y="1397000"/>
          <p14:tracePt t="11867" x="688975" y="1397000"/>
          <p14:tracePt t="11868" x="692150" y="1397000"/>
          <p14:tracePt t="11870" x="696913" y="1397000"/>
          <p14:tracePt t="11872" x="700088" y="1397000"/>
          <p14:tracePt t="11874" x="704850" y="1397000"/>
          <p14:tracePt t="11876" x="708025" y="1397000"/>
          <p14:tracePt t="11885" x="712788" y="1397000"/>
          <p14:tracePt t="11888" x="715963" y="1401763"/>
          <p14:tracePt t="11916" x="720725" y="1401763"/>
          <p14:tracePt t="11919" x="720725" y="1404938"/>
          <p14:tracePt t="11928" x="725488" y="1404938"/>
          <p14:tracePt t="11932" x="725488" y="1409700"/>
          <p14:tracePt t="11938" x="728663" y="1409700"/>
          <p14:tracePt t="11974" x="728663" y="1412875"/>
          <p14:tracePt t="11980" x="728663" y="1417638"/>
          <p14:tracePt t="11996" x="728663" y="1420813"/>
          <p14:tracePt t="11998" x="728663" y="1425575"/>
          <p14:tracePt t="12000" x="728663" y="1428750"/>
          <p14:tracePt t="12001" x="728663" y="1433513"/>
          <p14:tracePt t="12003" x="728663" y="1436688"/>
          <p14:tracePt t="12004" x="728663" y="1441450"/>
          <p14:tracePt t="12005" x="728663" y="1444625"/>
          <p14:tracePt t="12007" x="728663" y="1452563"/>
          <p14:tracePt t="12008" x="728663" y="1457325"/>
          <p14:tracePt t="12008" x="728663" y="1460500"/>
          <p14:tracePt t="12009" x="728663" y="1465263"/>
          <p14:tracePt t="12010" x="728663" y="1473200"/>
          <p14:tracePt t="12011" x="728663" y="1477963"/>
          <p14:tracePt t="12013" x="728663" y="1485900"/>
          <p14:tracePt t="12014" x="728663" y="1489075"/>
          <p14:tracePt t="12017" x="733425" y="1489075"/>
          <p14:tracePt t="12019" x="733425" y="1497013"/>
          <p14:tracePt t="12019" x="733425" y="1501775"/>
          <p14:tracePt t="12021" x="733425" y="1504950"/>
          <p14:tracePt t="12024" x="733425" y="1509713"/>
          <p14:tracePt t="12025" x="733425" y="1512888"/>
          <p14:tracePt t="12025" x="736600" y="1512888"/>
          <p14:tracePt t="12026" x="736600" y="1517650"/>
          <p14:tracePt t="12028" x="736600" y="1520825"/>
          <p14:tracePt t="12029" x="741363" y="1520825"/>
          <p14:tracePt t="12030" x="741363" y="1525588"/>
          <p14:tracePt t="12032" x="741363" y="1528763"/>
          <p14:tracePt t="12034" x="741363" y="1533525"/>
          <p14:tracePt t="12035" x="744538" y="1533525"/>
          <p14:tracePt t="12038" x="749300" y="1536700"/>
          <p14:tracePt t="12040" x="752475" y="1541463"/>
          <p14:tracePt t="12043" x="752475" y="1544638"/>
          <p14:tracePt t="12045" x="752475" y="1549400"/>
          <p14:tracePt t="12045" x="757238" y="1549400"/>
          <p14:tracePt t="12046" x="757238" y="1552575"/>
          <p14:tracePt t="12047" x="757238" y="1557338"/>
          <p14:tracePt t="12048" x="760413" y="1557338"/>
          <p14:tracePt t="12049" x="760413" y="1562100"/>
          <p14:tracePt t="12050" x="765175" y="1562100"/>
          <p14:tracePt t="12051" x="768350" y="1565275"/>
          <p14:tracePt t="12053" x="773113" y="1570038"/>
          <p14:tracePt t="12055" x="776288" y="1573213"/>
          <p14:tracePt t="12058" x="781050" y="1573213"/>
          <p14:tracePt t="12059" x="781050" y="1577975"/>
          <p14:tracePt t="12060" x="784225" y="1581150"/>
          <p14:tracePt t="12060" x="788988" y="1581150"/>
          <p14:tracePt t="12062" x="792163" y="1585913"/>
          <p14:tracePt t="12063" x="792163" y="1589088"/>
          <p14:tracePt t="12065" x="796925" y="1593850"/>
          <p14:tracePt t="12067" x="800100" y="1593850"/>
          <p14:tracePt t="12067" x="800100" y="1597025"/>
          <p14:tracePt t="12068" x="804863" y="1597025"/>
          <p14:tracePt t="12069" x="808038" y="1601788"/>
          <p14:tracePt t="12070" x="812800" y="1604963"/>
          <p14:tracePt t="12071" x="812800" y="1609725"/>
          <p14:tracePt t="12072" x="817563" y="1609725"/>
          <p14:tracePt t="12073" x="820738" y="1612900"/>
          <p14:tracePt t="12075" x="825500" y="1612900"/>
          <p14:tracePt t="12076" x="828675" y="1617663"/>
          <p14:tracePt t="12076" x="828675" y="1620838"/>
          <p14:tracePt t="12077" x="833438" y="1620838"/>
          <p14:tracePt t="12078" x="836613" y="1625600"/>
          <p14:tracePt t="12079" x="836613" y="1628775"/>
          <p14:tracePt t="12080" x="841375" y="1633538"/>
          <p14:tracePt t="12081" x="844550" y="1636713"/>
          <p14:tracePt t="12082" x="849313" y="1641475"/>
          <p14:tracePt t="12083" x="852488" y="1644650"/>
          <p14:tracePt t="12084" x="857250" y="1649413"/>
          <p14:tracePt t="12085" x="860425" y="1649413"/>
          <p14:tracePt t="12086" x="865188" y="1654175"/>
          <p14:tracePt t="12088" x="868363" y="1657350"/>
          <p14:tracePt t="12089" x="876300" y="1662113"/>
          <p14:tracePt t="12091" x="881063" y="1665288"/>
          <p14:tracePt t="12092" x="884238" y="1673225"/>
          <p14:tracePt t="12093" x="889000" y="1677988"/>
          <p14:tracePt t="12094" x="892175" y="1681163"/>
          <p14:tracePt t="12096" x="896938" y="1685925"/>
          <p14:tracePt t="12098" x="904875" y="1693863"/>
          <p14:tracePt t="12098" x="909638" y="1697038"/>
          <p14:tracePt t="12099" x="912813" y="1697038"/>
          <p14:tracePt t="12100" x="917575" y="1701800"/>
          <p14:tracePt t="12101" x="920750" y="1704975"/>
          <p14:tracePt t="12102" x="925513" y="1709738"/>
          <p14:tracePt t="12103" x="925513" y="1712913"/>
          <p14:tracePt t="12104" x="928688" y="1720850"/>
          <p14:tracePt t="12105" x="933450" y="1725613"/>
          <p14:tracePt t="12107" x="936625" y="1728788"/>
          <p14:tracePt t="12107" x="936625" y="1733550"/>
          <p14:tracePt t="12109" x="941388" y="1738313"/>
          <p14:tracePt t="12110" x="949325" y="1741488"/>
          <p14:tracePt t="12111" x="949325" y="1746250"/>
          <p14:tracePt t="12112" x="952500" y="1749425"/>
          <p14:tracePt t="12112" x="957263" y="1749425"/>
          <p14:tracePt t="12113" x="960438" y="1754188"/>
          <p14:tracePt t="12114" x="965200" y="1757363"/>
          <p14:tracePt t="12115" x="968375" y="1762125"/>
          <p14:tracePt t="12116" x="968375" y="1765300"/>
          <p14:tracePt t="12117" x="973138" y="1770063"/>
          <p14:tracePt t="12118" x="976313" y="1773238"/>
          <p14:tracePt t="12119" x="976313" y="1778000"/>
          <p14:tracePt t="12120" x="981075" y="1781175"/>
          <p14:tracePt t="12123" x="984250" y="1785938"/>
          <p14:tracePt t="12124" x="984250" y="1789113"/>
          <p14:tracePt t="12125" x="989013" y="1789113"/>
          <p14:tracePt t="12125" x="992188" y="1793875"/>
          <p14:tracePt t="12127" x="996950" y="1797050"/>
          <p14:tracePt t="12129" x="1001713" y="1801813"/>
          <p14:tracePt t="12130" x="1004888" y="1804988"/>
          <p14:tracePt t="12130" x="1009650" y="1809750"/>
          <p14:tracePt t="12131" x="1012825" y="1812925"/>
          <p14:tracePt t="12132" x="1012825" y="1817688"/>
          <p14:tracePt t="12133" x="1017588" y="1817688"/>
          <p14:tracePt t="12134" x="1017588" y="1820863"/>
          <p14:tracePt t="12135" x="1017588" y="1825625"/>
          <p14:tracePt t="12136" x="1020763" y="1830388"/>
          <p14:tracePt t="12137" x="1025525" y="1830388"/>
          <p14:tracePt t="12138" x="1025525" y="1833563"/>
          <p14:tracePt t="12139" x="1028700" y="1833563"/>
          <p14:tracePt t="12141" x="1033463" y="1838325"/>
          <p14:tracePt t="12141" x="1036638" y="1838325"/>
          <p14:tracePt t="12143" x="1036638" y="1841500"/>
          <p14:tracePt t="12144" x="1041400" y="1846263"/>
          <p14:tracePt t="12145" x="1044575" y="1846263"/>
          <p14:tracePt t="12145" x="1049338" y="1849438"/>
          <p14:tracePt t="12147" x="1052513" y="1854200"/>
          <p14:tracePt t="12147" x="1052513" y="1857375"/>
          <p14:tracePt t="12148" x="1057275" y="1857375"/>
          <p14:tracePt t="12149" x="1057275" y="1862138"/>
          <p14:tracePt t="12150" x="1060450" y="1865313"/>
          <p14:tracePt t="12151" x="1065213" y="1870075"/>
          <p14:tracePt t="12154" x="1068388" y="1873250"/>
          <p14:tracePt t="12154" x="1073150" y="1873250"/>
          <p14:tracePt t="12155" x="1076325" y="1873250"/>
          <p14:tracePt t="12157" x="1081088" y="1873250"/>
          <p14:tracePt t="12157" x="1081088" y="1878013"/>
          <p14:tracePt t="12159" x="1085850" y="1881188"/>
          <p14:tracePt t="12159" x="1089025" y="1881188"/>
          <p14:tracePt t="12160" x="1093788" y="1885950"/>
          <p14:tracePt t="12161" x="1096963" y="1885950"/>
          <p14:tracePt t="12162" x="1096963" y="1889125"/>
          <p14:tracePt t="12163" x="1101725" y="1893888"/>
          <p14:tracePt t="12164" x="1104900" y="1893888"/>
          <p14:tracePt t="12165" x="1109663" y="1897063"/>
          <p14:tracePt t="12166" x="1112838" y="1901825"/>
          <p14:tracePt t="12167" x="1117600" y="1901825"/>
          <p14:tracePt t="12168" x="1117600" y="1905000"/>
          <p14:tracePt t="12169" x="1120775" y="1905000"/>
          <p14:tracePt t="12170" x="1125538" y="1909763"/>
          <p14:tracePt t="12171" x="1133475" y="1912938"/>
          <p14:tracePt t="12172" x="1136650" y="1912938"/>
          <p14:tracePt t="12174" x="1141413" y="1917700"/>
          <p14:tracePt t="12175" x="1144588" y="1917700"/>
          <p14:tracePt t="12176" x="1152525" y="1917700"/>
          <p14:tracePt t="12176" x="1152525" y="1922463"/>
          <p14:tracePt t="12177" x="1157288" y="1922463"/>
          <p14:tracePt t="12178" x="1160463" y="1925638"/>
          <p14:tracePt t="12179" x="1165225" y="1925638"/>
          <p14:tracePt t="12180" x="1173163" y="1930400"/>
          <p14:tracePt t="12181" x="1177925" y="1933575"/>
          <p14:tracePt t="12182" x="1185863" y="1933575"/>
          <p14:tracePt t="12183" x="1189038" y="1938338"/>
          <p14:tracePt t="12184" x="1193800" y="1938338"/>
          <p14:tracePt t="12185" x="1201738" y="1941513"/>
          <p14:tracePt t="12186" x="1204913" y="1946275"/>
          <p14:tracePt t="12187" x="1212850" y="1946275"/>
          <p14:tracePt t="12188" x="1217613" y="1949450"/>
          <p14:tracePt t="12190" x="1220788" y="1949450"/>
          <p14:tracePt t="12191" x="1228725" y="1954213"/>
          <p14:tracePt t="12191" x="1236663" y="1954213"/>
          <p14:tracePt t="12193" x="1236663" y="1957388"/>
          <p14:tracePt t="12194" x="1244600" y="1957388"/>
          <p14:tracePt t="12195" x="1249363" y="1957388"/>
          <p14:tracePt t="12195" x="1257300" y="1962150"/>
          <p14:tracePt t="12196" x="1260475" y="1962150"/>
          <p14:tracePt t="12197" x="1270000" y="1962150"/>
          <p14:tracePt t="12198" x="1273175" y="1962150"/>
          <p14:tracePt t="12199" x="1281113" y="1965325"/>
          <p14:tracePt t="12200" x="1289050" y="1965325"/>
          <p14:tracePt t="12201" x="1293813" y="1965325"/>
          <p14:tracePt t="12202" x="1296988" y="1965325"/>
          <p14:tracePt t="12203" x="1304925" y="1970088"/>
          <p14:tracePt t="12204" x="1309688" y="1970088"/>
          <p14:tracePt t="12205" x="1317625" y="1970088"/>
          <p14:tracePt t="12207" x="1320800" y="1973263"/>
          <p14:tracePt t="12207" x="1328738" y="1973263"/>
          <p14:tracePt t="12209" x="1333500" y="1973263"/>
          <p14:tracePt t="12209" x="1333500" y="1978025"/>
          <p14:tracePt t="12210" x="1341438" y="1978025"/>
          <p14:tracePt t="12211" x="1344613" y="1978025"/>
          <p14:tracePt t="12212" x="1349375" y="1978025"/>
          <p14:tracePt t="12213" x="1352550" y="1978025"/>
          <p14:tracePt t="12214" x="1357313" y="1978025"/>
          <p14:tracePt t="12215" x="1365250" y="1978025"/>
          <p14:tracePt t="12216" x="1370013" y="1981200"/>
          <p14:tracePt t="12217" x="1373188" y="1981200"/>
          <p14:tracePt t="12218" x="1377950" y="1981200"/>
          <p14:tracePt t="12219" x="1381125" y="1981200"/>
          <p14:tracePt t="12220" x="1385888" y="1981200"/>
          <p14:tracePt t="12224" x="1389063" y="1981200"/>
          <p14:tracePt t="12224" x="1393825" y="1981200"/>
          <p14:tracePt t="12225" x="1397000" y="1981200"/>
          <p14:tracePt t="12226" x="1401763" y="1981200"/>
          <p14:tracePt t="12227" x="1404938" y="1981200"/>
          <p14:tracePt t="12228" x="1409700" y="1981200"/>
          <p14:tracePt t="12229" x="1412875" y="1981200"/>
          <p14:tracePt t="12230" x="1417638" y="1981200"/>
          <p14:tracePt t="12231" x="1420813" y="1981200"/>
          <p14:tracePt t="12232" x="1425575" y="1981200"/>
          <p14:tracePt t="12234" x="1428750" y="1981200"/>
          <p14:tracePt t="12235" x="1433513" y="1981200"/>
          <p14:tracePt t="12236" x="1436688" y="1981200"/>
          <p14:tracePt t="12237" x="1441450" y="1981200"/>
          <p14:tracePt t="12238" x="1446213" y="1981200"/>
          <p14:tracePt t="12240" x="1449388" y="1981200"/>
          <p14:tracePt t="12241" x="1454150" y="1981200"/>
          <p14:tracePt t="12242" x="1457325" y="1981200"/>
          <p14:tracePt t="12243" x="1462088" y="1981200"/>
          <p14:tracePt t="12244" x="1465263" y="1981200"/>
          <p14:tracePt t="12247" x="1470025" y="1981200"/>
          <p14:tracePt t="12248" x="1473200" y="1981200"/>
          <p14:tracePt t="12249" x="1477963" y="1981200"/>
          <p14:tracePt t="12250" x="1481138" y="1981200"/>
          <p14:tracePt t="12251" x="1485900" y="1981200"/>
          <p14:tracePt t="12252" x="1489075" y="1981200"/>
          <p14:tracePt t="12253" x="1493838" y="1981200"/>
          <p14:tracePt t="12255" x="1497013" y="1981200"/>
          <p14:tracePt t="12257" x="1501775" y="1981200"/>
          <p14:tracePt t="12257" x="1504950" y="1981200"/>
          <p14:tracePt t="12260" x="1509713" y="1981200"/>
          <p14:tracePt t="12261" x="1512888" y="1981200"/>
          <p14:tracePt t="12263" x="1517650" y="1981200"/>
          <p14:tracePt t="12266" x="1520825" y="1981200"/>
          <p14:tracePt t="12267" x="1520825" y="1978025"/>
          <p14:tracePt t="12268" x="1525588" y="1978025"/>
          <p14:tracePt t="12270" x="1528763" y="1978025"/>
          <p14:tracePt t="12275" x="1528763" y="1973263"/>
          <p14:tracePt t="12276" x="1533525" y="1973263"/>
          <p14:tracePt t="12335" x="1528763" y="1973263"/>
          <p14:tracePt t="12336" x="1528763" y="1970088"/>
          <p14:tracePt t="12337" x="1525588" y="1970088"/>
          <p14:tracePt t="12340" x="1520825" y="1970088"/>
          <p14:tracePt t="12342" x="1517650" y="1970088"/>
          <p14:tracePt t="12343" x="1517650" y="1965325"/>
          <p14:tracePt t="12343" x="1512888" y="1965325"/>
          <p14:tracePt t="12345" x="1509713" y="1965325"/>
          <p14:tracePt t="12348" x="1504950" y="1965325"/>
          <p14:tracePt t="12349" x="1504950" y="1962150"/>
          <p14:tracePt t="12350" x="1501775" y="1962150"/>
          <p14:tracePt t="12351" x="1497013" y="1962150"/>
          <p14:tracePt t="12352" x="1493838" y="1962150"/>
          <p14:tracePt t="12353" x="1489075" y="1957388"/>
          <p14:tracePt t="12354" x="1485900" y="1957388"/>
          <p14:tracePt t="12357" x="1481138" y="1957388"/>
          <p14:tracePt t="12358" x="1477963" y="1957388"/>
          <p14:tracePt t="12359" x="1473200" y="1957388"/>
          <p14:tracePt t="12360" x="1470025" y="1954213"/>
          <p14:tracePt t="12363" x="1465263" y="1954213"/>
          <p14:tracePt t="12364" x="1462088" y="1954213"/>
          <p14:tracePt t="12365" x="1457325" y="1954213"/>
          <p14:tracePt t="12366" x="1454150" y="1954213"/>
          <p14:tracePt t="12367" x="1449388" y="1954213"/>
          <p14:tracePt t="12368" x="1446213" y="1954213"/>
          <p14:tracePt t="12369" x="1441450" y="1954213"/>
          <p14:tracePt t="12370" x="1436688" y="1949450"/>
          <p14:tracePt t="12372" x="1428750" y="1949450"/>
          <p14:tracePt t="12374" x="1425575" y="1949450"/>
          <p14:tracePt t="12376" x="1420813" y="1949450"/>
          <p14:tracePt t="12378" x="1417638" y="1949450"/>
          <p14:tracePt t="12378" x="1412875" y="1949450"/>
          <p14:tracePt t="12380" x="1409700" y="1949450"/>
          <p14:tracePt t="12381" x="1404938" y="1949450"/>
          <p14:tracePt t="12383" x="1401763" y="1949450"/>
          <p14:tracePt t="12384" x="1397000" y="1949450"/>
          <p14:tracePt t="12386" x="1393825" y="1949450"/>
          <p14:tracePt t="12388" x="1389063" y="1949450"/>
          <p14:tracePt t="12390" x="1385888" y="1949450"/>
          <p14:tracePt t="12391" x="1381125" y="1949450"/>
          <p14:tracePt t="12396" x="1377950" y="1949450"/>
          <p14:tracePt t="12398" x="1373188" y="1949450"/>
          <p14:tracePt t="12403" x="1370013" y="1949450"/>
          <p14:tracePt t="12439" x="1365250" y="1949450"/>
          <p14:tracePt t="12465" x="1365250" y="1954213"/>
          <p14:tracePt t="12473" x="1365250" y="1957388"/>
          <p14:tracePt t="12484" x="1365250" y="1962150"/>
          <p14:tracePt t="12486" x="1362075" y="1962150"/>
          <p14:tracePt t="12487" x="1362075" y="1965325"/>
          <p14:tracePt t="12496" x="1362075" y="1970088"/>
          <p14:tracePt t="12594" x="1362075" y="1973263"/>
          <p14:tracePt t="12606" x="1362075" y="1978025"/>
          <p14:tracePt t="12614" x="1362075" y="1981200"/>
          <p14:tracePt t="12625" x="1365250" y="1981200"/>
          <p14:tracePt t="12635" x="1365250" y="1985963"/>
          <p14:tracePt t="12638" x="1370013" y="1985963"/>
          <p14:tracePt t="12642" x="1370013" y="1989138"/>
          <p14:tracePt t="12646" x="1373188" y="1989138"/>
          <p14:tracePt t="12653" x="1373188" y="1993900"/>
          <p14:tracePt t="12657" x="1373188" y="1997075"/>
          <p14:tracePt t="12658" x="1377950" y="1997075"/>
          <p14:tracePt t="12666" x="1377950" y="2001838"/>
          <p14:tracePt t="12671" x="1381125" y="2001838"/>
          <p14:tracePt t="12671" x="1381125" y="2005013"/>
          <p14:tracePt t="12676" x="1381125" y="2009775"/>
          <p14:tracePt t="12677" x="1385888" y="2009775"/>
          <p14:tracePt t="12679" x="1385888" y="2014538"/>
          <p14:tracePt t="12682" x="1385888" y="2017713"/>
          <p14:tracePt t="12689" x="1385888" y="2022475"/>
          <p14:tracePt t="12696" x="1385888" y="2025650"/>
          <p14:tracePt t="12702" x="1385888" y="2030413"/>
          <p14:tracePt t="12704" x="1389063" y="2030413"/>
          <p14:tracePt t="12707" x="1389063" y="2033588"/>
          <p14:tracePt t="12719" x="1389063" y="2038350"/>
          <p14:tracePt t="12729" x="1389063" y="2041525"/>
          <p14:tracePt t="12747" x="1389063" y="2046288"/>
          <p14:tracePt t="12753" x="1389063" y="2049463"/>
          <p14:tracePt t="12762" x="1385888" y="2049463"/>
          <p14:tracePt t="12763" x="1385888" y="2054225"/>
          <p14:tracePt t="12766" x="1381125" y="2054225"/>
          <p14:tracePt t="12777" x="1381125" y="2057400"/>
          <p14:tracePt t="12780" x="1377950" y="2057400"/>
          <p14:tracePt t="12784" x="1373188" y="2057400"/>
          <p14:tracePt t="12789" x="1370013" y="2057400"/>
          <p14:tracePt t="12793" x="1365250" y="2057400"/>
          <p14:tracePt t="12796" x="1362075" y="2057400"/>
          <p14:tracePt t="12796" x="1362075" y="2062163"/>
          <p14:tracePt t="12798" x="1357313" y="2062163"/>
          <p14:tracePt t="12801" x="1352550" y="2062163"/>
          <p14:tracePt t="12803" x="1349375" y="2062163"/>
          <p14:tracePt t="12807" x="1344613" y="2062163"/>
          <p14:tracePt t="12808" x="1341438" y="2062163"/>
          <p14:tracePt t="12814" x="1336675" y="2062163"/>
          <p14:tracePt t="12816" x="1333500" y="2062163"/>
          <p14:tracePt t="12817" x="1328738" y="2062163"/>
          <p14:tracePt t="12819" x="1325563" y="2062163"/>
          <p14:tracePt t="12821" x="1320800" y="2062163"/>
          <p14:tracePt t="12824" x="1317625" y="2062163"/>
          <p14:tracePt t="12824" x="1312863" y="2062163"/>
          <p14:tracePt t="12827" x="1309688" y="2062163"/>
          <p14:tracePt t="12827" x="1304925" y="2062163"/>
          <p14:tracePt t="12829" x="1301750" y="2062163"/>
          <p14:tracePt t="12831" x="1301750" y="2057400"/>
          <p14:tracePt t="12833" x="1296988" y="2057400"/>
          <p14:tracePt t="12835" x="1293813" y="2057400"/>
          <p14:tracePt t="12836" x="1289050" y="2054225"/>
          <p14:tracePt t="12837" x="1285875" y="2054225"/>
          <p14:tracePt t="12840" x="1281113" y="2049463"/>
          <p14:tracePt t="12841" x="1277938" y="2049463"/>
          <p14:tracePt t="12843" x="1273175" y="2049463"/>
          <p14:tracePt t="12843" x="1270000" y="2049463"/>
          <p14:tracePt t="12844" x="1270000" y="2046288"/>
          <p14:tracePt t="12845" x="1265238" y="2046288"/>
          <p14:tracePt t="12846" x="1260475" y="2046288"/>
          <p14:tracePt t="12849" x="1257300" y="2041525"/>
          <p14:tracePt t="12850" x="1252538" y="2041525"/>
          <p14:tracePt t="12851" x="1249363" y="2038350"/>
          <p14:tracePt t="12853" x="1244600" y="2033588"/>
          <p14:tracePt t="12854" x="1241425" y="2033588"/>
          <p14:tracePt t="12855" x="1236663" y="2030413"/>
          <p14:tracePt t="12857" x="1233488" y="2030413"/>
          <p14:tracePt t="12858" x="1228725" y="2025650"/>
          <p14:tracePt t="12859" x="1225550" y="2025650"/>
          <p14:tracePt t="12859" x="1220788" y="2025650"/>
          <p14:tracePt t="12862" x="1217613" y="2025650"/>
          <p14:tracePt t="12863" x="1217613" y="2022475"/>
          <p14:tracePt t="12863" x="1212850" y="2022475"/>
          <p14:tracePt t="12864" x="1209675" y="2017713"/>
          <p14:tracePt t="12865" x="1204913" y="2017713"/>
          <p14:tracePt t="12866" x="1201738" y="2014538"/>
          <p14:tracePt t="12867" x="1196975" y="2009775"/>
          <p14:tracePt t="12868" x="1193800" y="2009775"/>
          <p14:tracePt t="12869" x="1189038" y="2005013"/>
          <p14:tracePt t="12870" x="1185863" y="2005013"/>
          <p14:tracePt t="12871" x="1181100" y="2001838"/>
          <p14:tracePt t="12872" x="1177925" y="2001838"/>
          <p14:tracePt t="12874" x="1177925" y="1997075"/>
          <p14:tracePt t="12875" x="1173163" y="1993900"/>
          <p14:tracePt t="12876" x="1168400" y="1993900"/>
          <p14:tracePt t="12877" x="1165225" y="1989138"/>
          <p14:tracePt t="12878" x="1165225" y="1985963"/>
          <p14:tracePt t="12879" x="1160463" y="1985963"/>
          <p14:tracePt t="12880" x="1157288" y="1985963"/>
          <p14:tracePt t="12881" x="1152525" y="1985963"/>
          <p14:tracePt t="12883" x="1149350" y="1981200"/>
          <p14:tracePt t="12884" x="1144588" y="1981200"/>
          <p14:tracePt t="12885" x="1144588" y="1978025"/>
          <p14:tracePt t="12886" x="1141413" y="1978025"/>
          <p14:tracePt t="12887" x="1136650" y="1973263"/>
          <p14:tracePt t="12890" x="1133475" y="1973263"/>
          <p14:tracePt t="12892" x="1133475" y="1970088"/>
          <p14:tracePt t="12894" x="1128713" y="1970088"/>
          <p14:tracePt t="12895" x="1128713" y="1965325"/>
          <p14:tracePt t="12898" x="1125538" y="1965325"/>
          <p14:tracePt t="12968" x="1125538" y="1970088"/>
          <p14:tracePt t="12970" x="1128713" y="1973263"/>
          <p14:tracePt t="12972" x="1128713" y="1978025"/>
          <p14:tracePt t="12974" x="1128713" y="1981200"/>
          <p14:tracePt t="12977" x="1133475" y="1985963"/>
          <p14:tracePt t="12977" x="1133475" y="1989138"/>
          <p14:tracePt t="12979" x="1136650" y="1993900"/>
          <p14:tracePt t="12980" x="1136650" y="1997075"/>
          <p14:tracePt t="12981" x="1141413" y="2001838"/>
          <p14:tracePt t="12982" x="1141413" y="2005013"/>
          <p14:tracePt t="12983" x="1144588" y="2009775"/>
          <p14:tracePt t="12984" x="1149350" y="2014538"/>
          <p14:tracePt t="12985" x="1149350" y="2017713"/>
          <p14:tracePt t="12986" x="1152525" y="2022475"/>
          <p14:tracePt t="12987" x="1157288" y="2030413"/>
          <p14:tracePt t="12990" x="1160463" y="2033588"/>
          <p14:tracePt t="12991" x="1165225" y="2038350"/>
          <p14:tracePt t="12992" x="1168400" y="2046288"/>
          <p14:tracePt t="12993" x="1173163" y="2054225"/>
          <p14:tracePt t="12994" x="1177925" y="2057400"/>
          <p14:tracePt t="12995" x="1181100" y="2062163"/>
          <p14:tracePt t="12996" x="1181100" y="2065338"/>
          <p14:tracePt t="12997" x="1185863" y="2073275"/>
          <p14:tracePt t="12999" x="1189038" y="2078038"/>
          <p14:tracePt t="12999" x="1193800" y="2081213"/>
          <p14:tracePt t="13001" x="1196975" y="2085975"/>
          <p14:tracePt t="13001" x="1201738" y="2093913"/>
          <p14:tracePt t="13003" x="1204913" y="2093913"/>
          <p14:tracePt t="13003" x="1209675" y="2101850"/>
          <p14:tracePt t="13004" x="1212850" y="2106613"/>
          <p14:tracePt t="13005" x="1217613" y="2106613"/>
          <p14:tracePt t="13007" x="1225550" y="2114550"/>
          <p14:tracePt t="13009" x="1225550" y="2117725"/>
          <p14:tracePt t="13010" x="1233488" y="2122488"/>
          <p14:tracePt t="13011" x="1233488" y="2125663"/>
          <p14:tracePt t="13012" x="1236663" y="2130425"/>
          <p14:tracePt t="13013" x="1236663" y="2133600"/>
          <p14:tracePt t="13014" x="1236663" y="2138363"/>
          <p14:tracePt t="13015" x="1241425" y="2141538"/>
          <p14:tracePt t="13018" x="1244600" y="2146300"/>
          <p14:tracePt t="13018" x="1244600" y="2149475"/>
          <p14:tracePt t="13020" x="1244600" y="2154238"/>
          <p14:tracePt t="13022" x="1249363" y="2154238"/>
          <p14:tracePt t="13026" x="1252538" y="2157413"/>
          <p14:tracePt t="13030" x="1252538" y="2162175"/>
          <p14:tracePt t="13044" x="1257300" y="2162175"/>
          <p14:tracePt t="13110" x="1257300" y="2157413"/>
          <p14:tracePt t="13141" x="1252538" y="2157413"/>
          <p14:tracePt t="13164" x="1249363" y="2157413"/>
          <p14:tracePt t="13177" x="1244600" y="2157413"/>
          <p14:tracePt t="13219" x="1241425" y="2157413"/>
          <p14:tracePt t="13227" x="1236663" y="2157413"/>
          <p14:tracePt t="13230" x="1233488" y="2157413"/>
          <p14:tracePt t="13234" x="1228725" y="2157413"/>
          <p14:tracePt t="13235" x="1225550" y="2162175"/>
          <p14:tracePt t="13238" x="1220788" y="2162175"/>
          <p14:tracePt t="13241" x="1217613" y="2162175"/>
          <p14:tracePt t="13245" x="1212850" y="2162175"/>
          <p14:tracePt t="13246" x="1212850" y="2165350"/>
          <p14:tracePt t="13248" x="1209675" y="2165350"/>
          <p14:tracePt t="13250" x="1204913" y="2165350"/>
          <p14:tracePt t="13253" x="1201738" y="2170113"/>
          <p14:tracePt t="13260" x="1196975" y="2170113"/>
          <p14:tracePt t="13263" x="1193800" y="2170113"/>
          <p14:tracePt t="13270" x="1189038" y="2170113"/>
          <p14:tracePt t="13276" x="1185863" y="2170113"/>
          <p14:tracePt t="13335" x="1181100" y="2170113"/>
          <p14:tracePt t="13441" x="1185863" y="2170113"/>
          <p14:tracePt t="13444" x="1193800" y="2170113"/>
          <p14:tracePt t="13445" x="1196975" y="2170113"/>
          <p14:tracePt t="13449" x="1201738" y="2170113"/>
          <p14:tracePt t="13451" x="1204913" y="2170113"/>
          <p14:tracePt t="13451" x="1209675" y="2170113"/>
          <p14:tracePt t="13454" x="1212850" y="2170113"/>
          <p14:tracePt t="13456" x="1217613" y="2170113"/>
          <p14:tracePt t="13458" x="1225550" y="2170113"/>
          <p14:tracePt t="13458" x="1228725" y="2170113"/>
          <p14:tracePt t="13460" x="1233488" y="2170113"/>
          <p14:tracePt t="13462" x="1236663" y="2170113"/>
          <p14:tracePt t="13463" x="1241425" y="2170113"/>
          <p14:tracePt t="13465" x="1244600" y="2170113"/>
          <p14:tracePt t="13467" x="1249363" y="2170113"/>
          <p14:tracePt t="13468" x="1252538" y="2170113"/>
          <p14:tracePt t="13469" x="1257300" y="2170113"/>
          <p14:tracePt t="13470" x="1260475" y="2170113"/>
          <p14:tracePt t="13471" x="1265238" y="2170113"/>
          <p14:tracePt t="13473" x="1273175" y="2170113"/>
          <p14:tracePt t="13475" x="1277938" y="2170113"/>
          <p14:tracePt t="13477" x="1281113" y="2170113"/>
          <p14:tracePt t="13478" x="1285875" y="2170113"/>
          <p14:tracePt t="13479" x="1289050" y="2170113"/>
          <p14:tracePt t="13482" x="1293813" y="2170113"/>
          <p14:tracePt t="13482" x="1296988" y="2170113"/>
          <p14:tracePt t="13483" x="1301750" y="2170113"/>
          <p14:tracePt t="13484" x="1301750" y="2165350"/>
          <p14:tracePt t="13485" x="1304925" y="2165350"/>
          <p14:tracePt t="13488" x="1309688" y="2165350"/>
          <p14:tracePt t="13490" x="1312863" y="2165350"/>
          <p14:tracePt t="13492" x="1317625" y="2162175"/>
          <p14:tracePt t="13498" x="1320800" y="2157413"/>
          <p14:tracePt t="13500" x="1325563" y="2157413"/>
          <p14:tracePt t="13505" x="1328738" y="2157413"/>
          <p14:tracePt t="13508" x="1333500" y="2157413"/>
          <p14:tracePt t="13512" x="1333500" y="2154238"/>
          <p14:tracePt t="13518" x="1336675" y="2154238"/>
          <p14:tracePt t="13520" x="1336675" y="2149475"/>
          <p14:tracePt t="13524" x="1341438" y="2149475"/>
          <p14:tracePt t="13525" x="1341438" y="2146300"/>
          <p14:tracePt t="13533" x="1341438" y="2141538"/>
          <p14:tracePt t="13536" x="1344613" y="2138363"/>
          <p14:tracePt t="13539" x="1344613" y="2133600"/>
          <p14:tracePt t="13544" x="1344613" y="2130425"/>
          <p14:tracePt t="13544" x="1349375" y="2130425"/>
          <p14:tracePt t="13546" x="1349375" y="2125663"/>
          <p14:tracePt t="13549" x="1349375" y="2122488"/>
          <p14:tracePt t="13555" x="1349375" y="2117725"/>
          <p14:tracePt t="13559" x="1352550" y="2117725"/>
          <p14:tracePt t="13566" x="1352550" y="2114550"/>
          <p14:tracePt t="13568" x="1352550" y="2109788"/>
          <p14:tracePt t="13572" x="1352550" y="2106613"/>
          <p14:tracePt t="13575" x="1352550" y="2101850"/>
          <p14:tracePt t="13579" x="1352550" y="2097088"/>
          <p14:tracePt t="13583" x="1352550" y="2093913"/>
          <p14:tracePt t="13586" x="1352550" y="2089150"/>
          <p14:tracePt t="13589" x="1352550" y="2085975"/>
          <p14:tracePt t="13593" x="1352550" y="2081213"/>
          <p14:tracePt t="13598" x="1352550" y="2078038"/>
          <p14:tracePt t="13602" x="1352550" y="2073275"/>
          <p14:tracePt t="13605" x="1349375" y="2073275"/>
          <p14:tracePt t="13609" x="1349375" y="2070100"/>
          <p14:tracePt t="13610" x="1344613" y="2070100"/>
          <p14:tracePt t="13613" x="1344613" y="2065338"/>
          <p14:tracePt t="13618" x="1341438" y="2062163"/>
          <p14:tracePt t="13624" x="1336675" y="2062163"/>
          <p14:tracePt t="13629" x="1333500" y="2062163"/>
          <p14:tracePt t="13630" x="1333500" y="2057400"/>
          <p14:tracePt t="13633" x="1328738" y="2057400"/>
          <p14:tracePt t="13637" x="1325563" y="2054225"/>
          <p14:tracePt t="13655" x="1325563" y="2049463"/>
          <p14:tracePt t="13738" x="1320800" y="2049463"/>
          <p14:tracePt t="13759" x="1317625" y="2049463"/>
          <p14:tracePt t="13767" x="1312863" y="2049463"/>
          <p14:tracePt t="13770" x="1309688" y="2049463"/>
          <p14:tracePt t="13774" x="1304925" y="2049463"/>
          <p14:tracePt t="13776" x="1301750" y="2049463"/>
          <p14:tracePt t="13779" x="1296988" y="2049463"/>
          <p14:tracePt t="13785" x="1293813" y="2049463"/>
          <p14:tracePt t="13787" x="1289050" y="2046288"/>
          <p14:tracePt t="13790" x="1285875" y="2046288"/>
          <p14:tracePt t="13793" x="1281113" y="2046288"/>
          <p14:tracePt t="13798" x="1277938" y="2046288"/>
          <p14:tracePt t="13799" x="1277938" y="2041525"/>
          <p14:tracePt t="13801" x="1273175" y="2041525"/>
          <p14:tracePt t="13801" x="1270000" y="2041525"/>
          <p14:tracePt t="13803" x="1265238" y="2041525"/>
          <p14:tracePt t="13804" x="1260475" y="2038350"/>
          <p14:tracePt t="13807" x="1257300" y="2038350"/>
          <p14:tracePt t="13808" x="1252538" y="2033588"/>
          <p14:tracePt t="13810" x="1249363" y="2033588"/>
          <p14:tracePt t="13811" x="1244600" y="2033588"/>
          <p14:tracePt t="13812" x="1244600" y="2030413"/>
          <p14:tracePt t="13813" x="1241425" y="2030413"/>
          <p14:tracePt t="13818" x="1233488" y="2025650"/>
          <p14:tracePt t="13819" x="1228725" y="2022475"/>
          <p14:tracePt t="13820" x="1225550" y="2022475"/>
          <p14:tracePt t="13821" x="1220788" y="2017713"/>
          <p14:tracePt t="13822" x="1217613" y="2017713"/>
          <p14:tracePt t="13824" x="1212850" y="2014538"/>
          <p14:tracePt t="13825" x="1209675" y="2014538"/>
          <p14:tracePt t="13826" x="1204913" y="2009775"/>
          <p14:tracePt t="13827" x="1201738" y="2009775"/>
          <p14:tracePt t="13828" x="1201738" y="2005013"/>
          <p14:tracePt t="13829" x="1196975" y="2005013"/>
          <p14:tracePt t="13830" x="1193800" y="2001838"/>
          <p14:tracePt t="13831" x="1189038" y="1997075"/>
          <p14:tracePt t="13832" x="1185863" y="1997075"/>
          <p14:tracePt t="13833" x="1181100" y="1997075"/>
          <p14:tracePt t="13834" x="1181100" y="1993900"/>
          <p14:tracePt t="13835" x="1177925" y="1993900"/>
          <p14:tracePt t="13836" x="1173163" y="1993900"/>
          <p14:tracePt t="13837" x="1168400" y="1993900"/>
          <p14:tracePt t="13838" x="1165225" y="1989138"/>
          <p14:tracePt t="13841" x="1160463" y="1985963"/>
          <p14:tracePt t="13842" x="1157288" y="1981200"/>
          <p14:tracePt t="13844" x="1152525" y="1978025"/>
          <p14:tracePt t="13845" x="1149350" y="1978025"/>
          <p14:tracePt t="13847" x="1144588" y="1973263"/>
          <p14:tracePt t="13848" x="1141413" y="1970088"/>
          <p14:tracePt t="13852" x="1136650" y="1965325"/>
          <p14:tracePt t="13853" x="1133475" y="1962150"/>
          <p14:tracePt t="13855" x="1128713" y="1962150"/>
          <p14:tracePt t="13857" x="1125538" y="1962150"/>
          <p14:tracePt t="13858" x="1125538" y="1957388"/>
          <p14:tracePt t="13859" x="1120775" y="1957388"/>
          <p14:tracePt t="13862" x="1117600" y="1954213"/>
          <p14:tracePt t="13949" x="1120775" y="1954213"/>
          <p14:tracePt t="13951" x="1120775" y="1957388"/>
          <p14:tracePt t="13953" x="1125538" y="1957388"/>
          <p14:tracePt t="13957" x="1128713" y="1962150"/>
          <p14:tracePt t="13960" x="1128713" y="1965325"/>
          <p14:tracePt t="13961" x="1133475" y="1965325"/>
          <p14:tracePt t="13962" x="1133475" y="1970088"/>
          <p14:tracePt t="13963" x="1136650" y="1970088"/>
          <p14:tracePt t="13965" x="1141413" y="1970088"/>
          <p14:tracePt t="13965" x="1144588" y="1973263"/>
          <p14:tracePt t="13968" x="1149350" y="1973263"/>
          <p14:tracePt t="13969" x="1152525" y="1978025"/>
          <p14:tracePt t="13971" x="1152525" y="1981200"/>
          <p14:tracePt t="13974" x="1157288" y="1985963"/>
          <p14:tracePt t="13976" x="1160463" y="1985963"/>
          <p14:tracePt t="13977" x="1160463" y="1989138"/>
          <p14:tracePt t="13979" x="1165225" y="1989138"/>
          <p14:tracePt t="13981" x="1168400" y="1989138"/>
          <p14:tracePt t="13982" x="1168400" y="1993900"/>
          <p14:tracePt t="13984" x="1173163" y="1993900"/>
          <p14:tracePt t="13987" x="1173163" y="1997075"/>
          <p14:tracePt t="13990" x="1177925" y="2001838"/>
          <p14:tracePt t="13994" x="1181100" y="2001838"/>
          <p14:tracePt t="13995" x="1181100" y="2005013"/>
          <p14:tracePt t="13996" x="1185863" y="2005013"/>
          <p14:tracePt t="14001" x="1189038" y="2005013"/>
          <p14:tracePt t="14002" x="1189038" y="2009775"/>
          <p14:tracePt t="14024" x="1189038" y="2014538"/>
          <p14:tracePt t="14066" x="1193800" y="2014538"/>
          <p14:tracePt t="14085" x="1193800" y="2017713"/>
          <p14:tracePt t="14092" x="1193800" y="2022475"/>
          <p14:tracePt t="14099" x="1196975" y="2022475"/>
          <p14:tracePt t="14104" x="1196975" y="2025650"/>
          <p14:tracePt t="14117" x="1196975" y="2030413"/>
          <p14:tracePt t="14124" x="1201738" y="2030413"/>
          <p14:tracePt t="14134" x="1204913" y="2030413"/>
          <p14:tracePt t="14144" x="1204913" y="2033588"/>
          <p14:tracePt t="14150" x="1209675" y="2033588"/>
          <p14:tracePt t="14153" x="1212850" y="2033588"/>
          <p14:tracePt t="14156" x="1212850" y="2038350"/>
          <p14:tracePt t="14158" x="1217613" y="2038350"/>
          <p14:tracePt t="14161" x="1220788" y="2038350"/>
          <p14:tracePt t="14164" x="1225550" y="2041525"/>
          <p14:tracePt t="14167" x="1228725" y="2041525"/>
          <p14:tracePt t="14169" x="1233488" y="2041525"/>
          <p14:tracePt t="14173" x="1236663" y="2041525"/>
          <p14:tracePt t="14186" x="1236663" y="2046288"/>
          <p14:tracePt t="14194" x="1241425" y="2046288"/>
          <p14:tracePt t="14266" x="1241425" y="2041525"/>
          <p14:tracePt t="14293" x="1241425" y="2038350"/>
          <p14:tracePt t="14309" x="1241425" y="2033588"/>
          <p14:tracePt t="14330" x="1241425" y="2030413"/>
          <p14:tracePt t="14402" x="1241425" y="2033588"/>
          <p14:tracePt t="14405" x="1241425" y="2038350"/>
          <p14:tracePt t="14407" x="1241425" y="2041525"/>
          <p14:tracePt t="14408" x="1244600" y="2041525"/>
          <p14:tracePt t="14409" x="1244600" y="2046288"/>
          <p14:tracePt t="14410" x="1249363" y="2046288"/>
          <p14:tracePt t="14412" x="1257300" y="2054225"/>
          <p14:tracePt t="14413" x="1260475" y="2057400"/>
          <p14:tracePt t="14414" x="1265238" y="2062163"/>
          <p14:tracePt t="14415" x="1270000" y="2065338"/>
          <p14:tracePt t="14416" x="1273175" y="2070100"/>
          <p14:tracePt t="14417" x="1281113" y="2070100"/>
          <p14:tracePt t="14420" x="1285875" y="2073275"/>
          <p14:tracePt t="14420" x="1293813" y="2078038"/>
          <p14:tracePt t="14421" x="1296988" y="2081213"/>
          <p14:tracePt t="14422" x="1301750" y="2085975"/>
          <p14:tracePt t="14425" x="1312863" y="2093913"/>
          <p14:tracePt t="14426" x="1325563" y="2101850"/>
          <p14:tracePt t="14427" x="1333500" y="2106613"/>
          <p14:tracePt t="14429" x="1336675" y="2106613"/>
          <p14:tracePt t="14429" x="1344613" y="2109788"/>
          <p14:tracePt t="14431" x="1352550" y="2117725"/>
          <p14:tracePt t="14431" x="1365250" y="2125663"/>
          <p14:tracePt t="14432" x="1373188" y="2125663"/>
          <p14:tracePt t="14433" x="1381125" y="2130425"/>
          <p14:tracePt t="14434" x="1389063" y="2133600"/>
          <p14:tracePt t="14436" x="1397000" y="2138363"/>
          <p14:tracePt t="14436" x="1404938" y="2141538"/>
          <p14:tracePt t="14437" x="1417638" y="2146300"/>
          <p14:tracePt t="14438" x="1425575" y="2149475"/>
          <p14:tracePt t="14439" x="1433513" y="2154238"/>
          <p14:tracePt t="14441" x="1441450" y="2157413"/>
          <p14:tracePt t="14442" x="1449388" y="2162175"/>
          <p14:tracePt t="14443" x="1457325" y="2165350"/>
          <p14:tracePt t="14445" x="1489075" y="2178050"/>
          <p14:tracePt t="14446" x="1497013" y="2181225"/>
          <p14:tracePt t="14447" x="1501775" y="2181225"/>
          <p14:tracePt t="14448" x="1509713" y="2185988"/>
          <p14:tracePt t="14449" x="1517650" y="2185988"/>
          <p14:tracePt t="14450" x="1528763" y="2189163"/>
          <p14:tracePt t="14451" x="1538288" y="2189163"/>
          <p14:tracePt t="14452" x="1546225" y="2189163"/>
          <p14:tracePt t="14453" x="1554163" y="2193925"/>
          <p14:tracePt t="14455" x="1562100" y="2193925"/>
          <p14:tracePt t="14455" x="1570038" y="2198688"/>
          <p14:tracePt t="14457" x="1585913" y="2201863"/>
          <p14:tracePt t="14458" x="1589088" y="2201863"/>
          <p14:tracePt t="14461" x="1612900" y="2206625"/>
          <p14:tracePt t="14462" x="1617663" y="2206625"/>
          <p14:tracePt t="14463" x="1625600" y="2206625"/>
          <p14:tracePt t="14463" x="1633538" y="2209800"/>
          <p14:tracePt t="14464" x="1638300" y="2209800"/>
          <p14:tracePt t="14465" x="1646238" y="2209800"/>
          <p14:tracePt t="14466" x="1654175" y="2209800"/>
          <p14:tracePt t="14468" x="1657350" y="2209800"/>
          <p14:tracePt t="14469" x="1665288" y="2214563"/>
          <p14:tracePt t="14470" x="1670050" y="2214563"/>
          <p14:tracePt t="14472" x="1677988" y="2214563"/>
          <p14:tracePt t="14472" x="1685925" y="2214563"/>
          <p14:tracePt t="14474" x="1689100" y="2217738"/>
          <p14:tracePt t="14474" x="1693863" y="2217738"/>
          <p14:tracePt t="14475" x="1697038" y="2217738"/>
          <p14:tracePt t="14476" x="1704975" y="2217738"/>
          <p14:tracePt t="14477" x="1709738" y="2217738"/>
          <p14:tracePt t="14478" x="1712913" y="2217738"/>
          <p14:tracePt t="14479" x="1717675" y="2217738"/>
          <p14:tracePt t="14480" x="1722438" y="2217738"/>
          <p14:tracePt t="14481" x="1725613" y="2217738"/>
          <p14:tracePt t="14482" x="1725613" y="2222500"/>
          <p14:tracePt t="14483" x="1730375" y="2222500"/>
          <p14:tracePt t="14485" x="1733550" y="2222500"/>
          <p14:tracePt t="14486" x="1738313" y="2222500"/>
          <p14:tracePt t="14488" x="1741488" y="2222500"/>
          <p14:tracePt t="14490" x="1746250" y="2222500"/>
          <p14:tracePt t="14492" x="1749425" y="2222500"/>
          <p14:tracePt t="14498" x="1754188" y="2222500"/>
          <p14:tracePt t="14504" x="1754188" y="2217738"/>
          <p14:tracePt t="14509" x="1757363" y="2217738"/>
          <p14:tracePt t="14511" x="1757363" y="2214563"/>
          <p14:tracePt t="14515" x="1757363" y="2209800"/>
          <p14:tracePt t="14519" x="1757363" y="2206625"/>
          <p14:tracePt t="14521" x="1757363" y="2201863"/>
          <p14:tracePt t="14522" x="1757363" y="2198688"/>
          <p14:tracePt t="14524" x="1757363" y="2193925"/>
          <p14:tracePt t="14526" x="1762125" y="2189163"/>
          <p14:tracePt t="14529" x="1762125" y="2185988"/>
          <p14:tracePt t="14529" x="1762125" y="2181225"/>
          <p14:tracePt t="14532" x="1762125" y="2173288"/>
          <p14:tracePt t="14535" x="1762125" y="2170113"/>
          <p14:tracePt t="14536" x="1762125" y="2165350"/>
          <p14:tracePt t="14538" x="1762125" y="2162175"/>
          <p14:tracePt t="14539" x="1762125" y="2157413"/>
          <p14:tracePt t="14540" x="1762125" y="2154238"/>
          <p14:tracePt t="14542" x="1762125" y="2149475"/>
          <p14:tracePt t="14543" x="1757363" y="2146300"/>
          <p14:tracePt t="14545" x="1757363" y="2141538"/>
          <p14:tracePt t="14545" x="1757363" y="2138363"/>
          <p14:tracePt t="14546" x="1757363" y="2133600"/>
          <p14:tracePt t="14549" x="1754188" y="2130425"/>
          <p14:tracePt t="14551" x="1749425" y="2122488"/>
          <p14:tracePt t="14551" x="1749425" y="2117725"/>
          <p14:tracePt t="14552" x="1746250" y="2114550"/>
          <p14:tracePt t="14554" x="1741488" y="2109788"/>
          <p14:tracePt t="14555" x="1741488" y="2106613"/>
          <p14:tracePt t="14557" x="1738313" y="2093913"/>
          <p14:tracePt t="14558" x="1733550" y="2089150"/>
          <p14:tracePt t="14559" x="1733550" y="2085975"/>
          <p14:tracePt t="14560" x="1730375" y="2081213"/>
          <p14:tracePt t="14563" x="1730375" y="2078038"/>
          <p14:tracePt t="14564" x="1725613" y="2073275"/>
          <p14:tracePt t="14566" x="1717675" y="2070100"/>
          <p14:tracePt t="14567" x="1712913" y="2065338"/>
          <p14:tracePt t="14567" x="1709738" y="2057400"/>
          <p14:tracePt t="14568" x="1704975" y="2057400"/>
          <p14:tracePt t="14569" x="1701800" y="2054225"/>
          <p14:tracePt t="14570" x="1697038" y="2049463"/>
          <p14:tracePt t="14571" x="1689100" y="2046288"/>
          <p14:tracePt t="14572" x="1685925" y="2041525"/>
          <p14:tracePt t="14574" x="1681163" y="2038350"/>
          <p14:tracePt t="14574" x="1673225" y="2033588"/>
          <p14:tracePt t="14576" x="1665288" y="2030413"/>
          <p14:tracePt t="14577" x="1657350" y="2025650"/>
          <p14:tracePt t="14579" x="1657350" y="2022475"/>
          <p14:tracePt t="14580" x="1649413" y="2017713"/>
          <p14:tracePt t="14580" x="1646238" y="2017713"/>
          <p14:tracePt t="14581" x="1638300" y="2014538"/>
          <p14:tracePt t="14582" x="1625600" y="2005013"/>
          <p14:tracePt t="14584" x="1617663" y="2001838"/>
          <p14:tracePt t="14585" x="1604963" y="1997075"/>
          <p14:tracePt t="14586" x="1597025" y="1993900"/>
          <p14:tracePt t="14588" x="1589088" y="1993900"/>
          <p14:tracePt t="14588" x="1585913" y="1989138"/>
          <p14:tracePt t="14589" x="1577975" y="1985963"/>
          <p14:tracePt t="14590" x="1573213" y="1985963"/>
          <p14:tracePt t="14591" x="1565275" y="1981200"/>
          <p14:tracePt t="14593" x="1557338" y="1978025"/>
          <p14:tracePt t="14594" x="1549400" y="1978025"/>
          <p14:tracePt t="14595" x="1546225" y="1973263"/>
          <p14:tracePt t="14596" x="1538288" y="1973263"/>
          <p14:tracePt t="14598" x="1525588" y="1970088"/>
          <p14:tracePt t="14598" x="1520825" y="1970088"/>
          <p14:tracePt t="14599" x="1517650" y="1970088"/>
          <p14:tracePt t="14600" x="1512888" y="1965325"/>
          <p14:tracePt t="14601" x="1509713" y="1965325"/>
          <p14:tracePt t="14602" x="1501775" y="1965325"/>
          <p14:tracePt t="14603" x="1497013" y="1962150"/>
          <p14:tracePt t="14604" x="1493838" y="1962150"/>
          <p14:tracePt t="14605" x="1489075" y="1962150"/>
          <p14:tracePt t="14607" x="1477963" y="1962150"/>
          <p14:tracePt t="14609" x="1473200" y="1962150"/>
          <p14:tracePt t="14610" x="1465263" y="1962150"/>
          <p14:tracePt t="14614" x="1462088" y="1962150"/>
          <p14:tracePt t="14614" x="1457325" y="1962150"/>
          <p14:tracePt t="14617" x="1454150" y="1962150"/>
          <p14:tracePt t="14620" x="1449388" y="1962150"/>
          <p14:tracePt t="14624" x="1446213" y="1962150"/>
          <p14:tracePt t="14645" x="1446213" y="1965325"/>
          <p14:tracePt t="14648" x="1449388" y="1965325"/>
          <p14:tracePt t="14649" x="1449388" y="1970088"/>
          <p14:tracePt t="14650" x="1449388" y="1973263"/>
          <p14:tracePt t="14651" x="1454150" y="1973263"/>
          <p14:tracePt t="14652" x="1457325" y="1978025"/>
          <p14:tracePt t="14653" x="1462088" y="1981200"/>
          <p14:tracePt t="14654" x="1462088" y="1985963"/>
          <p14:tracePt t="14655" x="1462088" y="1989138"/>
          <p14:tracePt t="14657" x="1473200" y="2001838"/>
          <p14:tracePt t="14659" x="1477963" y="2005013"/>
          <p14:tracePt t="14660" x="1481138" y="2009775"/>
          <p14:tracePt t="14660" x="1489075" y="2014538"/>
          <p14:tracePt t="14661" x="1493838" y="2017713"/>
          <p14:tracePt t="14662" x="1501775" y="2022475"/>
          <p14:tracePt t="14663" x="1509713" y="2030413"/>
          <p14:tracePt t="14664" x="1520825" y="2033588"/>
          <p14:tracePt t="14665" x="1528763" y="2038350"/>
          <p14:tracePt t="14666" x="1538288" y="2041525"/>
          <p14:tracePt t="14667" x="1546225" y="2049463"/>
          <p14:tracePt t="14668" x="1562100" y="2057400"/>
          <p14:tracePt t="14669" x="1570038" y="2065338"/>
          <p14:tracePt t="14670" x="1577975" y="2070100"/>
          <p14:tracePt t="14671" x="1593850" y="2073275"/>
          <p14:tracePt t="14672" x="1601788" y="2078038"/>
          <p14:tracePt t="14674" x="1620838" y="2089150"/>
          <p14:tracePt t="14674" x="1638300" y="2093913"/>
          <p14:tracePt t="14677" x="1657350" y="2106613"/>
          <p14:tracePt t="14678" x="1673225" y="2114550"/>
          <p14:tracePt t="14679" x="1693863" y="2117725"/>
          <p14:tracePt t="14679" x="1704975" y="2125663"/>
          <p14:tracePt t="14680" x="1725613" y="2130425"/>
          <p14:tracePt t="14681" x="1741488" y="2138363"/>
          <p14:tracePt t="14682" x="1754188" y="2141538"/>
          <p14:tracePt t="14683" x="1781175" y="2146300"/>
          <p14:tracePt t="14684" x="1801813" y="2149475"/>
          <p14:tracePt t="14685" x="1814513" y="2154238"/>
          <p14:tracePt t="14686" x="1830388" y="2162175"/>
          <p14:tracePt t="14687" x="1849438" y="2165350"/>
          <p14:tracePt t="14688" x="1878013" y="2170113"/>
          <p14:tracePt t="14689" x="1898650" y="2178050"/>
          <p14:tracePt t="14691" x="1909763" y="2181225"/>
          <p14:tracePt t="14691" x="1930400" y="2185988"/>
          <p14:tracePt t="14692" x="1949450" y="2189163"/>
          <p14:tracePt t="14695" x="1998663" y="2198688"/>
          <p14:tracePt t="14696" x="2017713" y="2201863"/>
          <p14:tracePt t="14697" x="2038350" y="2206625"/>
          <p14:tracePt t="14697" x="2065338" y="2209800"/>
          <p14:tracePt t="14698" x="2090738" y="2209800"/>
          <p14:tracePt t="14699" x="2109788" y="2217738"/>
          <p14:tracePt t="14700" x="2130425" y="2222500"/>
          <p14:tracePt t="14701" x="2157413" y="2222500"/>
          <p14:tracePt t="14702" x="2178050" y="2225675"/>
          <p14:tracePt t="14703" x="2209800" y="2225675"/>
          <p14:tracePt t="14704" x="2238375" y="2230438"/>
          <p14:tracePt t="14705" x="2259013" y="2230438"/>
          <p14:tracePt t="14707" x="2301875" y="2238375"/>
          <p14:tracePt t="14708" x="2338388" y="2241550"/>
          <p14:tracePt t="14711" x="2382838" y="2246313"/>
          <p14:tracePt t="14712" x="2409825" y="2246313"/>
          <p14:tracePt t="14712" x="2438400" y="2254250"/>
          <p14:tracePt t="14713" x="2470150" y="2254250"/>
          <p14:tracePt t="14714" x="2498725" y="2257425"/>
          <p14:tracePt t="14715" x="2517775" y="2257425"/>
          <p14:tracePt t="14716" x="2546350" y="2265363"/>
          <p14:tracePt t="14717" x="2570163" y="2265363"/>
          <p14:tracePt t="14718" x="2590800" y="2270125"/>
          <p14:tracePt t="14719" x="2627313" y="2270125"/>
          <p14:tracePt t="14720" x="2646363" y="2270125"/>
          <p14:tracePt t="14721" x="2667000" y="2273300"/>
          <p14:tracePt t="14722" x="2682875" y="2273300"/>
          <p14:tracePt t="14724" x="2719388" y="2273300"/>
          <p14:tracePt t="14724" x="2735263" y="2273300"/>
          <p14:tracePt t="14726" x="2754313" y="2273300"/>
          <p14:tracePt t="14726" x="2774950" y="2273300"/>
          <p14:tracePt t="14727" x="2786063" y="2273300"/>
          <p14:tracePt t="14728" x="2806700" y="2278063"/>
          <p14:tracePt t="14729" x="2827338" y="2278063"/>
          <p14:tracePt t="14730" x="2838450" y="2278063"/>
          <p14:tracePt t="14731" x="2859088" y="2278063"/>
          <p14:tracePt t="14732" x="2874963" y="2278063"/>
          <p14:tracePt t="14734" x="2890838" y="2278063"/>
          <p14:tracePt t="14734" x="2906713" y="2278063"/>
          <p14:tracePt t="14735" x="2914650" y="2278063"/>
          <p14:tracePt t="14736" x="2927350" y="2278063"/>
          <p14:tracePt t="14737" x="2935288" y="2278063"/>
          <p14:tracePt t="14738" x="2943225" y="2278063"/>
          <p14:tracePt t="14739" x="2959100" y="2278063"/>
          <p14:tracePt t="14740" x="2967038" y="2278063"/>
          <p14:tracePt t="14742" x="2974975" y="2278063"/>
          <p14:tracePt t="14742" x="2978150" y="2278063"/>
          <p14:tracePt t="14743" x="2987675" y="2278063"/>
          <p14:tracePt t="14744" x="2990850" y="2273300"/>
          <p14:tracePt t="14745" x="2995613" y="2273300"/>
          <p14:tracePt t="14746" x="2998788" y="2273300"/>
          <p14:tracePt t="14747" x="3003550" y="2273300"/>
          <p14:tracePt t="14748" x="3003550" y="2270125"/>
          <p14:tracePt t="14750" x="3006725" y="2270125"/>
          <p14:tracePt t="14752" x="3011488" y="2265363"/>
          <p14:tracePt t="14770" x="3011488" y="2262188"/>
          <p14:tracePt t="14787" x="3011488" y="2257425"/>
          <p14:tracePt t="14789" x="3006725" y="2257425"/>
          <p14:tracePt t="14789" x="3006725" y="2254250"/>
          <p14:tracePt t="14792" x="3003550" y="2254250"/>
          <p14:tracePt t="14792" x="3003550" y="2249488"/>
          <p14:tracePt t="14793" x="2998788" y="2249488"/>
          <p14:tracePt t="14796" x="2995613" y="2249488"/>
          <p14:tracePt t="14796" x="2995613" y="2246313"/>
          <p14:tracePt t="14797" x="2990850" y="2246313"/>
          <p14:tracePt t="14798" x="2990850" y="2241550"/>
          <p14:tracePt t="14799" x="2987675" y="2241550"/>
          <p14:tracePt t="14800" x="2982913" y="2238375"/>
          <p14:tracePt t="14802" x="2978150" y="2233613"/>
          <p14:tracePt t="14804" x="2974975" y="2233613"/>
          <p14:tracePt t="14805" x="2970213" y="2230438"/>
          <p14:tracePt t="14807" x="2967038" y="2230438"/>
          <p14:tracePt t="14808" x="2962275" y="2225675"/>
          <p14:tracePt t="14812" x="2959100" y="2222500"/>
          <p14:tracePt t="14813" x="2954338" y="2222500"/>
          <p14:tracePt t="14813" x="2951163" y="2222500"/>
          <p14:tracePt t="14815" x="2943225" y="2222500"/>
          <p14:tracePt t="14816" x="2943225" y="2217738"/>
          <p14:tracePt t="14817" x="2938463" y="2217738"/>
          <p14:tracePt t="14818" x="2935288" y="2217738"/>
          <p14:tracePt t="14819" x="2930525" y="2214563"/>
          <p14:tracePt t="14820" x="2927350" y="2214563"/>
          <p14:tracePt t="14821" x="2922588" y="2214563"/>
          <p14:tracePt t="14822" x="2922588" y="2209800"/>
          <p14:tracePt t="14825" x="2919413" y="2209800"/>
          <p14:tracePt t="14825" x="2914650" y="2209800"/>
          <p14:tracePt t="14828" x="2911475" y="2209800"/>
          <p14:tracePt t="14828" x="2906713" y="2209800"/>
          <p14:tracePt t="14830" x="2903538" y="2209800"/>
          <p14:tracePt t="14833" x="2898775" y="2206625"/>
          <p14:tracePt t="14835" x="2895600" y="2206625"/>
          <p14:tracePt t="14843" x="2890838" y="2206625"/>
          <p14:tracePt t="14892" x="2895600" y="2206625"/>
          <p14:tracePt t="14900" x="2898775" y="2206625"/>
          <p14:tracePt t="14903" x="2903538" y="2206625"/>
          <p14:tracePt t="14904" x="2906713" y="2206625"/>
          <p14:tracePt t="14907" x="2911475" y="2206625"/>
          <p14:tracePt t="14909" x="2914650" y="2206625"/>
          <p14:tracePt t="14911" x="2919413" y="2206625"/>
          <p14:tracePt t="14914" x="2922588" y="2206625"/>
          <p14:tracePt t="14915" x="2930525" y="2206625"/>
          <p14:tracePt t="14916" x="2935288" y="2206625"/>
          <p14:tracePt t="14918" x="2938463" y="2206625"/>
          <p14:tracePt t="14919" x="2943225" y="2206625"/>
          <p14:tracePt t="14921" x="2946400" y="2206625"/>
          <p14:tracePt t="14921" x="2954338" y="2206625"/>
          <p14:tracePt t="14922" x="2959100" y="2206625"/>
          <p14:tracePt t="14924" x="2967038" y="2206625"/>
          <p14:tracePt t="14926" x="2970213" y="2206625"/>
          <p14:tracePt t="14928" x="2978150" y="2206625"/>
          <p14:tracePt t="14929" x="2982913" y="2206625"/>
          <p14:tracePt t="14930" x="2987675" y="2206625"/>
          <p14:tracePt t="14930" x="2995613" y="2206625"/>
          <p14:tracePt t="14931" x="2998788" y="2206625"/>
          <p14:tracePt t="14932" x="3006725" y="2206625"/>
          <p14:tracePt t="14933" x="3011488" y="2206625"/>
          <p14:tracePt t="14934" x="3014663" y="2206625"/>
          <p14:tracePt t="14935" x="3022600" y="2206625"/>
          <p14:tracePt t="14936" x="3027363" y="2206625"/>
          <p14:tracePt t="14937" x="3030538" y="2206625"/>
          <p14:tracePt t="14938" x="3035300" y="2206625"/>
          <p14:tracePt t="14939" x="3038475" y="2206625"/>
          <p14:tracePt t="14941" x="3046413" y="2206625"/>
          <p14:tracePt t="14941" x="3051175" y="2206625"/>
          <p14:tracePt t="14942" x="3054350" y="2206625"/>
          <p14:tracePt t="14943" x="3062288" y="2206625"/>
          <p14:tracePt t="14944" x="3067050" y="2206625"/>
          <p14:tracePt t="14945" x="3071813" y="2206625"/>
          <p14:tracePt t="14947" x="3074988" y="2206625"/>
          <p14:tracePt t="14947" x="3079750" y="2206625"/>
          <p14:tracePt t="14948" x="3082925" y="2206625"/>
          <p14:tracePt t="14949" x="3087688" y="2206625"/>
          <p14:tracePt t="14950" x="3090863" y="2206625"/>
          <p14:tracePt t="14951" x="3095625" y="2201863"/>
          <p14:tracePt t="14952" x="3098800" y="2201863"/>
          <p14:tracePt t="14953" x="3103563" y="2201863"/>
          <p14:tracePt t="14954" x="3106738" y="2201863"/>
          <p14:tracePt t="14955" x="3111500" y="2198688"/>
          <p14:tracePt t="14957" x="3114675" y="2198688"/>
          <p14:tracePt t="14958" x="3119438" y="2193925"/>
          <p14:tracePt t="14959" x="3122613" y="2193925"/>
          <p14:tracePt t="14960" x="3127375" y="2193925"/>
          <p14:tracePt t="14961" x="3127375" y="2189163"/>
          <p14:tracePt t="14963" x="3130550" y="2189163"/>
          <p14:tracePt t="14964" x="3135313" y="2189163"/>
          <p14:tracePt t="14967" x="3138488" y="2189163"/>
          <p14:tracePt t="14968" x="3143250" y="2185988"/>
          <p14:tracePt t="14970" x="3146425" y="2185988"/>
          <p14:tracePt t="14973" x="3154363" y="2181225"/>
          <p14:tracePt t="14974" x="3159125" y="2181225"/>
          <p14:tracePt t="14976" x="3163888" y="2178050"/>
          <p14:tracePt t="14977" x="3167063" y="2178050"/>
          <p14:tracePt t="14979" x="3167063" y="2173288"/>
          <p14:tracePt t="14981" x="3171825" y="2173288"/>
          <p14:tracePt t="14983" x="3175000" y="2170113"/>
          <p14:tracePt t="14985" x="3179763" y="2170113"/>
          <p14:tracePt t="14985" x="3182938" y="2170113"/>
          <p14:tracePt t="14988" x="3187700" y="2170113"/>
          <p14:tracePt t="14989" x="3190875" y="2165350"/>
          <p14:tracePt t="14991" x="3195638" y="2165350"/>
          <p14:tracePt t="14993" x="3198813" y="2157413"/>
          <p14:tracePt t="14995" x="3203575" y="2154238"/>
          <p14:tracePt t="14998" x="3206750" y="2149475"/>
          <p14:tracePt t="15001" x="3211513" y="2146300"/>
          <p14:tracePt t="15007" x="3211513" y="2141538"/>
          <p14:tracePt t="15010" x="3214688" y="2141538"/>
          <p14:tracePt t="15011" x="3214688" y="2138363"/>
          <p14:tracePt t="15015" x="3214688" y="2133600"/>
          <p14:tracePt t="15019" x="3219450" y="2130425"/>
          <p14:tracePt t="15021" x="3219450" y="2125663"/>
          <p14:tracePt t="15024" x="3219450" y="2122488"/>
          <p14:tracePt t="15027" x="3219450" y="2117725"/>
          <p14:tracePt t="15029" x="3219450" y="2114550"/>
          <p14:tracePt t="15030" x="3219450" y="2109788"/>
          <p14:tracePt t="15031" x="3219450" y="2106613"/>
          <p14:tracePt t="15033" x="3219450" y="2101850"/>
          <p14:tracePt t="15037" x="3222625" y="2097088"/>
          <p14:tracePt t="15040" x="3222625" y="2093913"/>
          <p14:tracePt t="15041" x="3222625" y="2089150"/>
          <p14:tracePt t="15043" x="3222625" y="2085975"/>
          <p14:tracePt t="15044" x="3222625" y="2081213"/>
          <p14:tracePt t="15047" x="3222625" y="2078038"/>
          <p14:tracePt t="15049" x="3222625" y="2073275"/>
          <p14:tracePt t="15051" x="3222625" y="2070100"/>
          <p14:tracePt t="15053" x="3222625" y="2065338"/>
          <p14:tracePt t="15054" x="3222625" y="2062163"/>
          <p14:tracePt t="15057" x="3222625" y="2057400"/>
          <p14:tracePt t="15062" x="3222625" y="2054225"/>
          <p14:tracePt t="15063" x="3219450" y="2049463"/>
          <p14:tracePt t="15065" x="3219450" y="2046288"/>
          <p14:tracePt t="15068" x="3214688" y="2041525"/>
          <p14:tracePt t="15070" x="3214688" y="2038350"/>
          <p14:tracePt t="15072" x="3214688" y="2033588"/>
          <p14:tracePt t="15072" x="3214688" y="2030413"/>
          <p14:tracePt t="15074" x="3211513" y="2030413"/>
          <p14:tracePt t="15076" x="3211513" y="2025650"/>
          <p14:tracePt t="15076" x="3206750" y="2025650"/>
          <p14:tracePt t="15079" x="3206750" y="2022475"/>
          <p14:tracePt t="15079" x="3203575" y="2022475"/>
          <p14:tracePt t="15080" x="3203575" y="2017713"/>
          <p14:tracePt t="15081" x="3198813" y="2017713"/>
          <p14:tracePt t="15084" x="3195638" y="2017713"/>
          <p14:tracePt t="15085" x="3190875" y="2014538"/>
          <p14:tracePt t="15091" x="3179763" y="2005013"/>
          <p14:tracePt t="15093" x="3171825" y="2001838"/>
          <p14:tracePt t="15096" x="3167063" y="1997075"/>
          <p14:tracePt t="15098" x="3159125" y="1993900"/>
          <p14:tracePt t="15099" x="3154363" y="1993900"/>
          <p14:tracePt t="15101" x="3151188" y="1989138"/>
          <p14:tracePt t="15102" x="3146425" y="1989138"/>
          <p14:tracePt t="15103" x="3143250" y="1985963"/>
          <p14:tracePt t="15104" x="3138488" y="1985963"/>
          <p14:tracePt t="15105" x="3135313" y="1985963"/>
          <p14:tracePt t="15106" x="3130550" y="1981200"/>
          <p14:tracePt t="15108" x="3130550" y="1978025"/>
          <p14:tracePt t="15110" x="3122613" y="1978025"/>
          <p14:tracePt t="15110" x="3119438" y="1978025"/>
          <p14:tracePt t="15112" x="3114675" y="1978025"/>
          <p14:tracePt t="15114" x="3106738" y="1973263"/>
          <p14:tracePt t="15114" x="3103563" y="1970088"/>
          <p14:tracePt t="15115" x="3098800" y="1970088"/>
          <p14:tracePt t="15116" x="3095625" y="1970088"/>
          <p14:tracePt t="15117" x="3090863" y="1965325"/>
          <p14:tracePt t="15119" x="3082925" y="1962150"/>
          <p14:tracePt t="15120" x="3079750" y="1962150"/>
          <p14:tracePt t="15121" x="3074988" y="1962150"/>
          <p14:tracePt t="15122" x="3071813" y="1957388"/>
          <p14:tracePt t="15124" x="3062288" y="1957388"/>
          <p14:tracePt t="15124" x="3059113" y="1957388"/>
          <p14:tracePt t="15126" x="3046413" y="1954213"/>
          <p14:tracePt t="15128" x="3038475" y="1954213"/>
          <p14:tracePt t="15129" x="3035300" y="1949450"/>
          <p14:tracePt t="15131" x="3022600" y="1946275"/>
          <p14:tracePt t="15131" x="3019425" y="1946275"/>
          <p14:tracePt t="15132" x="3011488" y="1941513"/>
          <p14:tracePt t="15133" x="3003550" y="1941513"/>
          <p14:tracePt t="15134" x="2998788" y="1938338"/>
          <p14:tracePt t="15135" x="2990850" y="1938338"/>
          <p14:tracePt t="15136" x="2987675" y="1938338"/>
          <p14:tracePt t="15137" x="2982913" y="1938338"/>
          <p14:tracePt t="15138" x="2970213" y="1933575"/>
          <p14:tracePt t="15139" x="2967038" y="1933575"/>
          <p14:tracePt t="15141" x="2962275" y="1933575"/>
          <p14:tracePt t="15143" x="2951163" y="1930400"/>
          <p14:tracePt t="15144" x="2935288" y="1930400"/>
          <p14:tracePt t="15144" x="2927350" y="1925638"/>
          <p14:tracePt t="15145" x="2922588" y="1925638"/>
          <p14:tracePt t="15146" x="2914650" y="1925638"/>
          <p14:tracePt t="15147" x="2906713" y="1922463"/>
          <p14:tracePt t="15148" x="2895600" y="1922463"/>
          <p14:tracePt t="15149" x="2886075" y="1922463"/>
          <p14:tracePt t="15150" x="2878138" y="1917700"/>
          <p14:tracePt t="15151" x="2870200" y="1917700"/>
          <p14:tracePt t="15152" x="2862263" y="1917700"/>
          <p14:tracePt t="15153" x="2846388" y="1917700"/>
          <p14:tracePt t="15154" x="2838450" y="1912938"/>
          <p14:tracePt t="15155" x="2830513" y="1912938"/>
          <p14:tracePt t="15156" x="2822575" y="1912938"/>
          <p14:tracePt t="15158" x="2806700" y="1912938"/>
          <p14:tracePt t="15159" x="2794000" y="1909763"/>
          <p14:tracePt t="15160" x="2786063" y="1909763"/>
          <p14:tracePt t="15160" x="2778125" y="1909763"/>
          <p14:tracePt t="15161" x="2770188" y="1909763"/>
          <p14:tracePt t="15162" x="2762250" y="1901825"/>
          <p14:tracePt t="15164" x="2743200" y="1901825"/>
          <p14:tracePt t="15164" x="2735263" y="1901825"/>
          <p14:tracePt t="15165" x="2727325" y="1901825"/>
          <p14:tracePt t="15166" x="2719388" y="1901825"/>
          <p14:tracePt t="15167" x="2711450" y="1901825"/>
          <p14:tracePt t="15168" x="2693988" y="1897063"/>
          <p14:tracePt t="15169" x="2682875" y="1897063"/>
          <p14:tracePt t="15170" x="2674938" y="1897063"/>
          <p14:tracePt t="15171" x="2667000" y="1897063"/>
          <p14:tracePt t="15172" x="2659063" y="1897063"/>
          <p14:tracePt t="15174" x="2643188" y="1893888"/>
          <p14:tracePt t="15175" x="2635250" y="1893888"/>
          <p14:tracePt t="15176" x="2622550" y="1893888"/>
          <p14:tracePt t="15176" x="2609850" y="1893888"/>
          <p14:tracePt t="15177" x="2601913" y="1893888"/>
          <p14:tracePt t="15178" x="2590800" y="1893888"/>
          <p14:tracePt t="15179" x="2582863" y="1893888"/>
          <p14:tracePt t="15180" x="2574925" y="1893888"/>
          <p14:tracePt t="15181" x="2566988" y="1893888"/>
          <p14:tracePt t="15182" x="2562225" y="1893888"/>
          <p14:tracePt t="15183" x="2551113" y="1893888"/>
          <p14:tracePt t="15184" x="2546350" y="1893888"/>
          <p14:tracePt t="15185" x="2538413" y="1893888"/>
          <p14:tracePt t="15186" x="2530475" y="1893888"/>
          <p14:tracePt t="15187" x="2525713" y="1893888"/>
          <p14:tracePt t="15188" x="2517775" y="1893888"/>
          <p14:tracePt t="15189" x="2509838" y="1893888"/>
          <p14:tracePt t="15191" x="2506663" y="1893888"/>
          <p14:tracePt t="15192" x="2498725" y="1893888"/>
          <p14:tracePt t="15192" x="2493963" y="1893888"/>
          <p14:tracePt t="15193" x="2486025" y="1893888"/>
          <p14:tracePt t="15194" x="2478088" y="1893888"/>
          <p14:tracePt t="15195" x="2474913" y="1893888"/>
          <p14:tracePt t="15197" x="2466975" y="1893888"/>
          <p14:tracePt t="15198" x="2462213" y="1893888"/>
          <p14:tracePt t="15199" x="2454275" y="1893888"/>
          <p14:tracePt t="15200" x="2451100" y="1893888"/>
          <p14:tracePt t="15201" x="2446338" y="1893888"/>
          <p14:tracePt t="15202" x="2443163" y="1893888"/>
          <p14:tracePt t="15203" x="2433638" y="1893888"/>
          <p14:tracePt t="15204" x="2430463" y="1893888"/>
          <p14:tracePt t="15205" x="2425700" y="1893888"/>
          <p14:tracePt t="15206" x="2422525" y="1893888"/>
          <p14:tracePt t="15208" x="2417763" y="1893888"/>
          <p14:tracePt t="15210" x="2414588" y="1893888"/>
          <p14:tracePt t="15210" x="2409825" y="1893888"/>
          <p14:tracePt t="15211" x="2406650" y="1893888"/>
          <p14:tracePt t="15212" x="2401888" y="1893888"/>
          <p14:tracePt t="15214" x="2398713" y="1893888"/>
          <p14:tracePt t="15214" x="2393950" y="1893888"/>
          <p14:tracePt t="15216" x="2390775" y="1893888"/>
          <p14:tracePt t="15217" x="2386013" y="1893888"/>
          <p14:tracePt t="15219" x="2382838" y="1893888"/>
          <p14:tracePt t="15220" x="2378075" y="1897063"/>
          <p14:tracePt t="15224" x="2374900" y="1897063"/>
          <p14:tracePt t="15225" x="2374900" y="1901825"/>
          <p14:tracePt t="15225" x="2370138" y="1901825"/>
          <p14:tracePt t="15226" x="2366963" y="1901825"/>
          <p14:tracePt t="15228" x="2362200" y="1901825"/>
          <p14:tracePt t="15229" x="2359025" y="1901825"/>
          <p14:tracePt t="15230" x="2359025" y="1905000"/>
          <p14:tracePt t="15231" x="2354263" y="1905000"/>
          <p14:tracePt t="15233" x="2351088" y="1905000"/>
          <p14:tracePt t="15234" x="2351088" y="1909763"/>
          <p14:tracePt t="15235" x="2346325" y="1909763"/>
          <p14:tracePt t="15237" x="2341563" y="1909763"/>
          <p14:tracePt t="15239" x="2338388" y="1909763"/>
          <p14:tracePt t="15241" x="2338388" y="1912938"/>
          <p14:tracePt t="15244" x="2333625" y="1912938"/>
          <p14:tracePt t="15247" x="2330450" y="1912938"/>
          <p14:tracePt t="15249" x="2325688" y="1912938"/>
          <p14:tracePt t="15251" x="2322513" y="1912938"/>
          <p14:tracePt t="15253" x="2322513" y="1917700"/>
          <p14:tracePt t="15253" x="2317750" y="1917700"/>
          <p14:tracePt t="15256" x="2314575" y="1917700"/>
          <p14:tracePt t="15260" x="2309813" y="1917700"/>
          <p14:tracePt t="15261" x="2309813" y="1922463"/>
          <p14:tracePt t="15264" x="2306638" y="1922463"/>
          <p14:tracePt t="15267" x="2301875" y="1922463"/>
          <p14:tracePt t="15270" x="2298700" y="1922463"/>
          <p14:tracePt t="15271" x="2298700" y="1925638"/>
          <p14:tracePt t="15275" x="2293938" y="1925638"/>
          <p14:tracePt t="15279" x="2290763" y="1925638"/>
          <p14:tracePt t="15281" x="2290763" y="1930400"/>
          <p14:tracePt t="15281" x="2286000" y="1930400"/>
          <p14:tracePt t="15285" x="2282825" y="1930400"/>
          <p14:tracePt t="15287" x="2278063" y="1933575"/>
          <p14:tracePt t="15291" x="2274888" y="1933575"/>
          <p14:tracePt t="15292" x="2274888" y="1938338"/>
          <p14:tracePt t="15292" x="2270125" y="1938338"/>
          <p14:tracePt t="15295" x="2266950" y="1938338"/>
          <p14:tracePt t="15300" x="2262188" y="1938338"/>
          <p14:tracePt t="15302" x="2259013" y="1938338"/>
          <p14:tracePt t="15303" x="2259013" y="1941513"/>
          <p14:tracePt t="15308" x="2254250" y="1941513"/>
          <p14:tracePt t="15311" x="2254250" y="1946275"/>
          <p14:tracePt t="15312" x="2249488" y="1946275"/>
          <p14:tracePt t="15315" x="2246313" y="1946275"/>
          <p14:tracePt t="15317" x="2241550" y="1949450"/>
          <p14:tracePt t="15320" x="2238375" y="1949450"/>
          <p14:tracePt t="15323" x="2238375" y="1954213"/>
          <p14:tracePt t="15324" x="2233613" y="1954213"/>
          <p14:tracePt t="15326" x="2230438" y="1954213"/>
          <p14:tracePt t="15330" x="2225675" y="1954213"/>
          <p14:tracePt t="15332" x="2222500" y="1954213"/>
          <p14:tracePt t="15333" x="2217738" y="1954213"/>
          <p14:tracePt t="15336" x="2214563" y="1957388"/>
          <p14:tracePt t="15341" x="2209800" y="1957388"/>
          <p14:tracePt t="15342" x="2206625" y="1957388"/>
          <p14:tracePt t="15343" x="2206625" y="1962150"/>
          <p14:tracePt t="15344" x="2201863" y="1962150"/>
          <p14:tracePt t="15346" x="2198688" y="1962150"/>
          <p14:tracePt t="15348" x="2193925" y="1962150"/>
          <p14:tracePt t="15348" x="2190750" y="1962150"/>
          <p14:tracePt t="15349" x="2185988" y="1962150"/>
          <p14:tracePt t="15350" x="2182813" y="1962150"/>
          <p14:tracePt t="15352" x="2178050" y="1965325"/>
          <p14:tracePt t="15353" x="2174875" y="1965325"/>
          <p14:tracePt t="15357" x="2165350" y="1970088"/>
          <p14:tracePt t="15359" x="2162175" y="1970088"/>
          <p14:tracePt t="15361" x="2157413" y="1970088"/>
          <p14:tracePt t="15362" x="2154238" y="1970088"/>
          <p14:tracePt t="15362" x="2149475" y="1970088"/>
          <p14:tracePt t="15363" x="2146300" y="1973263"/>
          <p14:tracePt t="15364" x="2141538" y="1973263"/>
          <p14:tracePt t="15365" x="2138363" y="1973263"/>
          <p14:tracePt t="15367" x="2133600" y="1973263"/>
          <p14:tracePt t="15369" x="2130425" y="1978025"/>
          <p14:tracePt t="15370" x="2125663" y="1978025"/>
          <p14:tracePt t="15373" x="2122488" y="1978025"/>
          <p14:tracePt t="15374" x="2117725" y="1978025"/>
          <p14:tracePt t="15375" x="2114550" y="1978025"/>
          <p14:tracePt t="15376" x="2109788" y="1978025"/>
          <p14:tracePt t="15377" x="2106613" y="1978025"/>
          <p14:tracePt t="15379" x="2101850" y="1981200"/>
          <p14:tracePt t="15379" x="2098675" y="1981200"/>
          <p14:tracePt t="15380" x="2093913" y="1981200"/>
          <p14:tracePt t="15382" x="2090738" y="1981200"/>
          <p14:tracePt t="15383" x="2085975" y="1981200"/>
          <p14:tracePt t="15384" x="2082800" y="1981200"/>
          <p14:tracePt t="15385" x="2073275" y="1985963"/>
          <p14:tracePt t="15386" x="2070100" y="1985963"/>
          <p14:tracePt t="15387" x="2065338" y="1985963"/>
          <p14:tracePt t="15388" x="2065338" y="1989138"/>
          <p14:tracePt t="15389" x="2062163" y="1989138"/>
          <p14:tracePt t="15390" x="2054225" y="1989138"/>
          <p14:tracePt t="15391" x="2049463" y="1989138"/>
          <p14:tracePt t="15393" x="2046288" y="1993900"/>
          <p14:tracePt t="15394" x="2041525" y="1993900"/>
          <p14:tracePt t="15395" x="2038350" y="1993900"/>
          <p14:tracePt t="15396" x="2033588" y="1993900"/>
          <p14:tracePt t="15397" x="2030413" y="1993900"/>
          <p14:tracePt t="15398" x="2025650" y="1993900"/>
          <p14:tracePt t="15399" x="2022475" y="1993900"/>
          <p14:tracePt t="15400" x="2017713" y="1997075"/>
          <p14:tracePt t="15401" x="2014538" y="1997075"/>
          <p14:tracePt t="15402" x="2009775" y="1997075"/>
          <p14:tracePt t="15403" x="2006600" y="1997075"/>
          <p14:tracePt t="15404" x="2001838" y="1997075"/>
          <p14:tracePt t="15405" x="1998663" y="1997075"/>
          <p14:tracePt t="15408" x="1990725" y="2001838"/>
          <p14:tracePt t="15409" x="1985963" y="2001838"/>
          <p14:tracePt t="15410" x="1981200" y="2001838"/>
          <p14:tracePt t="15411" x="1978025" y="2001838"/>
          <p14:tracePt t="15412" x="1973263" y="2001838"/>
          <p14:tracePt t="15413" x="1970088" y="2001838"/>
          <p14:tracePt t="15415" x="1965325" y="2001838"/>
          <p14:tracePt t="15416" x="1957388" y="2001838"/>
          <p14:tracePt t="15417" x="1957388" y="2005013"/>
          <p14:tracePt t="15418" x="1954213" y="2005013"/>
          <p14:tracePt t="15420" x="1949450" y="2005013"/>
          <p14:tracePt t="15421" x="1946275" y="2009775"/>
          <p14:tracePt t="15422" x="1941513" y="2009775"/>
          <p14:tracePt t="15424" x="1938338" y="2009775"/>
          <p14:tracePt t="15426" x="1933575" y="2014538"/>
          <p14:tracePt t="15426" x="1930400" y="2014538"/>
          <p14:tracePt t="15427" x="1925638" y="2014538"/>
          <p14:tracePt t="15429" x="1922463" y="2017713"/>
          <p14:tracePt t="15430" x="1917700" y="2017713"/>
          <p14:tracePt t="15431" x="1914525" y="2017713"/>
          <p14:tracePt t="15433" x="1909763" y="2017713"/>
          <p14:tracePt t="15435" x="1906588" y="2017713"/>
          <p14:tracePt t="15436" x="1901825" y="2022475"/>
          <p14:tracePt t="15438" x="1898650" y="2022475"/>
          <p14:tracePt t="15439" x="1898650" y="2025650"/>
          <p14:tracePt t="15441" x="1893888" y="2025650"/>
          <p14:tracePt t="15442" x="1889125" y="2025650"/>
          <p14:tracePt t="15443" x="1885950" y="2030413"/>
          <p14:tracePt t="15444" x="1881188" y="2030413"/>
          <p14:tracePt t="15446" x="1878013" y="2033588"/>
          <p14:tracePt t="15447" x="1873250" y="2033588"/>
          <p14:tracePt t="15449" x="1873250" y="2038350"/>
          <p14:tracePt t="15451" x="1870075" y="2038350"/>
          <p14:tracePt t="15453" x="1865313" y="2038350"/>
          <p14:tracePt t="15454" x="1865313" y="2041525"/>
          <p14:tracePt t="15455" x="1862138" y="2041525"/>
          <p14:tracePt t="15457" x="1857375" y="2041525"/>
          <p14:tracePt t="15458" x="1854200" y="2041525"/>
          <p14:tracePt t="15459" x="1849438" y="2041525"/>
          <p14:tracePt t="15461" x="1849438" y="2046288"/>
          <p14:tracePt t="15461" x="1846263" y="2046288"/>
          <p14:tracePt t="15462" x="1841500" y="2046288"/>
          <p14:tracePt t="15463" x="1841500" y="2049463"/>
          <p14:tracePt t="15464" x="1838325" y="2049463"/>
          <p14:tracePt t="15465" x="1833563" y="2054225"/>
          <p14:tracePt t="15468" x="1830388" y="2057400"/>
          <p14:tracePt t="15469" x="1825625" y="2057400"/>
          <p14:tracePt t="15470" x="1825625" y="2062163"/>
          <p14:tracePt t="15472" x="1822450" y="2062163"/>
          <p14:tracePt t="15472" x="1817688" y="2065338"/>
          <p14:tracePt t="15474" x="1814513" y="2065338"/>
          <p14:tracePt t="15475" x="1809750" y="2070100"/>
          <p14:tracePt t="15475" x="1804988" y="2070100"/>
          <p14:tracePt t="15476" x="1801813" y="2073275"/>
          <p14:tracePt t="15477" x="1797050" y="2078038"/>
          <p14:tracePt t="15479" x="1793875" y="2078038"/>
          <p14:tracePt t="15481" x="1789113" y="2081213"/>
          <p14:tracePt t="15482" x="1785938" y="2081213"/>
          <p14:tracePt t="15483" x="1781175" y="2081213"/>
          <p14:tracePt t="15485" x="1781175" y="2085975"/>
          <p14:tracePt t="15486" x="1778000" y="2085975"/>
          <p14:tracePt t="15487" x="1773238" y="2085975"/>
          <p14:tracePt t="15487" x="1773238" y="2089150"/>
          <p14:tracePt t="15488" x="1770063" y="2089150"/>
          <p14:tracePt t="15489" x="1765300" y="2089150"/>
          <p14:tracePt t="15491" x="1765300" y="2093913"/>
          <p14:tracePt t="15492" x="1762125" y="2093913"/>
          <p14:tracePt t="15494" x="1757363" y="2097088"/>
          <p14:tracePt t="15496" x="1754188" y="2097088"/>
          <p14:tracePt t="15497" x="1754188" y="2101850"/>
          <p14:tracePt t="15497" x="1749425" y="2101850"/>
          <p14:tracePt t="15498" x="1749425" y="2106613"/>
          <p14:tracePt t="15502" x="1746250" y="2109788"/>
          <p14:tracePt t="15503" x="1746250" y="2114550"/>
          <p14:tracePt t="15504" x="1741488" y="2114550"/>
          <p14:tracePt t="15507" x="1738313" y="2117725"/>
          <p14:tracePt t="15510" x="1733550" y="2117725"/>
          <p14:tracePt t="15512" x="1730375" y="2122488"/>
          <p14:tracePt t="15516" x="1725613" y="2122488"/>
          <p14:tracePt t="15520" x="1722438" y="2125663"/>
          <p14:tracePt t="15521" x="1722438" y="2130425"/>
          <p14:tracePt t="15524" x="1717675" y="2130425"/>
          <p14:tracePt t="15525" x="1717675" y="2133600"/>
          <p14:tracePt t="15526" x="1712913" y="2133600"/>
          <p14:tracePt t="15529" x="1709738" y="2133600"/>
          <p14:tracePt t="15530" x="1709738" y="2138363"/>
          <p14:tracePt t="15535" x="1709738" y="2141538"/>
          <p14:tracePt t="15536" x="1704975" y="2141538"/>
          <p14:tracePt t="15537" x="1704975" y="2146300"/>
          <p14:tracePt t="15544" x="1704975" y="2149475"/>
          <p14:tracePt t="15545" x="1701800" y="2149475"/>
          <p14:tracePt t="15550" x="1697038" y="2149475"/>
          <p14:tracePt t="15551" x="1697038" y="2154238"/>
          <p14:tracePt t="15555" x="1693863" y="2154238"/>
          <p14:tracePt t="15558" x="1693863" y="2157413"/>
          <p14:tracePt t="15563" x="1689100" y="2157413"/>
          <p14:tracePt t="15565" x="1689100" y="2162175"/>
          <p14:tracePt t="15565" x="1685925" y="2162175"/>
          <p14:tracePt t="15571" x="1685925" y="2165350"/>
          <p14:tracePt t="15574" x="1681163" y="2165350"/>
          <p14:tracePt t="15575" x="1681163" y="2170113"/>
          <p14:tracePt t="15578" x="1677988" y="2170113"/>
          <p14:tracePt t="15580" x="1673225" y="2170113"/>
          <p14:tracePt t="15581" x="1673225" y="2173288"/>
          <p14:tracePt t="15585" x="1670050" y="2173288"/>
          <p14:tracePt t="15586" x="1670050" y="2178050"/>
          <p14:tracePt t="15589" x="1670050" y="2181225"/>
          <p14:tracePt t="15591" x="1670050" y="2185988"/>
          <p14:tracePt t="15594" x="1670050" y="2189163"/>
          <p14:tracePt t="15596" x="1665288" y="2189163"/>
          <p14:tracePt t="15598" x="1662113" y="2193925"/>
          <p14:tracePt t="15600" x="1657350" y="2193925"/>
          <p14:tracePt t="15602" x="1657350" y="2198688"/>
          <p14:tracePt t="15604" x="1654175" y="2198688"/>
          <p14:tracePt t="15606" x="1654175" y="2201863"/>
          <p14:tracePt t="15608" x="1649413" y="2201863"/>
          <p14:tracePt t="15612" x="1646238" y="2206625"/>
          <p14:tracePt t="15615" x="1646238" y="2209800"/>
          <p14:tracePt t="15617" x="1641475" y="2209800"/>
          <p14:tracePt t="15619" x="1641475" y="2214563"/>
          <p14:tracePt t="15621" x="1638300" y="2214563"/>
          <p14:tracePt t="15621" x="1638300" y="2217738"/>
          <p14:tracePt t="15624" x="1633538" y="2222500"/>
          <p14:tracePt t="15628" x="1633538" y="2225675"/>
          <p14:tracePt t="15631" x="1630363" y="2230438"/>
          <p14:tracePt t="15634" x="1630363" y="2233613"/>
          <p14:tracePt t="15636" x="1630363" y="2238375"/>
          <p14:tracePt t="15639" x="1625600" y="2238375"/>
          <p14:tracePt t="15640" x="1625600" y="2241550"/>
          <p14:tracePt t="15646" x="1620838" y="2241550"/>
          <p14:tracePt t="15648" x="1620838" y="2246313"/>
          <p14:tracePt t="15650" x="1620838" y="2249488"/>
          <p14:tracePt t="15652" x="1617663" y="2249488"/>
          <p14:tracePt t="15655" x="1617663" y="2254250"/>
          <p14:tracePt t="15663" x="1617663" y="2257425"/>
          <p14:tracePt t="15679" x="1617663" y="2262188"/>
          <p14:tracePt t="15683" x="1617663" y="2265363"/>
          <p14:tracePt t="15685" x="1620838" y="2270125"/>
          <p14:tracePt t="15686" x="1625600" y="2270125"/>
          <p14:tracePt t="15688" x="1625600" y="2273300"/>
          <p14:tracePt t="15691" x="1630363" y="2278063"/>
          <p14:tracePt t="15692" x="1633538" y="2278063"/>
          <p14:tracePt t="15692" x="1638300" y="2281238"/>
          <p14:tracePt t="15695" x="1646238" y="2286000"/>
          <p14:tracePt t="15696" x="1649413" y="2286000"/>
          <p14:tracePt t="15696" x="1654175" y="2290763"/>
          <p14:tracePt t="15698" x="1662113" y="2293938"/>
          <p14:tracePt t="15699" x="1665288" y="2293938"/>
          <p14:tracePt t="15700" x="1670050" y="2293938"/>
          <p14:tracePt t="15701" x="1673225" y="2298700"/>
          <p14:tracePt t="15702" x="1681163" y="2298700"/>
          <p14:tracePt t="15703" x="1685925" y="2301875"/>
          <p14:tracePt t="15704" x="1693863" y="2306638"/>
          <p14:tracePt t="15707" x="1704975" y="2309813"/>
          <p14:tracePt t="15708" x="1712913" y="2314575"/>
          <p14:tracePt t="15709" x="1725613" y="2317750"/>
          <p14:tracePt t="15710" x="1733550" y="2317750"/>
          <p14:tracePt t="15711" x="1741488" y="2322513"/>
          <p14:tracePt t="15712" x="1749425" y="2322513"/>
          <p14:tracePt t="15713" x="1757363" y="2330450"/>
          <p14:tracePt t="15714" x="1765300" y="2330450"/>
          <p14:tracePt t="15715" x="1781175" y="2333625"/>
          <p14:tracePt t="15716" x="1789113" y="2333625"/>
          <p14:tracePt t="15717" x="1797050" y="2338388"/>
          <p14:tracePt t="15718" x="1804988" y="2338388"/>
          <p14:tracePt t="15719" x="1825625" y="2341563"/>
          <p14:tracePt t="15720" x="1833563" y="2341563"/>
          <p14:tracePt t="15722" x="1854200" y="2346325"/>
          <p14:tracePt t="15724" x="1862138" y="2346325"/>
          <p14:tracePt t="15724" x="1878013" y="2346325"/>
          <p14:tracePt t="15726" x="1889125" y="2349500"/>
          <p14:tracePt t="15726" x="1906588" y="2349500"/>
          <p14:tracePt t="15727" x="1917700" y="2349500"/>
          <p14:tracePt t="15728" x="1925638" y="2354263"/>
          <p14:tracePt t="15729" x="1946275" y="2354263"/>
          <p14:tracePt t="15730" x="1962150" y="2354263"/>
          <p14:tracePt t="15731" x="1973263" y="2354263"/>
          <p14:tracePt t="15732" x="1990725" y="2362200"/>
          <p14:tracePt t="15733" x="2001838" y="2362200"/>
          <p14:tracePt t="15734" x="2014538" y="2362200"/>
          <p14:tracePt t="15735" x="2033588" y="2362200"/>
          <p14:tracePt t="15736" x="2049463" y="2362200"/>
          <p14:tracePt t="15737" x="2062163" y="2362200"/>
          <p14:tracePt t="15738" x="2073275" y="2362200"/>
          <p14:tracePt t="15739" x="2093913" y="2362200"/>
          <p14:tracePt t="15741" x="2109788" y="2362200"/>
          <p14:tracePt t="15742" x="2122488" y="2362200"/>
          <p14:tracePt t="15743" x="2149475" y="2362200"/>
          <p14:tracePt t="15744" x="2162175" y="2362200"/>
          <p14:tracePt t="15745" x="2190750" y="2362200"/>
          <p14:tracePt t="15746" x="2201863" y="2362200"/>
          <p14:tracePt t="15747" x="2217738" y="2362200"/>
          <p14:tracePt t="15748" x="2230438" y="2362200"/>
          <p14:tracePt t="15749" x="2249488" y="2362200"/>
          <p14:tracePt t="15751" x="2270125" y="2362200"/>
          <p14:tracePt t="15751" x="2282825" y="2362200"/>
          <p14:tracePt t="15753" x="2293938" y="2362200"/>
          <p14:tracePt t="15753" x="2314575" y="2362200"/>
          <p14:tracePt t="15754" x="2330450" y="2362200"/>
          <p14:tracePt t="15755" x="2346325" y="2357438"/>
          <p14:tracePt t="15756" x="2362200" y="2357438"/>
          <p14:tracePt t="15758" x="2374900" y="2357438"/>
          <p14:tracePt t="15759" x="2409825" y="2354263"/>
          <p14:tracePt t="15760" x="2425700" y="2354263"/>
          <p14:tracePt t="15761" x="2443163" y="2349500"/>
          <p14:tracePt t="15762" x="2451100" y="2349500"/>
          <p14:tracePt t="15763" x="2462213" y="2349500"/>
          <p14:tracePt t="15764" x="2478088" y="2346325"/>
          <p14:tracePt t="15765" x="2498725" y="2346325"/>
          <p14:tracePt t="15766" x="2509838" y="2346325"/>
          <p14:tracePt t="15767" x="2525713" y="2341563"/>
          <p14:tracePt t="15769" x="2538413" y="2341563"/>
          <p14:tracePt t="15769" x="2554288" y="2338388"/>
          <p14:tracePt t="15770" x="2570163" y="2338388"/>
          <p14:tracePt t="15771" x="2586038" y="2330450"/>
          <p14:tracePt t="15772" x="2598738" y="2330450"/>
          <p14:tracePt t="15774" x="2606675" y="2325688"/>
          <p14:tracePt t="15775" x="2622550" y="2325688"/>
          <p14:tracePt t="15775" x="2635250" y="2322513"/>
          <p14:tracePt t="15776" x="2651125" y="2317750"/>
          <p14:tracePt t="15777" x="2659063" y="2317750"/>
          <p14:tracePt t="15778" x="2670175" y="2314575"/>
          <p14:tracePt t="15779" x="2678113" y="2314575"/>
          <p14:tracePt t="15780" x="2698750" y="2309813"/>
          <p14:tracePt t="15781" x="2706688" y="2309813"/>
          <p14:tracePt t="15783" x="2719388" y="2301875"/>
          <p14:tracePt t="15783" x="2730500" y="2301875"/>
          <p14:tracePt t="15784" x="2738438" y="2298700"/>
          <p14:tracePt t="15785" x="2754313" y="2298700"/>
          <p14:tracePt t="15786" x="2762250" y="2293938"/>
          <p14:tracePt t="15787" x="2774950" y="2293938"/>
          <p14:tracePt t="15788" x="2782888" y="2293938"/>
          <p14:tracePt t="15789" x="2790825" y="2290763"/>
          <p14:tracePt t="15791" x="2806700" y="2290763"/>
          <p14:tracePt t="15791" x="2814638" y="2286000"/>
          <p14:tracePt t="15793" x="2822575" y="2286000"/>
          <p14:tracePt t="15794" x="2830513" y="2281238"/>
          <p14:tracePt t="15794" x="2838450" y="2281238"/>
          <p14:tracePt t="15795" x="2854325" y="2278063"/>
          <p14:tracePt t="15796" x="2862263" y="2273300"/>
          <p14:tracePt t="15797" x="2867025" y="2273300"/>
          <p14:tracePt t="15799" x="2874963" y="2273300"/>
          <p14:tracePt t="15799" x="2882900" y="2270125"/>
          <p14:tracePt t="15800" x="2890838" y="2270125"/>
          <p14:tracePt t="15801" x="2898775" y="2265363"/>
          <p14:tracePt t="15803" x="2906713" y="2265363"/>
          <p14:tracePt t="15803" x="2919413" y="2257425"/>
          <p14:tracePt t="15805" x="2935288" y="2254250"/>
          <p14:tracePt t="15806" x="2938463" y="2249488"/>
          <p14:tracePt t="15808" x="2943225" y="2249488"/>
          <p14:tracePt t="15808" x="2951163" y="2249488"/>
          <p14:tracePt t="15811" x="2967038" y="2249488"/>
          <p14:tracePt t="15811" x="2970213" y="2246313"/>
          <p14:tracePt t="15812" x="2978150" y="2246313"/>
          <p14:tracePt t="15813" x="2982913" y="2246313"/>
          <p14:tracePt t="15815" x="2990850" y="2241550"/>
          <p14:tracePt t="15815" x="2998788" y="2241550"/>
          <p14:tracePt t="15816" x="3006725" y="2238375"/>
          <p14:tracePt t="15817" x="3011488" y="2238375"/>
          <p14:tracePt t="15818" x="3019425" y="2238375"/>
          <p14:tracePt t="15819" x="3022600" y="2233613"/>
          <p14:tracePt t="15820" x="3030538" y="2233613"/>
          <p14:tracePt t="15821" x="3038475" y="2233613"/>
          <p14:tracePt t="15822" x="3046413" y="2230438"/>
          <p14:tracePt t="15824" x="3051175" y="2230438"/>
          <p14:tracePt t="15824" x="3054350" y="2225675"/>
          <p14:tracePt t="15826" x="3062288" y="2225675"/>
          <p14:tracePt t="15826" x="3067050" y="2225675"/>
          <p14:tracePt t="15827" x="3074988" y="2222500"/>
          <p14:tracePt t="15828" x="3079750" y="2222500"/>
          <p14:tracePt t="15829" x="3082925" y="2222500"/>
          <p14:tracePt t="15830" x="3090863" y="2217738"/>
          <p14:tracePt t="15831" x="3095625" y="2217738"/>
          <p14:tracePt t="15833" x="3103563" y="2217738"/>
          <p14:tracePt t="15834" x="3106738" y="2214563"/>
          <p14:tracePt t="15834" x="3111500" y="2214563"/>
          <p14:tracePt t="15835" x="3114675" y="2214563"/>
          <p14:tracePt t="15836" x="3119438" y="2209800"/>
          <p14:tracePt t="15837" x="3122613" y="2209800"/>
          <p14:tracePt t="15838" x="3127375" y="2209800"/>
          <p14:tracePt t="15839" x="3130550" y="2206625"/>
          <p14:tracePt t="15841" x="3138488" y="2206625"/>
          <p14:tracePt t="15842" x="3143250" y="2206625"/>
          <p14:tracePt t="15842" x="3146425" y="2201863"/>
          <p14:tracePt t="15844" x="3151188" y="2201863"/>
          <p14:tracePt t="15845" x="3154363" y="2201863"/>
          <p14:tracePt t="15846" x="3159125" y="2201863"/>
          <p14:tracePt t="15847" x="3167063" y="2201863"/>
          <p14:tracePt t="15847" x="3167063" y="2198688"/>
          <p14:tracePt t="15848" x="3171825" y="2198688"/>
          <p14:tracePt t="15850" x="3175000" y="2198688"/>
          <p14:tracePt t="15850" x="3179763" y="2193925"/>
          <p14:tracePt t="15851" x="3182938" y="2193925"/>
          <p14:tracePt t="15852" x="3190875" y="2193925"/>
          <p14:tracePt t="15854" x="3195638" y="2189163"/>
          <p14:tracePt t="15854" x="3198813" y="2189163"/>
          <p14:tracePt t="15855" x="3203575" y="2189163"/>
          <p14:tracePt t="15857" x="3211513" y="2189163"/>
          <p14:tracePt t="15858" x="3211513" y="2185988"/>
          <p14:tracePt t="15859" x="3214688" y="2185988"/>
          <p14:tracePt t="15860" x="3219450" y="2185988"/>
          <p14:tracePt t="15862" x="3222625" y="2181225"/>
          <p14:tracePt t="15862" x="3227388" y="2181225"/>
          <p14:tracePt t="15863" x="3230563" y="2181225"/>
          <p14:tracePt t="15864" x="3235325" y="2181225"/>
          <p14:tracePt t="15865" x="3238500" y="2181225"/>
          <p14:tracePt t="15866" x="3243263" y="2181225"/>
          <p14:tracePt t="15868" x="3246438" y="2181225"/>
          <p14:tracePt t="15869" x="3251200" y="2181225"/>
          <p14:tracePt t="15871" x="3255963" y="2181225"/>
          <p14:tracePt t="15871" x="3259138" y="2181225"/>
          <p14:tracePt t="15872" x="3263900" y="2181225"/>
          <p14:tracePt t="15874" x="3267075" y="2181225"/>
          <p14:tracePt t="15875" x="3271838" y="2178050"/>
          <p14:tracePt t="15876" x="3275013" y="2178050"/>
          <p14:tracePt t="15877" x="3279775" y="2178050"/>
          <p14:tracePt t="15878" x="3282950" y="2178050"/>
          <p14:tracePt t="15878" x="3287713" y="2178050"/>
          <p14:tracePt t="15879" x="3290888" y="2178050"/>
          <p14:tracePt t="15880" x="3295650" y="2178050"/>
          <p14:tracePt t="15881" x="3298825" y="2178050"/>
          <p14:tracePt t="15882" x="3303588" y="2178050"/>
          <p14:tracePt t="15883" x="3306763" y="2173288"/>
          <p14:tracePt t="15884" x="3311525" y="2173288"/>
          <p14:tracePt t="15885" x="3314700" y="2173288"/>
          <p14:tracePt t="15887" x="3319463" y="2173288"/>
          <p14:tracePt t="15888" x="3322638" y="2173288"/>
          <p14:tracePt t="15888" x="3327400" y="2173288"/>
          <p14:tracePt t="15889" x="3330575" y="2173288"/>
          <p14:tracePt t="15891" x="3335338" y="2173288"/>
          <p14:tracePt t="15892" x="3338513" y="2173288"/>
          <p14:tracePt t="15892" x="3338513" y="2170113"/>
          <p14:tracePt t="15894" x="3343275" y="2170113"/>
          <p14:tracePt t="15894" x="3348038" y="2170113"/>
          <p14:tracePt t="15895" x="3351213" y="2170113"/>
          <p14:tracePt t="15896" x="3355975" y="2170113"/>
          <p14:tracePt t="15897" x="3359150" y="2170113"/>
          <p14:tracePt t="15898" x="3367088" y="2170113"/>
          <p14:tracePt t="15899" x="3371850" y="2170113"/>
          <p14:tracePt t="15900" x="3375025" y="2170113"/>
          <p14:tracePt t="15901" x="3379788" y="2170113"/>
          <p14:tracePt t="15902" x="3382963" y="2170113"/>
          <p14:tracePt t="15904" x="3387725" y="2170113"/>
          <p14:tracePt t="15905" x="3390900" y="2170113"/>
          <p14:tracePt t="15907" x="3398838" y="2170113"/>
          <p14:tracePt t="15908" x="3403600" y="2170113"/>
          <p14:tracePt t="15909" x="3406775" y="2170113"/>
          <p14:tracePt t="15912" x="3414713" y="2170113"/>
          <p14:tracePt t="15913" x="3419475" y="2170113"/>
          <p14:tracePt t="15914" x="3422650" y="2170113"/>
          <p14:tracePt t="15914" x="3427413" y="2170113"/>
          <p14:tracePt t="15915" x="3430588" y="2170113"/>
          <p14:tracePt t="15916" x="3435350" y="2170113"/>
          <p14:tracePt t="15918" x="3440113" y="2170113"/>
          <p14:tracePt t="15919" x="3443288" y="2170113"/>
          <p14:tracePt t="15920" x="3451225" y="2170113"/>
          <p14:tracePt t="15921" x="3455988" y="2170113"/>
          <p14:tracePt t="15922" x="3459163" y="2170113"/>
          <p14:tracePt t="15924" x="3471863" y="2170113"/>
          <p14:tracePt t="15925" x="3475038" y="2170113"/>
          <p14:tracePt t="15926" x="3479800" y="2170113"/>
          <p14:tracePt t="15928" x="3482975" y="2170113"/>
          <p14:tracePt t="15929" x="3490913" y="2170113"/>
          <p14:tracePt t="15931" x="3495675" y="2170113"/>
          <p14:tracePt t="15931" x="3503613" y="2170113"/>
          <p14:tracePt t="15932" x="3506788" y="2170113"/>
          <p14:tracePt t="15933" x="3511550" y="2170113"/>
          <p14:tracePt t="15934" x="3519488" y="2170113"/>
          <p14:tracePt t="15935" x="3524250" y="2170113"/>
          <p14:tracePt t="15936" x="3527425" y="2170113"/>
          <p14:tracePt t="15937" x="3532188" y="2170113"/>
          <p14:tracePt t="15938" x="3540125" y="2170113"/>
          <p14:tracePt t="15940" x="3543300" y="2170113"/>
          <p14:tracePt t="15941" x="3548063" y="2170113"/>
          <p14:tracePt t="15943" x="3556000" y="2170113"/>
          <p14:tracePt t="15943" x="3559175" y="2170113"/>
          <p14:tracePt t="15944" x="3563938" y="2165350"/>
          <p14:tracePt t="15946" x="3567113" y="2165350"/>
          <p14:tracePt t="15947" x="3575050" y="2165350"/>
          <p14:tracePt t="15947" x="3579813" y="2165350"/>
          <p14:tracePt t="15948" x="3582988" y="2165350"/>
          <p14:tracePt t="15949" x="3590925" y="2165350"/>
          <p14:tracePt t="15950" x="3595688" y="2165350"/>
          <p14:tracePt t="15951" x="3598863" y="2162175"/>
          <p14:tracePt t="15952" x="3603625" y="2162175"/>
          <p14:tracePt t="15953" x="3606800" y="2162175"/>
          <p14:tracePt t="15955" x="3616325" y="2162175"/>
          <p14:tracePt t="15958" x="3624263" y="2157413"/>
          <p14:tracePt t="15958" x="3632200" y="2157413"/>
          <p14:tracePt t="15959" x="3635375" y="2157413"/>
          <p14:tracePt t="15960" x="3640138" y="2157413"/>
          <p14:tracePt t="15961" x="3643313" y="2157413"/>
          <p14:tracePt t="15962" x="3648075" y="2157413"/>
          <p14:tracePt t="15963" x="3651250" y="2157413"/>
          <p14:tracePt t="15964" x="3651250" y="2154238"/>
          <p14:tracePt t="15966" x="3656013" y="2154238"/>
          <p14:tracePt t="15967" x="3659188" y="2154238"/>
          <p14:tracePt t="15968" x="3663950" y="2154238"/>
          <p14:tracePt t="15969" x="3667125" y="2154238"/>
          <p14:tracePt t="15970" x="3667125" y="2149475"/>
          <p14:tracePt t="15972" x="3671888" y="2149475"/>
          <p14:tracePt t="15972" x="3675063" y="2149475"/>
          <p14:tracePt t="15975" x="3679825" y="2146300"/>
          <p14:tracePt t="15976" x="3683000" y="2146300"/>
          <p14:tracePt t="15977" x="3687763" y="2146300"/>
          <p14:tracePt t="15978" x="3690938" y="2146300"/>
          <p14:tracePt t="15979" x="3690938" y="2141538"/>
          <p14:tracePt t="15980" x="3695700" y="2141538"/>
          <p14:tracePt t="15983" x="3698875" y="2141538"/>
          <p14:tracePt t="15985" x="3703638" y="2141538"/>
          <p14:tracePt t="15988" x="3708400" y="2141538"/>
          <p14:tracePt t="15990" x="3711575" y="2141538"/>
          <p14:tracePt t="15992" x="3711575" y="2138363"/>
          <p14:tracePt t="15993" x="3716338" y="2138363"/>
          <p14:tracePt t="15996" x="3719513" y="2138363"/>
          <p14:tracePt t="15997" x="3719513" y="2133600"/>
          <p14:tracePt t="15998" x="3724275" y="2133600"/>
          <p14:tracePt t="16006" x="3727450" y="2133600"/>
          <p14:tracePt t="16124" x="3724275" y="2133600"/>
          <p14:tracePt t="16129" x="3719513" y="2133600"/>
          <p14:tracePt t="16132" x="3716338" y="2133600"/>
          <p14:tracePt t="16135" x="3711575" y="2133600"/>
          <p14:tracePt t="16138" x="3708400" y="2133600"/>
          <p14:tracePt t="16139" x="3703638" y="2133600"/>
          <p14:tracePt t="16140" x="3698875" y="2133600"/>
          <p14:tracePt t="16143" x="3695700" y="2133600"/>
          <p14:tracePt t="16143" x="3690938" y="2138363"/>
          <p14:tracePt t="16144" x="3687763" y="2138363"/>
          <p14:tracePt t="16145" x="3679825" y="2138363"/>
          <p14:tracePt t="16147" x="3675063" y="2138363"/>
          <p14:tracePt t="16148" x="3671888" y="2138363"/>
          <p14:tracePt t="16149" x="3663950" y="2138363"/>
          <p14:tracePt t="16149" x="3659188" y="2138363"/>
          <p14:tracePt t="16150" x="3651250" y="2138363"/>
          <p14:tracePt t="16151" x="3648075" y="2141538"/>
          <p14:tracePt t="16152" x="3643313" y="2141538"/>
          <p14:tracePt t="16153" x="3635375" y="2141538"/>
          <p14:tracePt t="16154" x="3635375" y="2146300"/>
          <p14:tracePt t="16155" x="3627438" y="2146300"/>
          <p14:tracePt t="16157" x="3619500" y="2146300"/>
          <p14:tracePt t="16158" x="3606800" y="2149475"/>
          <p14:tracePt t="16158" x="3598863" y="2149475"/>
          <p14:tracePt t="16159" x="3590925" y="2149475"/>
          <p14:tracePt t="16160" x="3582988" y="2149475"/>
          <p14:tracePt t="16162" x="3575050" y="2154238"/>
          <p14:tracePt t="16162" x="3567113" y="2154238"/>
          <p14:tracePt t="16164" x="3563938" y="2154238"/>
          <p14:tracePt t="16165" x="3556000" y="2157413"/>
          <p14:tracePt t="16166" x="3543300" y="2157413"/>
          <p14:tracePt t="16167" x="3535363" y="2157413"/>
          <p14:tracePt t="16168" x="3527425" y="2157413"/>
          <p14:tracePt t="16169" x="3514725" y="2165350"/>
          <p14:tracePt t="16170" x="3503613" y="2165350"/>
          <p14:tracePt t="16171" x="3495675" y="2165350"/>
          <p14:tracePt t="16171" x="3487738" y="2165350"/>
          <p14:tracePt t="16172" x="3479800" y="2170113"/>
          <p14:tracePt t="16174" x="3463925" y="2170113"/>
          <p14:tracePt t="16176" x="3448050" y="2173288"/>
          <p14:tracePt t="16177" x="3427413" y="2173288"/>
          <p14:tracePt t="16178" x="3419475" y="2173288"/>
          <p14:tracePt t="16179" x="3406775" y="2178050"/>
          <p14:tracePt t="16180" x="3395663" y="2178050"/>
          <p14:tracePt t="16181" x="3387725" y="2178050"/>
          <p14:tracePt t="16182" x="3371850" y="2181225"/>
          <p14:tracePt t="16183" x="3363913" y="2181225"/>
          <p14:tracePt t="16184" x="3355975" y="2185988"/>
          <p14:tracePt t="16185" x="3343275" y="2185988"/>
          <p14:tracePt t="16186" x="3327400" y="2189163"/>
          <p14:tracePt t="16187" x="3319463" y="2189163"/>
          <p14:tracePt t="16188" x="3311525" y="2189163"/>
          <p14:tracePt t="16189" x="3298825" y="2198688"/>
          <p14:tracePt t="16191" x="3282950" y="2198688"/>
          <p14:tracePt t="16192" x="3275013" y="2201863"/>
          <p14:tracePt t="16193" x="3267075" y="2201863"/>
          <p14:tracePt t="16194" x="3259138" y="2206625"/>
          <p14:tracePt t="16194" x="3251200" y="2206625"/>
          <p14:tracePt t="16195" x="3235325" y="2206625"/>
          <p14:tracePt t="16196" x="3227388" y="2209800"/>
          <p14:tracePt t="16197" x="3219450" y="2209800"/>
          <p14:tracePt t="16199" x="3206750" y="2209800"/>
          <p14:tracePt t="16199" x="3198813" y="2214563"/>
          <p14:tracePt t="16200" x="3187700" y="2214563"/>
          <p14:tracePt t="16201" x="3179763" y="2217738"/>
          <p14:tracePt t="16202" x="3171825" y="2217738"/>
          <p14:tracePt t="16203" x="3163888" y="2217738"/>
          <p14:tracePt t="16204" x="3154363" y="2222500"/>
          <p14:tracePt t="16205" x="3143250" y="2222500"/>
          <p14:tracePt t="16206" x="3135313" y="2222500"/>
          <p14:tracePt t="16208" x="3130550" y="2225675"/>
          <p14:tracePt t="16209" x="3122613" y="2225675"/>
          <p14:tracePt t="16210" x="3114675" y="2225675"/>
          <p14:tracePt t="16210" x="3103563" y="2230438"/>
          <p14:tracePt t="16211" x="3095625" y="2230438"/>
          <p14:tracePt t="16213" x="3087688" y="2230438"/>
          <p14:tracePt t="16214" x="3082925" y="2230438"/>
          <p14:tracePt t="16215" x="3074988" y="2233613"/>
          <p14:tracePt t="16216" x="3067050" y="2233613"/>
          <p14:tracePt t="16217" x="3059113" y="2233613"/>
          <p14:tracePt t="16218" x="3054350" y="2238375"/>
          <p14:tracePt t="16219" x="3046413" y="2238375"/>
          <p14:tracePt t="16220" x="3038475" y="2241550"/>
          <p14:tracePt t="16222" x="3035300" y="2241550"/>
          <p14:tracePt t="16222" x="3027363" y="2241550"/>
          <p14:tracePt t="16224" x="3022600" y="2241550"/>
          <p14:tracePt t="16224" x="3014663" y="2246313"/>
          <p14:tracePt t="16226" x="3006725" y="2246313"/>
          <p14:tracePt t="16226" x="3003550" y="2246313"/>
          <p14:tracePt t="16227" x="2995613" y="2249488"/>
          <p14:tracePt t="16228" x="2990850" y="2249488"/>
          <p14:tracePt t="16229" x="2982913" y="2249488"/>
          <p14:tracePt t="16230" x="2978150" y="2249488"/>
          <p14:tracePt t="16231" x="2970213" y="2254250"/>
          <p14:tracePt t="16232" x="2967038" y="2254250"/>
          <p14:tracePt t="16233" x="2962275" y="2254250"/>
          <p14:tracePt t="16234" x="2954338" y="2254250"/>
          <p14:tracePt t="16235" x="2951163" y="2254250"/>
          <p14:tracePt t="16236" x="2943225" y="2257425"/>
          <p14:tracePt t="16237" x="2938463" y="2257425"/>
          <p14:tracePt t="16240" x="2935288" y="2257425"/>
          <p14:tracePt t="16241" x="2927350" y="2262188"/>
          <p14:tracePt t="16242" x="2919413" y="2262188"/>
          <p14:tracePt t="16243" x="2914650" y="2262188"/>
          <p14:tracePt t="16244" x="2911475" y="2262188"/>
          <p14:tracePt t="16244" x="2903538" y="2265363"/>
          <p14:tracePt t="16246" x="2895600" y="2265363"/>
          <p14:tracePt t="16246" x="2890838" y="2265363"/>
          <p14:tracePt t="16247" x="2886075" y="2270125"/>
          <p14:tracePt t="16248" x="2878138" y="2270125"/>
          <p14:tracePt t="16249" x="2874963" y="2270125"/>
          <p14:tracePt t="16250" x="2870200" y="2270125"/>
          <p14:tracePt t="16251" x="2862263" y="2270125"/>
          <p14:tracePt t="16252" x="2854325" y="2273300"/>
          <p14:tracePt t="16253" x="2851150" y="2273300"/>
          <p14:tracePt t="16254" x="2843213" y="2273300"/>
          <p14:tracePt t="16255" x="2835275" y="2273300"/>
          <p14:tracePt t="16256" x="2830513" y="2278063"/>
          <p14:tracePt t="16258" x="2827338" y="2278063"/>
          <p14:tracePt t="16259" x="2819400" y="2278063"/>
          <p14:tracePt t="16260" x="2814638" y="2278063"/>
          <p14:tracePt t="16260" x="2806700" y="2281238"/>
          <p14:tracePt t="16261" x="2798763" y="2281238"/>
          <p14:tracePt t="16263" x="2790825" y="2281238"/>
          <p14:tracePt t="16265" x="2778125" y="2286000"/>
          <p14:tracePt t="16265" x="2774950" y="2286000"/>
          <p14:tracePt t="16266" x="2770188" y="2286000"/>
          <p14:tracePt t="16267" x="2762250" y="2286000"/>
          <p14:tracePt t="16269" x="2751138" y="2290763"/>
          <p14:tracePt t="16270" x="2746375" y="2290763"/>
          <p14:tracePt t="16271" x="2738438" y="2290763"/>
          <p14:tracePt t="16272" x="2730500" y="2290763"/>
          <p14:tracePt t="16274" x="2722563" y="2293938"/>
          <p14:tracePt t="16275" x="2719388" y="2293938"/>
          <p14:tracePt t="16276" x="2711450" y="2293938"/>
          <p14:tracePt t="16276" x="2701925" y="2293938"/>
          <p14:tracePt t="16277" x="2698750" y="2298700"/>
          <p14:tracePt t="16278" x="2690813" y="2298700"/>
          <p14:tracePt t="16279" x="2682875" y="2298700"/>
          <p14:tracePt t="16280" x="2678113" y="2298700"/>
          <p14:tracePt t="16281" x="2667000" y="2298700"/>
          <p14:tracePt t="16282" x="2662238" y="2298700"/>
          <p14:tracePt t="16284" x="2654300" y="2301875"/>
          <p14:tracePt t="16284" x="2651125" y="2301875"/>
          <p14:tracePt t="16285" x="2643188" y="2301875"/>
          <p14:tracePt t="16286" x="2635250" y="2301875"/>
          <p14:tracePt t="16287" x="2627313" y="2306638"/>
          <p14:tracePt t="16288" x="2617788" y="2306638"/>
          <p14:tracePt t="16289" x="2609850" y="2306638"/>
          <p14:tracePt t="16291" x="2606675" y="2306638"/>
          <p14:tracePt t="16292" x="2586038" y="2306638"/>
          <p14:tracePt t="16293" x="2582863" y="2306638"/>
          <p14:tracePt t="16294" x="2574925" y="2306638"/>
          <p14:tracePt t="16295" x="2566988" y="2306638"/>
          <p14:tracePt t="16296" x="2559050" y="2309813"/>
          <p14:tracePt t="16297" x="2551113" y="2309813"/>
          <p14:tracePt t="16298" x="2543175" y="2309813"/>
          <p14:tracePt t="16300" x="2530475" y="2309813"/>
          <p14:tracePt t="16300" x="2522538" y="2309813"/>
          <p14:tracePt t="16301" x="2514600" y="2314575"/>
          <p14:tracePt t="16302" x="2506663" y="2314575"/>
          <p14:tracePt t="16303" x="2498725" y="2314575"/>
          <p14:tracePt t="16304" x="2490788" y="2314575"/>
          <p14:tracePt t="16305" x="2486025" y="2314575"/>
          <p14:tracePt t="16306" x="2478088" y="2314575"/>
          <p14:tracePt t="16308" x="2466975" y="2314575"/>
          <p14:tracePt t="16309" x="2462213" y="2317750"/>
          <p14:tracePt t="16309" x="2454275" y="2317750"/>
          <p14:tracePt t="16310" x="2446338" y="2317750"/>
          <p14:tracePt t="16311" x="2433638" y="2317750"/>
          <p14:tracePt t="16312" x="2430463" y="2317750"/>
          <p14:tracePt t="16313" x="2422525" y="2322513"/>
          <p14:tracePt t="16315" x="2414588" y="2322513"/>
          <p14:tracePt t="16315" x="2406650" y="2322513"/>
          <p14:tracePt t="16316" x="2393950" y="2322513"/>
          <p14:tracePt t="16317" x="2386013" y="2322513"/>
          <p14:tracePt t="16319" x="2378075" y="2322513"/>
          <p14:tracePt t="16321" x="2370138" y="2322513"/>
          <p14:tracePt t="16321" x="2359025" y="2322513"/>
          <p14:tracePt t="16322" x="2351088" y="2322513"/>
          <p14:tracePt t="16325" x="2346325" y="2325688"/>
          <p14:tracePt t="16325" x="2338388" y="2325688"/>
          <p14:tracePt t="16326" x="2333625" y="2325688"/>
          <p14:tracePt t="16327" x="2325688" y="2325688"/>
          <p14:tracePt t="16328" x="2322513" y="2325688"/>
          <p14:tracePt t="16329" x="2314575" y="2325688"/>
          <p14:tracePt t="16330" x="2309813" y="2325688"/>
          <p14:tracePt t="16331" x="2301875" y="2325688"/>
          <p14:tracePt t="16332" x="2298700" y="2325688"/>
          <p14:tracePt t="16333" x="2293938" y="2325688"/>
          <p14:tracePt t="16334" x="2290763" y="2330450"/>
          <p14:tracePt t="16336" x="2286000" y="2330450"/>
          <p14:tracePt t="16337" x="2282825" y="2330450"/>
          <p14:tracePt t="16338" x="2278063" y="2330450"/>
          <p14:tracePt t="16339" x="2274888" y="2330450"/>
          <p14:tracePt t="16341" x="2270125" y="2330450"/>
          <p14:tracePt t="16342" x="2266950" y="2330450"/>
          <p14:tracePt t="16344" x="2262188" y="2330450"/>
          <p14:tracePt t="16346" x="2259013" y="2330450"/>
          <p14:tracePt t="16347" x="2254250" y="2330450"/>
          <p14:tracePt t="16349" x="2249488" y="2330450"/>
          <p14:tracePt t="16355" x="2246313" y="2330450"/>
          <p14:tracePt t="16358" x="2241550" y="2330450"/>
          <p14:tracePt t="16371" x="2238375" y="2330450"/>
          <p14:tracePt t="16394" x="2233613" y="2330450"/>
          <p14:tracePt t="16400" x="2230438" y="2333625"/>
          <p14:tracePt t="16404" x="2225675" y="2333625"/>
          <p14:tracePt t="16407" x="2222500" y="2333625"/>
          <p14:tracePt t="16408" x="2217738" y="2333625"/>
          <p14:tracePt t="16409" x="2214563" y="2333625"/>
          <p14:tracePt t="16411" x="2209800" y="2333625"/>
          <p14:tracePt t="16414" x="2206625" y="2333625"/>
          <p14:tracePt t="16417" x="2201863" y="2333625"/>
          <p14:tracePt t="16417" x="2198688" y="2333625"/>
          <p14:tracePt t="16419" x="2193925" y="2338388"/>
          <p14:tracePt t="16420" x="2190750" y="2338388"/>
          <p14:tracePt t="16421" x="2185988" y="2338388"/>
          <p14:tracePt t="16424" x="2178050" y="2338388"/>
          <p14:tracePt t="16425" x="2174875" y="2338388"/>
          <p14:tracePt t="16427" x="2170113" y="2338388"/>
          <p14:tracePt t="16427" x="2165350" y="2338388"/>
          <p14:tracePt t="16429" x="2162175" y="2338388"/>
          <p14:tracePt t="16430" x="2157413" y="2341563"/>
          <p14:tracePt t="16431" x="2154238" y="2341563"/>
          <p14:tracePt t="16432" x="2149475" y="2341563"/>
          <p14:tracePt t="16433" x="2146300" y="2341563"/>
          <p14:tracePt t="16434" x="2141538" y="2341563"/>
          <p14:tracePt t="16435" x="2138363" y="2341563"/>
          <p14:tracePt t="16436" x="2133600" y="2341563"/>
          <p14:tracePt t="16437" x="2130425" y="2341563"/>
          <p14:tracePt t="16438" x="2125663" y="2341563"/>
          <p14:tracePt t="16441" x="2122488" y="2341563"/>
          <p14:tracePt t="16442" x="2117725" y="2341563"/>
          <p14:tracePt t="16443" x="2114550" y="2341563"/>
          <p14:tracePt t="16443" x="2109788" y="2341563"/>
          <p14:tracePt t="16444" x="2106613" y="2341563"/>
          <p14:tracePt t="16445" x="2101850" y="2341563"/>
          <p14:tracePt t="16446" x="2098675" y="2341563"/>
          <p14:tracePt t="16447" x="2093913" y="2341563"/>
          <p14:tracePt t="16448" x="2090738" y="2341563"/>
          <p14:tracePt t="16450" x="2085975" y="2341563"/>
          <p14:tracePt t="16453" x="2082800" y="2341563"/>
          <p14:tracePt t="16455" x="2078038" y="2341563"/>
          <p14:tracePt t="16458" x="2073275" y="2341563"/>
          <p14:tracePt t="16460" x="2070100" y="2341563"/>
          <p14:tracePt t="16461" x="2065338" y="2346325"/>
          <p14:tracePt t="16464" x="2062163" y="2346325"/>
          <p14:tracePt t="16466" x="2057400" y="2346325"/>
          <p14:tracePt t="16469" x="2054225" y="2346325"/>
          <p14:tracePt t="16472" x="2049463" y="2346325"/>
          <p14:tracePt t="16479" x="2046288" y="2346325"/>
          <p14:tracePt t="16493" x="2041525" y="2346325"/>
          <p14:tracePt t="16498" x="2038350" y="2346325"/>
          <p14:tracePt t="16505" x="2033588" y="2346325"/>
          <p14:tracePt t="16509" x="2030413" y="2346325"/>
          <p14:tracePt t="16514" x="2025650" y="2346325"/>
          <p14:tracePt t="16518" x="2022475" y="2346325"/>
          <p14:tracePt t="16520" x="2017713" y="2346325"/>
          <p14:tracePt t="16524" x="2014538" y="2346325"/>
          <p14:tracePt t="16525" x="2009775" y="2346325"/>
          <p14:tracePt t="16528" x="2009775" y="2349500"/>
          <p14:tracePt t="16528" x="2006600" y="2349500"/>
          <p14:tracePt t="16533" x="2001838" y="2349500"/>
          <p14:tracePt t="16535" x="1993900" y="2349500"/>
          <p14:tracePt t="16536" x="1990725" y="2349500"/>
          <p14:tracePt t="16538" x="1985963" y="2349500"/>
          <p14:tracePt t="16541" x="1981200" y="2349500"/>
          <p14:tracePt t="16542" x="1978025" y="2349500"/>
          <p14:tracePt t="16544" x="1973263" y="2349500"/>
          <p14:tracePt t="16546" x="1970088" y="2349500"/>
          <p14:tracePt t="16549" x="1965325" y="2349500"/>
          <p14:tracePt t="16550" x="1962150" y="2349500"/>
          <p14:tracePt t="16552" x="1957388" y="2349500"/>
          <p14:tracePt t="16553" x="1954213" y="2349500"/>
          <p14:tracePt t="16554" x="1949450" y="2349500"/>
          <p14:tracePt t="16556" x="1946275" y="2349500"/>
          <p14:tracePt t="16558" x="1941513" y="2349500"/>
          <p14:tracePt t="16559" x="1938338" y="2349500"/>
          <p14:tracePt t="16559" x="1933575" y="2349500"/>
          <p14:tracePt t="16561" x="1930400" y="2349500"/>
          <p14:tracePt t="16562" x="1925638" y="2349500"/>
          <p14:tracePt t="16564" x="1922463" y="2349500"/>
          <p14:tracePt t="16566" x="1917700" y="2349500"/>
          <p14:tracePt t="16568" x="1914525" y="2349500"/>
          <p14:tracePt t="16569" x="1909763" y="2349500"/>
          <p14:tracePt t="16570" x="1906588" y="2349500"/>
          <p14:tracePt t="16572" x="1901825" y="2349500"/>
          <p14:tracePt t="16574" x="1898650" y="2349500"/>
          <p14:tracePt t="16575" x="1893888" y="2349500"/>
          <p14:tracePt t="16577" x="1889125" y="2349500"/>
          <p14:tracePt t="16579" x="1885950" y="2349500"/>
          <p14:tracePt t="16581" x="1881188" y="2349500"/>
          <p14:tracePt t="16585" x="1878013" y="2349500"/>
          <p14:tracePt t="16590" x="1873250" y="2349500"/>
          <p14:tracePt t="16592" x="1870075" y="2349500"/>
          <p14:tracePt t="16595" x="1865313" y="2349500"/>
          <p14:tracePt t="16597" x="1862138" y="2354263"/>
          <p14:tracePt t="16602" x="1857375" y="2354263"/>
          <p14:tracePt t="16605" x="1854200" y="2354263"/>
          <p14:tracePt t="16608" x="1849438" y="2354263"/>
          <p14:tracePt t="16612" x="1846263" y="2354263"/>
          <p14:tracePt t="16615" x="1841500" y="2354263"/>
          <p14:tracePt t="16624" x="1838325" y="2354263"/>
          <p14:tracePt t="16627" x="1833563" y="2354263"/>
          <p14:tracePt t="16628" x="1830388" y="2354263"/>
          <p14:tracePt t="16630" x="1825625" y="2354263"/>
          <p14:tracePt t="16631" x="1822450" y="2354263"/>
          <p14:tracePt t="16635" x="1817688" y="2354263"/>
          <p14:tracePt t="16638" x="1814513" y="2354263"/>
          <p14:tracePt t="16639" x="1809750" y="2354263"/>
          <p14:tracePt t="16642" x="1804988" y="2354263"/>
          <p14:tracePt t="16644" x="1801813" y="2354263"/>
          <p14:tracePt t="16650" x="1797050" y="2354263"/>
          <p14:tracePt t="16653" x="1793875" y="2354263"/>
          <p14:tracePt t="16656" x="1789113" y="2354263"/>
          <p14:tracePt t="16658" x="1785938" y="2354263"/>
          <p14:tracePt t="16661" x="1781175" y="2354263"/>
          <p14:tracePt t="16663" x="1778000" y="2354263"/>
          <p14:tracePt t="16665" x="1773238" y="2354263"/>
          <p14:tracePt t="16667" x="1770063" y="2354263"/>
          <p14:tracePt t="16668" x="1765300" y="2354263"/>
          <p14:tracePt t="16671" x="1762125" y="2354263"/>
          <p14:tracePt t="16674" x="1757363" y="2354263"/>
          <p14:tracePt t="16677" x="1754188" y="2354263"/>
          <p14:tracePt t="16679" x="1754188" y="2349500"/>
          <p14:tracePt t="16680" x="1749425" y="2349500"/>
          <p14:tracePt t="16681" x="1746250" y="2349500"/>
          <p14:tracePt t="16682" x="1741488" y="2349500"/>
          <p14:tracePt t="16682" x="1738313" y="2349500"/>
          <p14:tracePt t="16684" x="1733550" y="2349500"/>
          <p14:tracePt t="16685" x="1730375" y="2349500"/>
          <p14:tracePt t="16686" x="1725613" y="2349500"/>
          <p14:tracePt t="16688" x="1722438" y="2346325"/>
          <p14:tracePt t="16691" x="1717675" y="2346325"/>
          <p14:tracePt t="16692" x="1712913" y="2346325"/>
          <p14:tracePt t="16693" x="1709738" y="2346325"/>
          <p14:tracePt t="16693" x="1704975" y="2346325"/>
          <p14:tracePt t="16694" x="1701800" y="2346325"/>
          <p14:tracePt t="16696" x="1697038" y="2346325"/>
          <p14:tracePt t="16696" x="1693863" y="2346325"/>
          <p14:tracePt t="16697" x="1689100" y="2346325"/>
          <p14:tracePt t="16698" x="1685925" y="2346325"/>
          <p14:tracePt t="16699" x="1681163" y="2341563"/>
          <p14:tracePt t="16701" x="1677988" y="2341563"/>
          <p14:tracePt t="16702" x="1673225" y="2341563"/>
          <p14:tracePt t="16703" x="1670050" y="2341563"/>
          <p14:tracePt t="16705" x="1665288" y="2341563"/>
          <p14:tracePt t="16706" x="1662113" y="2341563"/>
          <p14:tracePt t="16706" x="1657350" y="2338388"/>
          <p14:tracePt t="16707" x="1654175" y="2338388"/>
          <p14:tracePt t="16708" x="1649413" y="2338388"/>
          <p14:tracePt t="16709" x="1646238" y="2338388"/>
          <p14:tracePt t="16710" x="1641475" y="2338388"/>
          <p14:tracePt t="16711" x="1638300" y="2333625"/>
          <p14:tracePt t="16713" x="1633538" y="2333625"/>
          <p14:tracePt t="16714" x="1630363" y="2333625"/>
          <p14:tracePt t="16716" x="1625600" y="2333625"/>
          <p14:tracePt t="16717" x="1620838" y="2333625"/>
          <p14:tracePt t="16718" x="1617663" y="2333625"/>
          <p14:tracePt t="16719" x="1612900" y="2333625"/>
          <p14:tracePt t="16720" x="1609725" y="2330450"/>
          <p14:tracePt t="16722" x="1604963" y="2330450"/>
          <p14:tracePt t="16722" x="1601788" y="2330450"/>
          <p14:tracePt t="16725" x="1597025" y="2330450"/>
          <p14:tracePt t="16726" x="1593850" y="2325688"/>
          <p14:tracePt t="16728" x="1589088" y="2325688"/>
          <p14:tracePt t="16729" x="1585913" y="2325688"/>
          <p14:tracePt t="16732" x="1581150" y="2325688"/>
          <p14:tracePt t="16733" x="1577975" y="2325688"/>
          <p14:tracePt t="16735" x="1573213" y="2325688"/>
          <p14:tracePt t="16737" x="1570038" y="2322513"/>
          <p14:tracePt t="16741" x="1565275" y="2322513"/>
          <p14:tracePt t="16743" x="1562100" y="2322513"/>
          <p14:tracePt t="16747" x="1557338" y="2322513"/>
          <p14:tracePt t="16752" x="1554163" y="2322513"/>
          <p14:tracePt t="16754" x="1554163" y="2317750"/>
          <p14:tracePt t="16755" x="1549400" y="2317750"/>
          <p14:tracePt t="16762" x="1546225" y="2317750"/>
          <p14:tracePt t="16767" x="1541463" y="2317750"/>
          <p14:tracePt t="16771" x="1538288" y="2317750"/>
          <p14:tracePt t="16773" x="1533525" y="2317750"/>
          <p14:tracePt t="16777" x="1528763" y="2317750"/>
          <p14:tracePt t="16782" x="1525588" y="2317750"/>
          <p14:tracePt t="16787" x="1520825" y="2317750"/>
          <p14:tracePt t="16788" x="1520825" y="2314575"/>
          <p14:tracePt t="16789" x="1517650" y="2314575"/>
          <p14:tracePt t="16797" x="1512888" y="2314575"/>
          <p14:tracePt t="16801" x="1509713" y="2314575"/>
          <p14:tracePt t="16803" x="1504950" y="2314575"/>
          <p14:tracePt t="16804" x="1501775" y="2314575"/>
          <p14:tracePt t="16805" x="1501775" y="2309813"/>
          <p14:tracePt t="16807" x="1497013" y="2309813"/>
          <p14:tracePt t="16809" x="1493838" y="2309813"/>
          <p14:tracePt t="16812" x="1489075" y="2309813"/>
          <p14:tracePt t="16813" x="1489075" y="2306638"/>
          <p14:tracePt t="16815" x="1485900" y="2306638"/>
          <p14:tracePt t="16816" x="1481138" y="2306638"/>
          <p14:tracePt t="16817" x="1477963" y="2306638"/>
          <p14:tracePt t="16822" x="1473200" y="2306638"/>
          <p14:tracePt t="16822" x="1473200" y="2301875"/>
          <p14:tracePt t="16824" x="1470025" y="2301875"/>
          <p14:tracePt t="16825" x="1465263" y="2301875"/>
          <p14:tracePt t="16826" x="1462088" y="2301875"/>
          <p14:tracePt t="16828" x="1457325" y="2301875"/>
          <p14:tracePt t="16831" x="1454150" y="2301875"/>
          <p14:tracePt t="16831" x="1449388" y="2301875"/>
          <p14:tracePt t="16832" x="1446213" y="2301875"/>
          <p14:tracePt t="16834" x="1441450" y="2301875"/>
          <p14:tracePt t="16835" x="1441450" y="2298700"/>
          <p14:tracePt t="16836" x="1436688" y="2298700"/>
          <p14:tracePt t="16839" x="1433513" y="2298700"/>
          <p14:tracePt t="16841" x="1428750" y="2298700"/>
          <p14:tracePt t="16843" x="1425575" y="2298700"/>
          <p14:tracePt t="16846" x="1425575" y="2293938"/>
          <p14:tracePt t="16848" x="1420813" y="2293938"/>
          <p14:tracePt t="16850" x="1417638" y="2293938"/>
          <p14:tracePt t="16858" x="1412875" y="2293938"/>
          <p14:tracePt t="17065" x="1409700" y="2293938"/>
          <p14:tracePt t="17080" x="1404938" y="2293938"/>
          <p14:tracePt t="17083" x="1404938" y="2290763"/>
          <p14:tracePt t="17084" x="1401763" y="2290763"/>
          <p14:tracePt t="17087" x="1397000" y="2290763"/>
          <p14:tracePt t="17092" x="1393825" y="2290763"/>
          <p14:tracePt t="17093" x="1389063" y="2290763"/>
          <p14:tracePt t="17095" x="1389063" y="2286000"/>
          <p14:tracePt t="17098" x="1385888" y="2286000"/>
          <p14:tracePt t="17100" x="1381125" y="2286000"/>
          <p14:tracePt t="17110" x="1370013" y="2286000"/>
          <p14:tracePt t="17111" x="1365250" y="2286000"/>
          <p14:tracePt t="17113" x="1362075" y="2286000"/>
          <p14:tracePt t="17116" x="1357313" y="2286000"/>
          <p14:tracePt t="17120" x="1352550" y="2281238"/>
          <p14:tracePt t="17122" x="1349375" y="2281238"/>
          <p14:tracePt t="17125" x="1344613" y="2281238"/>
          <p14:tracePt t="17127" x="1341438" y="2281238"/>
          <p14:tracePt t="17131" x="1336675" y="2281238"/>
          <p14:tracePt t="17132" x="1333500" y="2281238"/>
          <p14:tracePt t="17133" x="1333500" y="2278063"/>
          <p14:tracePt t="17136" x="1328738" y="2278063"/>
          <p14:tracePt t="17142" x="1325563" y="2278063"/>
          <p14:tracePt t="17199" x="1320800" y="2278063"/>
          <p14:tracePt t="17203" x="1317625" y="2278063"/>
          <p14:tracePt t="17205" x="1312863" y="2278063"/>
          <p14:tracePt t="17211" x="1309688" y="2278063"/>
          <p14:tracePt t="17214" x="1304925" y="2278063"/>
          <p14:tracePt t="17216" x="1301750" y="2278063"/>
          <p14:tracePt t="17220" x="1296988" y="2278063"/>
          <p14:tracePt t="17222" x="1293813" y="2278063"/>
          <p14:tracePt t="17226" x="1289050" y="2278063"/>
          <p14:tracePt t="17227" x="1285875" y="2278063"/>
          <p14:tracePt t="17230" x="1281113" y="2278063"/>
          <p14:tracePt t="17232" x="1281113" y="2281238"/>
          <p14:tracePt t="17233" x="1277938" y="2281238"/>
          <p14:tracePt t="17237" x="1273175" y="2286000"/>
          <p14:tracePt t="17245" x="1270000" y="2286000"/>
          <p14:tracePt t="17253" x="1265238" y="2286000"/>
          <p14:tracePt t="17254" x="1265238" y="2290763"/>
          <p14:tracePt t="17257" x="1260475" y="2290763"/>
          <p14:tracePt t="17337" x="1260475" y="2293938"/>
          <p14:tracePt t="17342" x="1265238" y="2293938"/>
          <p14:tracePt t="17345" x="1270000" y="2293938"/>
          <p14:tracePt t="17349" x="1273175" y="2293938"/>
          <p14:tracePt t="17350" x="1277938" y="2293938"/>
          <p14:tracePt t="17351" x="1281113" y="2293938"/>
          <p14:tracePt t="17352" x="1289050" y="2293938"/>
          <p14:tracePt t="17353" x="1293813" y="2293938"/>
          <p14:tracePt t="17355" x="1296988" y="2293938"/>
          <p14:tracePt t="17355" x="1301750" y="2293938"/>
          <p14:tracePt t="17357" x="1304925" y="2298700"/>
          <p14:tracePt t="17358" x="1312863" y="2298700"/>
          <p14:tracePt t="17360" x="1320800" y="2298700"/>
          <p14:tracePt t="17361" x="1328738" y="2298700"/>
          <p14:tracePt t="17362" x="1333500" y="2298700"/>
          <p14:tracePt t="17363" x="1341438" y="2301875"/>
          <p14:tracePt t="17364" x="1349375" y="2301875"/>
          <p14:tracePt t="17365" x="1357313" y="2301875"/>
          <p14:tracePt t="17366" x="1365250" y="2301875"/>
          <p14:tracePt t="17368" x="1373188" y="2301875"/>
          <p14:tracePt t="17369" x="1385888" y="2306638"/>
          <p14:tracePt t="17369" x="1393825" y="2306638"/>
          <p14:tracePt t="17370" x="1401763" y="2306638"/>
          <p14:tracePt t="17371" x="1404938" y="2306638"/>
          <p14:tracePt t="17372" x="1417638" y="2306638"/>
          <p14:tracePt t="17374" x="1436688" y="2306638"/>
          <p14:tracePt t="17376" x="1454150" y="2309813"/>
          <p14:tracePt t="17377" x="1473200" y="2309813"/>
          <p14:tracePt t="17379" x="1481138" y="2309813"/>
          <p14:tracePt t="17379" x="1489075" y="2309813"/>
          <p14:tracePt t="17380" x="1504950" y="2309813"/>
          <p14:tracePt t="17381" x="1512888" y="2309813"/>
          <p14:tracePt t="17382" x="1525588" y="2309813"/>
          <p14:tracePt t="17383" x="1541463" y="2309813"/>
          <p14:tracePt t="17384" x="1549400" y="2309813"/>
          <p14:tracePt t="17385" x="1562100" y="2309813"/>
          <p14:tracePt t="17386" x="1577975" y="2309813"/>
          <p14:tracePt t="17387" x="1589088" y="2309813"/>
          <p14:tracePt t="17388" x="1597025" y="2309813"/>
          <p14:tracePt t="17389" x="1609725" y="2309813"/>
          <p14:tracePt t="17391" x="1617663" y="2309813"/>
          <p14:tracePt t="17392" x="1625600" y="2309813"/>
          <p14:tracePt t="17392" x="1641475" y="2309813"/>
          <p14:tracePt t="17393" x="1654175" y="2309813"/>
          <p14:tracePt t="17394" x="1662113" y="2309813"/>
          <p14:tracePt t="17395" x="1677988" y="2309813"/>
          <p14:tracePt t="17396" x="1685925" y="2309813"/>
          <p14:tracePt t="17397" x="1693863" y="2309813"/>
          <p14:tracePt t="17398" x="1704975" y="2309813"/>
          <p14:tracePt t="17399" x="1712913" y="2309813"/>
          <p14:tracePt t="17400" x="1730375" y="2309813"/>
          <p14:tracePt t="17401" x="1738313" y="2309813"/>
          <p14:tracePt t="17402" x="1746250" y="2309813"/>
          <p14:tracePt t="17403" x="1757363" y="2309813"/>
          <p14:tracePt t="17404" x="1765300" y="2309813"/>
          <p14:tracePt t="17405" x="1773238" y="2309813"/>
          <p14:tracePt t="17406" x="1781175" y="2309813"/>
          <p14:tracePt t="17408" x="1789113" y="2309813"/>
          <p14:tracePt t="17410" x="1814513" y="2309813"/>
          <p14:tracePt t="17410" x="1817688" y="2309813"/>
          <p14:tracePt t="17411" x="1825625" y="2309813"/>
          <p14:tracePt t="17412" x="1833563" y="2309813"/>
          <p14:tracePt t="17413" x="1841500" y="2309813"/>
          <p14:tracePt t="17414" x="1849438" y="2309813"/>
          <p14:tracePt t="17416" x="1854200" y="2309813"/>
          <p14:tracePt t="17416" x="1862138" y="2309813"/>
          <p14:tracePt t="17418" x="1865313" y="2309813"/>
          <p14:tracePt t="17418" x="1873250" y="2309813"/>
          <p14:tracePt t="17419" x="1878013" y="2309813"/>
          <p14:tracePt t="17422" x="1885950" y="2309813"/>
          <p14:tracePt t="17422" x="1889125" y="2309813"/>
          <p14:tracePt t="17424" x="1898650" y="2309813"/>
          <p14:tracePt t="17425" x="1901825" y="2309813"/>
          <p14:tracePt t="17426" x="1906588" y="2309813"/>
          <p14:tracePt t="17427" x="1909763" y="2309813"/>
          <p14:tracePt t="17428" x="1914525" y="2309813"/>
          <p14:tracePt t="17429" x="1917700" y="2309813"/>
          <p14:tracePt t="17430" x="1922463" y="2309813"/>
          <p14:tracePt t="17434" x="1925638" y="2309813"/>
          <p14:tracePt t="17434" x="1930400" y="2309813"/>
          <p14:tracePt t="17436" x="1933575" y="2309813"/>
          <p14:tracePt t="17438" x="1938338" y="2309813"/>
          <p14:tracePt t="17441" x="1941513" y="2309813"/>
          <p14:tracePt t="17443" x="1946275" y="2309813"/>
          <p14:tracePt t="17447" x="1949450" y="2309813"/>
          <p14:tracePt t="17458" x="1954213" y="2309813"/>
          <p14:tracePt t="17469" x="1957388" y="2309813"/>
          <p14:tracePt t="17475" x="1962150" y="2309813"/>
          <p14:tracePt t="17479" x="1962150" y="2306638"/>
          <p14:tracePt t="17482" x="1965325" y="2306638"/>
          <p14:tracePt t="17484" x="1970088" y="2301875"/>
          <p14:tracePt t="17485" x="1973263" y="2301875"/>
          <p14:tracePt t="17487" x="1978025" y="2301875"/>
          <p14:tracePt t="17488" x="1981200" y="2301875"/>
          <p14:tracePt t="17489" x="1985963" y="2298700"/>
          <p14:tracePt t="17491" x="1990725" y="2298700"/>
          <p14:tracePt t="17492" x="1993900" y="2298700"/>
          <p14:tracePt t="17494" x="1998663" y="2298700"/>
          <p14:tracePt t="17494" x="2001838" y="2298700"/>
          <p14:tracePt t="17497" x="2006600" y="2293938"/>
          <p14:tracePt t="17498" x="2009775" y="2293938"/>
          <p14:tracePt t="17499" x="2014538" y="2293938"/>
          <p14:tracePt t="17500" x="2017713" y="2293938"/>
          <p14:tracePt t="17501" x="2022475" y="2293938"/>
          <p14:tracePt t="17501" x="2025650" y="2293938"/>
          <p14:tracePt t="17502" x="2030413" y="2293938"/>
          <p14:tracePt t="17503" x="2033588" y="2293938"/>
          <p14:tracePt t="17504" x="2041525" y="2293938"/>
          <p14:tracePt t="17505" x="2046288" y="2293938"/>
          <p14:tracePt t="17506" x="2049463" y="2290763"/>
          <p14:tracePt t="17508" x="2054225" y="2290763"/>
          <p14:tracePt t="17509" x="2057400" y="2290763"/>
          <p14:tracePt t="17510" x="2062163" y="2286000"/>
          <p14:tracePt t="17511" x="2065338" y="2286000"/>
          <p14:tracePt t="17512" x="2073275" y="2286000"/>
          <p14:tracePt t="17513" x="2078038" y="2286000"/>
          <p14:tracePt t="17514" x="2082800" y="2281238"/>
          <p14:tracePt t="17515" x="2085975" y="2281238"/>
          <p14:tracePt t="17516" x="2093913" y="2281238"/>
          <p14:tracePt t="17517" x="2098675" y="2281238"/>
          <p14:tracePt t="17519" x="2101850" y="2281238"/>
          <p14:tracePt t="17520" x="2106613" y="2278063"/>
          <p14:tracePt t="17521" x="2109788" y="2278063"/>
          <p14:tracePt t="17522" x="2114550" y="2278063"/>
          <p14:tracePt t="17523" x="2117725" y="2278063"/>
          <p14:tracePt t="17525" x="2125663" y="2278063"/>
          <p14:tracePt t="17525" x="2130425" y="2278063"/>
          <p14:tracePt t="17526" x="2133600" y="2273300"/>
          <p14:tracePt t="17529" x="2138363" y="2273300"/>
          <p14:tracePt t="17529" x="2141538" y="2273300"/>
          <p14:tracePt t="17531" x="2146300" y="2273300"/>
          <p14:tracePt t="17533" x="2149475" y="2273300"/>
          <p14:tracePt t="17534" x="2154238" y="2273300"/>
          <p14:tracePt t="17534" x="2157413" y="2273300"/>
          <p14:tracePt t="17536" x="2162175" y="2270125"/>
          <p14:tracePt t="17538" x="2165350" y="2270125"/>
          <p14:tracePt t="17539" x="2170113" y="2270125"/>
          <p14:tracePt t="17542" x="2174875" y="2270125"/>
          <p14:tracePt t="17545" x="2178050" y="2270125"/>
          <p14:tracePt t="17546" x="2182813" y="2265363"/>
          <p14:tracePt t="17550" x="2185988" y="2265363"/>
          <p14:tracePt t="17557" x="2190750" y="2265363"/>
          <p14:tracePt t="17562" x="2193925" y="2265363"/>
          <p14:tracePt t="17567" x="2198688" y="2265363"/>
          <p14:tracePt t="17569" x="2201863" y="2265363"/>
          <p14:tracePt t="17573" x="2206625" y="2265363"/>
          <p14:tracePt t="17576" x="2209800" y="2265363"/>
          <p14:tracePt t="17581" x="2214563" y="2265363"/>
          <p14:tracePt t="17584" x="2217738" y="2265363"/>
          <p14:tracePt t="17587" x="2222500" y="2265363"/>
          <p14:tracePt t="17590" x="2225675" y="2265363"/>
          <p14:tracePt t="17595" x="2225675" y="2262188"/>
          <p14:tracePt t="17597" x="2230438" y="2262188"/>
          <p14:tracePt t="17599" x="2233613" y="2262188"/>
          <p14:tracePt t="17600" x="2238375" y="2262188"/>
          <p14:tracePt t="17602" x="2241550" y="2262188"/>
          <p14:tracePt t="17604" x="2246313" y="2262188"/>
          <p14:tracePt t="17607" x="2249488" y="2262188"/>
          <p14:tracePt t="17608" x="2254250" y="2262188"/>
          <p14:tracePt t="17609" x="2259013" y="2262188"/>
          <p14:tracePt t="17612" x="2262188" y="2262188"/>
          <p14:tracePt t="17612" x="2266950" y="2262188"/>
          <p14:tracePt t="17615" x="2270125" y="2262188"/>
          <p14:tracePt t="17617" x="2274888" y="2257425"/>
          <p14:tracePt t="17617" x="2278063" y="2257425"/>
          <p14:tracePt t="17619" x="2282825" y="2257425"/>
          <p14:tracePt t="17620" x="2286000" y="2257425"/>
          <p14:tracePt t="17620" x="2290763" y="2257425"/>
          <p14:tracePt t="17622" x="2293938" y="2257425"/>
          <p14:tracePt t="17623" x="2298700" y="2257425"/>
          <p14:tracePt t="17624" x="2306638" y="2257425"/>
          <p14:tracePt t="17626" x="2306638" y="2254250"/>
          <p14:tracePt t="17627" x="2309813" y="2254250"/>
          <p14:tracePt t="17629" x="2317750" y="2254250"/>
          <p14:tracePt t="17629" x="2322513" y="2254250"/>
          <p14:tracePt t="17630" x="2325688" y="2254250"/>
          <p14:tracePt t="17631" x="2333625" y="2254250"/>
          <p14:tracePt t="17632" x="2338388" y="2254250"/>
          <p14:tracePt t="17633" x="2341563" y="2254250"/>
          <p14:tracePt t="17634" x="2346325" y="2254250"/>
          <p14:tracePt t="17635" x="2351088" y="2254250"/>
          <p14:tracePt t="17636" x="2354263" y="2254250"/>
          <p14:tracePt t="17638" x="2359025" y="2254250"/>
          <p14:tracePt t="17639" x="2362200" y="2254250"/>
          <p14:tracePt t="17641" x="2366963" y="2254250"/>
          <p14:tracePt t="17642" x="2370138" y="2254250"/>
          <p14:tracePt t="17643" x="2378075" y="2249488"/>
          <p14:tracePt t="17644" x="2382838" y="2249488"/>
          <p14:tracePt t="17645" x="2386013" y="2249488"/>
          <p14:tracePt t="17648" x="2390775" y="2249488"/>
          <p14:tracePt t="17648" x="2393950" y="2249488"/>
          <p14:tracePt t="17650" x="2398713" y="2249488"/>
          <p14:tracePt t="17651" x="2398713" y="2246313"/>
          <p14:tracePt t="17653" x="2401888" y="2246313"/>
          <p14:tracePt t="17653" x="2406650" y="2246313"/>
          <p14:tracePt t="17655" x="2409825" y="2246313"/>
          <p14:tracePt t="17657" x="2414588" y="2246313"/>
          <p14:tracePt t="17659" x="2417763" y="2246313"/>
          <p14:tracePt t="17660" x="2422525" y="2246313"/>
          <p14:tracePt t="17663" x="2425700" y="2241550"/>
          <p14:tracePt t="17668" x="2430463" y="2241550"/>
          <p14:tracePt t="17673" x="2433638" y="2241550"/>
          <p14:tracePt t="17685" x="2438400" y="2241550"/>
          <p14:tracePt t="17699" x="2443163" y="2241550"/>
          <p14:tracePt t="17708" x="2446338" y="2241550"/>
          <p14:tracePt t="17712" x="2451100" y="2241550"/>
          <p14:tracePt t="17715" x="2454275" y="2241550"/>
          <p14:tracePt t="17721" x="2459038" y="2241550"/>
          <p14:tracePt t="17724" x="2459038" y="2238375"/>
          <p14:tracePt t="17727" x="2462213" y="2238375"/>
          <p14:tracePt t="17732" x="2466975" y="2238375"/>
          <p14:tracePt t="17737" x="2470150" y="2238375"/>
          <p14:tracePt t="17743" x="2474913" y="2238375"/>
          <p14:tracePt t="17749" x="2478088" y="2238375"/>
          <p14:tracePt t="17752" x="2482850" y="2238375"/>
          <p14:tracePt t="17757" x="2486025" y="2238375"/>
          <p14:tracePt t="17760" x="2490788" y="2238375"/>
          <p14:tracePt t="17764" x="2493963" y="2238375"/>
          <p14:tracePt t="18195" x="2490788" y="2238375"/>
          <p14:tracePt t="18204" x="2486025" y="2241550"/>
          <p14:tracePt t="18208" x="2482850" y="2246313"/>
          <p14:tracePt t="18211" x="2478088" y="2249488"/>
          <p14:tracePt t="18213" x="2474913" y="2249488"/>
          <p14:tracePt t="18216" x="2466975" y="2249488"/>
          <p14:tracePt t="18218" x="2462213" y="2254250"/>
          <p14:tracePt t="18219" x="2459038" y="2254250"/>
          <p14:tracePt t="18220" x="2459038" y="2257425"/>
          <p14:tracePt t="18221" x="2454275" y="2257425"/>
          <p14:tracePt t="18221" x="2451100" y="2262188"/>
          <p14:tracePt t="18222" x="2446338" y="2262188"/>
          <p14:tracePt t="18224" x="2443163" y="2265363"/>
          <p14:tracePt t="18226" x="2438400" y="2270125"/>
          <p14:tracePt t="18228" x="2433638" y="2273300"/>
          <p14:tracePt t="18229" x="2430463" y="2273300"/>
          <p14:tracePt t="18230" x="2425700" y="2273300"/>
          <p14:tracePt t="18231" x="2422525" y="2278063"/>
          <p14:tracePt t="18233" x="2417763" y="2281238"/>
          <p14:tracePt t="18234" x="2409825" y="2286000"/>
          <p14:tracePt t="18235" x="2406650" y="2286000"/>
          <p14:tracePt t="18235" x="2401888" y="2290763"/>
          <p14:tracePt t="18237" x="2398713" y="2290763"/>
          <p14:tracePt t="18238" x="2393950" y="2293938"/>
          <p14:tracePt t="18239" x="2390775" y="2293938"/>
          <p14:tracePt t="18241" x="2382838" y="2298700"/>
          <p14:tracePt t="18244" x="2374900" y="2301875"/>
          <p14:tracePt t="18245" x="2370138" y="2301875"/>
          <p14:tracePt t="18246" x="2366963" y="2306638"/>
          <p14:tracePt t="18247" x="2362200" y="2306638"/>
          <p14:tracePt t="18248" x="2354263" y="2309813"/>
          <p14:tracePt t="18249" x="2351088" y="2309813"/>
          <p14:tracePt t="18249" x="2346325" y="2309813"/>
          <p14:tracePt t="18250" x="2341563" y="2314575"/>
          <p14:tracePt t="18251" x="2338388" y="2314575"/>
          <p14:tracePt t="18253" x="2333625" y="2317750"/>
          <p14:tracePt t="18254" x="2330450" y="2322513"/>
          <p14:tracePt t="18255" x="2325688" y="2322513"/>
          <p14:tracePt t="18256" x="2322513" y="2322513"/>
          <p14:tracePt t="18257" x="2317750" y="2325688"/>
          <p14:tracePt t="18259" x="2309813" y="2325688"/>
          <p14:tracePt t="18259" x="2306638" y="2330450"/>
          <p14:tracePt t="18261" x="2301875" y="2330450"/>
          <p14:tracePt t="18262" x="2298700" y="2330450"/>
          <p14:tracePt t="18262" x="2293938" y="2333625"/>
          <p14:tracePt t="18263" x="2290763" y="2333625"/>
          <p14:tracePt t="18264" x="2286000" y="2338388"/>
          <p14:tracePt t="18266" x="2282825" y="2341563"/>
          <p14:tracePt t="18268" x="2274888" y="2341563"/>
          <p14:tracePt t="18269" x="2270125" y="2341563"/>
          <p14:tracePt t="18270" x="2266950" y="2341563"/>
          <p14:tracePt t="18271" x="2262188" y="2341563"/>
          <p14:tracePt t="18272" x="2259013" y="2346325"/>
          <p14:tracePt t="18273" x="2249488" y="2346325"/>
          <p14:tracePt t="18275" x="2246313" y="2349500"/>
          <p14:tracePt t="18276" x="2241550" y="2349500"/>
          <p14:tracePt t="18277" x="2238375" y="2349500"/>
          <p14:tracePt t="18278" x="2233613" y="2354263"/>
          <p14:tracePt t="18279" x="2230438" y="2354263"/>
          <p14:tracePt t="18281" x="2222500" y="2357438"/>
          <p14:tracePt t="18282" x="2217738" y="2357438"/>
          <p14:tracePt t="18282" x="2214563" y="2357438"/>
          <p14:tracePt t="18284" x="2206625" y="2362200"/>
          <p14:tracePt t="18285" x="2201863" y="2362200"/>
          <p14:tracePt t="18286" x="2198688" y="2365375"/>
          <p14:tracePt t="18287" x="2190750" y="2365375"/>
          <p14:tracePt t="18288" x="2185988" y="2365375"/>
          <p14:tracePt t="18289" x="2185988" y="2370138"/>
          <p14:tracePt t="18291" x="2182813" y="2370138"/>
          <p14:tracePt t="18291" x="2178050" y="2370138"/>
          <p14:tracePt t="18292" x="2174875" y="2373313"/>
          <p14:tracePt t="18294" x="2170113" y="2373313"/>
          <p14:tracePt t="18295" x="2162175" y="2378075"/>
          <p14:tracePt t="18296" x="2157413" y="2378075"/>
          <p14:tracePt t="18298" x="2154238" y="2382838"/>
          <p14:tracePt t="18298" x="2146300" y="2382838"/>
          <p14:tracePt t="18300" x="2138363" y="2382838"/>
          <p14:tracePt t="18301" x="2130425" y="2386013"/>
          <p14:tracePt t="18302" x="2125663" y="2386013"/>
          <p14:tracePt t="18303" x="2122488" y="2386013"/>
          <p14:tracePt t="18304" x="2117725" y="2390775"/>
          <p14:tracePt t="18305" x="2114550" y="2390775"/>
          <p14:tracePt t="18306" x="2109788" y="2390775"/>
          <p14:tracePt t="18307" x="2106613" y="2393950"/>
          <p14:tracePt t="18309" x="2101850" y="2393950"/>
          <p14:tracePt t="18309" x="2098675" y="2393950"/>
          <p14:tracePt t="18310" x="2090738" y="2393950"/>
          <p14:tracePt t="18311" x="2085975" y="2393950"/>
          <p14:tracePt t="18312" x="2082800" y="2393950"/>
          <p14:tracePt t="18313" x="2078038" y="2398713"/>
          <p14:tracePt t="18314" x="2070100" y="2398713"/>
          <p14:tracePt t="18316" x="2062163" y="2401888"/>
          <p14:tracePt t="18317" x="2057400" y="2401888"/>
          <p14:tracePt t="18318" x="2054225" y="2401888"/>
          <p14:tracePt t="18319" x="2046288" y="2406650"/>
          <p14:tracePt t="18320" x="2038350" y="2406650"/>
          <p14:tracePt t="18321" x="2033588" y="2406650"/>
          <p14:tracePt t="18322" x="2030413" y="2406650"/>
          <p14:tracePt t="18323" x="2025650" y="2409825"/>
          <p14:tracePt t="18324" x="2017713" y="2409825"/>
          <p14:tracePt t="18326" x="2014538" y="2409825"/>
          <p14:tracePt t="18327" x="2006600" y="2414588"/>
          <p14:tracePt t="18327" x="2001838" y="2414588"/>
          <p14:tracePt t="18328" x="1993900" y="2414588"/>
          <p14:tracePt t="18329" x="1990725" y="2417763"/>
          <p14:tracePt t="18330" x="1981200" y="2417763"/>
          <p14:tracePt t="18331" x="1978025" y="2417763"/>
          <p14:tracePt t="18332" x="1970088" y="2422525"/>
          <p14:tracePt t="18334" x="1962150" y="2422525"/>
          <p14:tracePt t="18335" x="1949450" y="2425700"/>
          <p14:tracePt t="18338" x="1941513" y="2425700"/>
          <p14:tracePt t="18339" x="1933575" y="2425700"/>
          <p14:tracePt t="18339" x="1925638" y="2425700"/>
          <p14:tracePt t="18341" x="1922463" y="2430463"/>
          <p14:tracePt t="18342" x="1914525" y="2430463"/>
          <p14:tracePt t="18343" x="1909763" y="2430463"/>
          <p14:tracePt t="18344" x="1906588" y="2430463"/>
          <p14:tracePt t="18344" x="1898650" y="2433638"/>
          <p14:tracePt t="18345" x="1889125" y="2433638"/>
          <p14:tracePt t="18347" x="1885950" y="2433638"/>
          <p14:tracePt t="18347" x="1881188" y="2433638"/>
          <p14:tracePt t="18348" x="1873250" y="2438400"/>
          <p14:tracePt t="18349" x="1865313" y="2438400"/>
          <p14:tracePt t="18350" x="1862138" y="2438400"/>
          <p14:tracePt t="18351" x="1854200" y="2438400"/>
          <p14:tracePt t="18352" x="1849438" y="2438400"/>
          <p14:tracePt t="18353" x="1846263" y="2441575"/>
          <p14:tracePt t="18354" x="1838325" y="2441575"/>
          <p14:tracePt t="18355" x="1833563" y="2441575"/>
          <p14:tracePt t="18356" x="1825625" y="2441575"/>
          <p14:tracePt t="18359" x="1822450" y="2441575"/>
          <p14:tracePt t="18360" x="1814513" y="2441575"/>
          <p14:tracePt t="18361" x="1809750" y="2446338"/>
          <p14:tracePt t="18362" x="1801813" y="2446338"/>
          <p14:tracePt t="18363" x="1793875" y="2446338"/>
          <p14:tracePt t="18364" x="1789113" y="2446338"/>
          <p14:tracePt t="18365" x="1785938" y="2446338"/>
          <p14:tracePt t="18366" x="1781175" y="2446338"/>
          <p14:tracePt t="18367" x="1778000" y="2446338"/>
          <p14:tracePt t="18368" x="1773238" y="2446338"/>
          <p14:tracePt t="18369" x="1770063" y="2446338"/>
          <p14:tracePt t="18370" x="1765300" y="2446338"/>
          <p14:tracePt t="18371" x="1762125" y="2446338"/>
          <p14:tracePt t="18372" x="1757363" y="2446338"/>
          <p14:tracePt t="18374" x="1749425" y="2446338"/>
          <p14:tracePt t="18375" x="1741488" y="2446338"/>
          <p14:tracePt t="18377" x="1738313" y="2446338"/>
          <p14:tracePt t="18379" x="1733550" y="2446338"/>
          <p14:tracePt t="18379" x="1725613" y="2446338"/>
          <p14:tracePt t="18380" x="1722438" y="2446338"/>
          <p14:tracePt t="18383" x="1717675" y="2446338"/>
          <p14:tracePt t="18384" x="1712913" y="2446338"/>
          <p14:tracePt t="18385" x="1709738" y="2446338"/>
          <p14:tracePt t="18386" x="1704975" y="2446338"/>
          <p14:tracePt t="18387" x="1701800" y="2446338"/>
          <p14:tracePt t="18389" x="1697038" y="2446338"/>
          <p14:tracePt t="18391" x="1693863" y="2446338"/>
          <p14:tracePt t="18391" x="1689100" y="2446338"/>
          <p14:tracePt t="18392" x="1685925" y="2446338"/>
          <p14:tracePt t="18393" x="1681163" y="2446338"/>
          <p14:tracePt t="18396" x="1677988" y="2446338"/>
          <p14:tracePt t="18397" x="1673225" y="2446338"/>
          <p14:tracePt t="18398" x="1670050" y="2446338"/>
          <p14:tracePt t="18399" x="1665288" y="2446338"/>
          <p14:tracePt t="18400" x="1662113" y="2446338"/>
          <p14:tracePt t="18402" x="1657350" y="2446338"/>
          <p14:tracePt t="18404" x="1654175" y="2446338"/>
          <p14:tracePt t="18405" x="1649413" y="2446338"/>
          <p14:tracePt t="18406" x="1646238" y="2446338"/>
          <p14:tracePt t="18407" x="1641475" y="2446338"/>
          <p14:tracePt t="18410" x="1638300" y="2446338"/>
          <p14:tracePt t="18413" x="1633538" y="2446338"/>
          <p14:tracePt t="18415" x="1630363" y="2446338"/>
          <p14:tracePt t="18416" x="1625600" y="2446338"/>
          <p14:tracePt t="18419" x="1620838" y="2446338"/>
          <p14:tracePt t="18421" x="1617663" y="2446338"/>
          <p14:tracePt t="18425" x="1612900" y="2446338"/>
          <p14:tracePt t="18425" x="1609725" y="2446338"/>
          <p14:tracePt t="18427" x="1604963" y="2446338"/>
          <p14:tracePt t="18430" x="1601788" y="2446338"/>
          <p14:tracePt t="18433" x="1597025" y="2446338"/>
          <p14:tracePt t="18440" x="1593850" y="2446338"/>
          <p14:tracePt t="18441" x="1589088" y="2446338"/>
          <p14:tracePt t="18444" x="1585913" y="2446338"/>
          <p14:tracePt t="18450" x="1581150" y="2446338"/>
          <p14:tracePt t="18455" x="1577975" y="2446338"/>
          <p14:tracePt t="18460" x="1573213" y="2446338"/>
          <p14:tracePt t="18466" x="1570038" y="2446338"/>
          <p14:tracePt t="18474" x="1565275" y="2446338"/>
          <p14:tracePt t="18488" x="1562100" y="2446338"/>
          <p14:tracePt t="18497" x="1557338" y="2446338"/>
          <p14:tracePt t="18506" x="1554163" y="2446338"/>
          <p14:tracePt t="18508" x="1554163" y="2449513"/>
          <p14:tracePt t="18509" x="1549400" y="2449513"/>
          <p14:tracePt t="18513" x="1546225" y="2454275"/>
          <p14:tracePt t="18517" x="1541463" y="2454275"/>
          <p14:tracePt t="18519" x="1541463" y="2457450"/>
          <p14:tracePt t="18520" x="1538288" y="2457450"/>
          <p14:tracePt t="18524" x="1533525" y="2457450"/>
          <p14:tracePt t="18525" x="1533525" y="2462213"/>
          <p14:tracePt t="18525" x="1528763" y="2462213"/>
          <p14:tracePt t="18529" x="1528763" y="2465388"/>
          <p14:tracePt t="18530" x="1525588" y="2465388"/>
          <p14:tracePt t="18533" x="1525588" y="2470150"/>
          <p14:tracePt t="18536" x="1520825" y="2470150"/>
          <p14:tracePt t="18537" x="1517650" y="2470150"/>
          <p14:tracePt t="18541" x="1517650" y="2474913"/>
          <p14:tracePt t="18542" x="1512888" y="2474913"/>
          <p14:tracePt t="18544" x="1509713" y="2478088"/>
          <p14:tracePt t="18547" x="1504950" y="2482850"/>
          <p14:tracePt t="18549" x="1501775" y="2482850"/>
          <p14:tracePt t="18550" x="1501775" y="2486025"/>
          <p14:tracePt t="18551" x="1497013" y="2486025"/>
          <p14:tracePt t="18552" x="1497013" y="2490788"/>
          <p14:tracePt t="18554" x="1493838" y="2493963"/>
          <p14:tracePt t="18557" x="1489075" y="2493963"/>
          <p14:tracePt t="18559" x="1489075" y="2498725"/>
          <p14:tracePt t="18559" x="1485900" y="2498725"/>
          <p14:tracePt t="18563" x="1485900" y="2501900"/>
          <p14:tracePt t="18564" x="1481138" y="2501900"/>
          <p14:tracePt t="18565" x="1481138" y="2506663"/>
          <p14:tracePt t="18566" x="1477963" y="2506663"/>
          <p14:tracePt t="18570" x="1477963" y="2509838"/>
          <p14:tracePt t="18578" x="1473200" y="2509838"/>
          <p14:tracePt t="18586" x="1473200" y="2514600"/>
          <p14:tracePt t="18588" x="1470025" y="2514600"/>
          <p14:tracePt t="18593" x="1470025" y="2517775"/>
          <p14:tracePt t="18596" x="1465263" y="2517775"/>
          <p14:tracePt t="18598" x="1465263" y="2522538"/>
          <p14:tracePt t="18604" x="1465263" y="2525713"/>
          <p14:tracePt t="18605" x="1462088" y="2525713"/>
          <p14:tracePt t="18610" x="1462088" y="2530475"/>
          <p14:tracePt t="18614" x="1457325" y="2530475"/>
          <p14:tracePt t="18617" x="1457325" y="2533650"/>
          <p14:tracePt t="18618" x="1454150" y="2533650"/>
          <p14:tracePt t="18622" x="1449388" y="2538413"/>
          <p14:tracePt t="18625" x="1449388" y="2541588"/>
          <p14:tracePt t="18626" x="1446213" y="2541588"/>
          <p14:tracePt t="18634" x="1446213" y="2546350"/>
          <p14:tracePt t="18637" x="1441450" y="2546350"/>
          <p14:tracePt t="18731" x="1446213" y="2546350"/>
          <p14:tracePt t="18734" x="1449388" y="2546350"/>
          <p14:tracePt t="18738" x="1454150" y="2546350"/>
          <p14:tracePt t="18742" x="1457325" y="2546350"/>
          <p14:tracePt t="18746" x="1462088" y="2546350"/>
          <p14:tracePt t="18747" x="1465263" y="2546350"/>
          <p14:tracePt t="18749" x="1470025" y="2546350"/>
          <p14:tracePt t="18752" x="1473200" y="2546350"/>
          <p14:tracePt t="18754" x="1473200" y="2541588"/>
          <p14:tracePt t="18756" x="1477963" y="2541588"/>
          <p14:tracePt t="18758" x="1481138" y="2541588"/>
          <p14:tracePt t="18760" x="1485900" y="2541588"/>
          <p14:tracePt t="18762" x="1489075" y="2538413"/>
          <p14:tracePt t="18763" x="1493838" y="2538413"/>
          <p14:tracePt t="18766" x="1497013" y="2538413"/>
          <p14:tracePt t="18767" x="1501775" y="2538413"/>
          <p14:tracePt t="18770" x="1509713" y="2538413"/>
          <p14:tracePt t="18771" x="1512888" y="2538413"/>
          <p14:tracePt t="18774" x="1517650" y="2538413"/>
          <p14:tracePt t="18775" x="1520825" y="2538413"/>
          <p14:tracePt t="18776" x="1525588" y="2533650"/>
          <p14:tracePt t="18777" x="1528763" y="2533650"/>
          <p14:tracePt t="18779" x="1533525" y="2533650"/>
          <p14:tracePt t="18779" x="1538288" y="2533650"/>
          <p14:tracePt t="18780" x="1541463" y="2533650"/>
          <p14:tracePt t="18781" x="1546225" y="2533650"/>
          <p14:tracePt t="18782" x="1549400" y="2533650"/>
          <p14:tracePt t="18784" x="1554163" y="2533650"/>
          <p14:tracePt t="18785" x="1562100" y="2533650"/>
          <p14:tracePt t="18786" x="1565275" y="2533650"/>
          <p14:tracePt t="18787" x="1570038" y="2533650"/>
          <p14:tracePt t="18788" x="1573213" y="2530475"/>
          <p14:tracePt t="18790" x="1581150" y="2530475"/>
          <p14:tracePt t="18791" x="1585913" y="2530475"/>
          <p14:tracePt t="18792" x="1593850" y="2530475"/>
          <p14:tracePt t="18792" x="1597025" y="2530475"/>
          <p14:tracePt t="18794" x="1601788" y="2530475"/>
          <p14:tracePt t="18795" x="1609725" y="2530475"/>
          <p14:tracePt t="18795" x="1617663" y="2530475"/>
          <p14:tracePt t="18797" x="1620838" y="2530475"/>
          <p14:tracePt t="18797" x="1625600" y="2525713"/>
          <p14:tracePt t="18798" x="1630363" y="2525713"/>
          <p14:tracePt t="18799" x="1633538" y="2525713"/>
          <p14:tracePt t="18800" x="1641475" y="2525713"/>
          <p14:tracePt t="18802" x="1654175" y="2522538"/>
          <p14:tracePt t="18803" x="1662113" y="2522538"/>
          <p14:tracePt t="18804" x="1665288" y="2522538"/>
          <p14:tracePt t="18805" x="1673225" y="2517775"/>
          <p14:tracePt t="18806" x="1681163" y="2517775"/>
          <p14:tracePt t="18808" x="1685925" y="2517775"/>
          <p14:tracePt t="18809" x="1693863" y="2517775"/>
          <p14:tracePt t="18810" x="1701800" y="2517775"/>
          <p14:tracePt t="18811" x="1704975" y="2517775"/>
          <p14:tracePt t="18812" x="1712913" y="2517775"/>
          <p14:tracePt t="18812" x="1717675" y="2517775"/>
          <p14:tracePt t="18813" x="1725613" y="2517775"/>
          <p14:tracePt t="18814" x="1730375" y="2514600"/>
          <p14:tracePt t="18816" x="1738313" y="2514600"/>
          <p14:tracePt t="18816" x="1741488" y="2514600"/>
          <p14:tracePt t="18817" x="1749425" y="2514600"/>
          <p14:tracePt t="18819" x="1754188" y="2509838"/>
          <p14:tracePt t="18820" x="1762125" y="2509838"/>
          <p14:tracePt t="18821" x="1765300" y="2509838"/>
          <p14:tracePt t="18822" x="1770063" y="2509838"/>
          <p14:tracePt t="18823" x="1778000" y="2509838"/>
          <p14:tracePt t="18825" x="1781175" y="2509838"/>
          <p14:tracePt t="18826" x="1785938" y="2509838"/>
          <p14:tracePt t="18827" x="1793875" y="2509838"/>
          <p14:tracePt t="18827" x="1797050" y="2509838"/>
          <p14:tracePt t="18828" x="1801813" y="2509838"/>
          <p14:tracePt t="18829" x="1804988" y="2509838"/>
          <p14:tracePt t="18831" x="1809750" y="2509838"/>
          <p14:tracePt t="18832" x="1814513" y="2509838"/>
          <p14:tracePt t="18833" x="1817688" y="2509838"/>
          <p14:tracePt t="18834" x="1822450" y="2506663"/>
          <p14:tracePt t="18836" x="1825625" y="2506663"/>
          <p14:tracePt t="18836" x="1830388" y="2506663"/>
          <p14:tracePt t="18838" x="1833563" y="2506663"/>
          <p14:tracePt t="18838" x="1838325" y="2506663"/>
          <p14:tracePt t="18839" x="1838325" y="2501900"/>
          <p14:tracePt t="18841" x="1841500" y="2501900"/>
          <p14:tracePt t="18842" x="1846263" y="2501900"/>
          <p14:tracePt t="18843" x="1849438" y="2501900"/>
          <p14:tracePt t="18846" x="1854200" y="2501900"/>
          <p14:tracePt t="18848" x="1857375" y="2501900"/>
          <p14:tracePt t="18849" x="1857375" y="2498725"/>
          <p14:tracePt t="18851" x="1862138" y="2498725"/>
          <p14:tracePt t="18853" x="1865313" y="2498725"/>
          <p14:tracePt t="18860" x="1870075" y="2498725"/>
          <p14:tracePt t="18862" x="1870075" y="2493963"/>
          <p14:tracePt t="18928" x="1873250" y="2493963"/>
          <p14:tracePt t="18948" x="1878013" y="2493963"/>
          <p14:tracePt t="18952" x="1881188" y="2493963"/>
          <p14:tracePt t="18953" x="1885950" y="2493963"/>
          <p14:tracePt t="18953" x="1885950" y="2498725"/>
          <p14:tracePt t="18954" x="1889125" y="2498725"/>
          <p14:tracePt t="18956" x="1893888" y="2498725"/>
          <p14:tracePt t="18958" x="1898650" y="2498725"/>
          <p14:tracePt t="18958" x="1901825" y="2501900"/>
          <p14:tracePt t="18959" x="1906588" y="2501900"/>
          <p14:tracePt t="18960" x="1909763" y="2501900"/>
          <p14:tracePt t="18961" x="1914525" y="2501900"/>
          <p14:tracePt t="18963" x="1922463" y="2506663"/>
          <p14:tracePt t="18964" x="1925638" y="2506663"/>
          <p14:tracePt t="18964" x="1930400" y="2506663"/>
          <p14:tracePt t="18965" x="1938338" y="2509838"/>
          <p14:tracePt t="18966" x="1946275" y="2509838"/>
          <p14:tracePt t="18967" x="1954213" y="2514600"/>
          <p14:tracePt t="18968" x="1962150" y="2514600"/>
          <p14:tracePt t="18969" x="1970088" y="2522538"/>
          <p14:tracePt t="18970" x="1978025" y="2522538"/>
          <p14:tracePt t="18972" x="1993900" y="2525713"/>
          <p14:tracePt t="18973" x="2001838" y="2525713"/>
          <p14:tracePt t="18974" x="2009775" y="2530475"/>
          <p14:tracePt t="18975" x="2025650" y="2530475"/>
          <p14:tracePt t="18976" x="2033588" y="2533650"/>
          <p14:tracePt t="18977" x="2049463" y="2533650"/>
          <p14:tracePt t="18978" x="2057400" y="2538413"/>
          <p14:tracePt t="18979" x="2065338" y="2538413"/>
          <p14:tracePt t="18981" x="2078038" y="2541588"/>
          <p14:tracePt t="18981" x="2085975" y="2541588"/>
          <p14:tracePt t="18982" x="2101850" y="2541588"/>
          <p14:tracePt t="18983" x="2114550" y="2546350"/>
          <p14:tracePt t="18984" x="2130425" y="2546350"/>
          <p14:tracePt t="18985" x="2141538" y="2546350"/>
          <p14:tracePt t="18986" x="2149475" y="2549525"/>
          <p14:tracePt t="18987" x="2170113" y="2549525"/>
          <p14:tracePt t="18988" x="2185988" y="2554288"/>
          <p14:tracePt t="18989" x="2198688" y="2554288"/>
          <p14:tracePt t="18991" x="2209800" y="2554288"/>
          <p14:tracePt t="18991" x="2225675" y="2562225"/>
          <p14:tracePt t="18993" x="2238375" y="2562225"/>
          <p14:tracePt t="18993" x="2259013" y="2562225"/>
          <p14:tracePt t="18994" x="2274888" y="2566988"/>
          <p14:tracePt t="18996" x="2286000" y="2566988"/>
          <p14:tracePt t="18996" x="2298700" y="2566988"/>
          <p14:tracePt t="18997" x="2317750" y="2566988"/>
          <p14:tracePt t="18998" x="2333625" y="2570163"/>
          <p14:tracePt t="18999" x="2346325" y="2570163"/>
          <p14:tracePt t="19000" x="2366963" y="2570163"/>
          <p14:tracePt t="19001" x="2378075" y="2570163"/>
          <p14:tracePt t="19003" x="2393950" y="2574925"/>
          <p14:tracePt t="19003" x="2414588" y="2574925"/>
          <p14:tracePt t="19004" x="2425700" y="2574925"/>
          <p14:tracePt t="19005" x="2443163" y="2574925"/>
          <p14:tracePt t="19006" x="2454275" y="2578100"/>
          <p14:tracePt t="19008" x="2474913" y="2578100"/>
          <p14:tracePt t="19008" x="2486025" y="2578100"/>
          <p14:tracePt t="19009" x="2493963" y="2578100"/>
          <p14:tracePt t="19010" x="2509838" y="2578100"/>
          <p14:tracePt t="19011" x="2522538" y="2578100"/>
          <p14:tracePt t="19012" x="2538413" y="2582863"/>
          <p14:tracePt t="19013" x="2551113" y="2582863"/>
          <p14:tracePt t="19014" x="2562225" y="2582863"/>
          <p14:tracePt t="19015" x="2574925" y="2582863"/>
          <p14:tracePt t="19016" x="2582863" y="2582863"/>
          <p14:tracePt t="19017" x="2598738" y="2590800"/>
          <p14:tracePt t="19018" x="2609850" y="2590800"/>
          <p14:tracePt t="19019" x="2617788" y="2590800"/>
          <p14:tracePt t="19020" x="2627313" y="2590800"/>
          <p14:tracePt t="19021" x="2635250" y="2590800"/>
          <p14:tracePt t="19022" x="2646363" y="2593975"/>
          <p14:tracePt t="19024" x="2662238" y="2593975"/>
          <p14:tracePt t="19025" x="2670175" y="2593975"/>
          <p14:tracePt t="19027" x="2678113" y="2593975"/>
          <p14:tracePt t="19027" x="2686050" y="2593975"/>
          <p14:tracePt t="19028" x="2693988" y="2593975"/>
          <p14:tracePt t="19029" x="2706688" y="2593975"/>
          <p14:tracePt t="19031" x="2714625" y="2598738"/>
          <p14:tracePt t="19032" x="2719388" y="2598738"/>
          <p14:tracePt t="19033" x="2727325" y="2598738"/>
          <p14:tracePt t="19034" x="2735263" y="2598738"/>
          <p14:tracePt t="19035" x="2738438" y="2598738"/>
          <p14:tracePt t="19036" x="2743200" y="2598738"/>
          <p14:tracePt t="19037" x="2746375" y="2598738"/>
          <p14:tracePt t="19038" x="2754313" y="2598738"/>
          <p14:tracePt t="19039" x="2759075" y="2598738"/>
          <p14:tracePt t="19041" x="2762250" y="2598738"/>
          <p14:tracePt t="19042" x="2767013" y="2598738"/>
          <p14:tracePt t="19043" x="2774950" y="2598738"/>
          <p14:tracePt t="19045" x="2778125" y="2598738"/>
          <p14:tracePt t="19048" x="2782888" y="2598738"/>
          <p14:tracePt t="19050" x="2786063" y="2598738"/>
          <p14:tracePt t="19054" x="2790825" y="2598738"/>
          <p14:tracePt t="19092" x="2790825" y="2601913"/>
          <p14:tracePt t="19110" x="2786063" y="2601913"/>
          <p14:tracePt t="19113" x="2782888" y="2601913"/>
          <p14:tracePt t="19114" x="2782888" y="2606675"/>
          <p14:tracePt t="19117" x="2778125" y="2606675"/>
          <p14:tracePt t="19119" x="2774950" y="2609850"/>
          <p14:tracePt t="19120" x="2770188" y="2609850"/>
          <p14:tracePt t="19121" x="2767013" y="2609850"/>
          <p14:tracePt t="19122" x="2767013" y="2614613"/>
          <p14:tracePt t="19124" x="2759075" y="2614613"/>
          <p14:tracePt t="19125" x="2754313" y="2614613"/>
          <p14:tracePt t="19126" x="2751138" y="2614613"/>
          <p14:tracePt t="19128" x="2746375" y="2617788"/>
          <p14:tracePt t="19128" x="2743200" y="2617788"/>
          <p14:tracePt t="19129" x="2735263" y="2622550"/>
          <p14:tracePt t="19131" x="2730500" y="2622550"/>
          <p14:tracePt t="19132" x="2722563" y="2625725"/>
          <p14:tracePt t="19133" x="2719388" y="2625725"/>
          <p14:tracePt t="19134" x="2711450" y="2630488"/>
          <p14:tracePt t="19135" x="2701925" y="2633663"/>
          <p14:tracePt t="19136" x="2698750" y="2633663"/>
          <p14:tracePt t="19137" x="2690813" y="2633663"/>
          <p14:tracePt t="19138" x="2686050" y="2638425"/>
          <p14:tracePt t="19139" x="2674938" y="2638425"/>
          <p14:tracePt t="19141" x="2670175" y="2641600"/>
          <p14:tracePt t="19141" x="2662238" y="2641600"/>
          <p14:tracePt t="19142" x="2654300" y="2646363"/>
          <p14:tracePt t="19143" x="2643188" y="2649538"/>
          <p14:tracePt t="19144" x="2630488" y="2649538"/>
          <p14:tracePt t="19145" x="2622550" y="2659063"/>
          <p14:tracePt t="19146" x="2614613" y="2659063"/>
          <p14:tracePt t="19147" x="2606675" y="2662238"/>
          <p14:tracePt t="19148" x="2593975" y="2667000"/>
          <p14:tracePt t="19149" x="2582863" y="2667000"/>
          <p14:tracePt t="19150" x="2574925" y="2670175"/>
          <p14:tracePt t="19151" x="2566988" y="2674938"/>
          <p14:tracePt t="19152" x="2559050" y="2674938"/>
          <p14:tracePt t="19153" x="2546350" y="2678113"/>
          <p14:tracePt t="19154" x="2530475" y="2682875"/>
          <p14:tracePt t="19155" x="2517775" y="2682875"/>
          <p14:tracePt t="19156" x="2509838" y="2686050"/>
          <p14:tracePt t="19157" x="2498725" y="2686050"/>
          <p14:tracePt t="19159" x="2490788" y="2690813"/>
          <p14:tracePt t="19159" x="2474913" y="2698750"/>
          <p14:tracePt t="19160" x="2462213" y="2701925"/>
          <p14:tracePt t="19161" x="2454275" y="2701925"/>
          <p14:tracePt t="19162" x="2438400" y="2706688"/>
          <p14:tracePt t="19163" x="2430463" y="2706688"/>
          <p14:tracePt t="19164" x="2417763" y="2709863"/>
          <p14:tracePt t="19165" x="2401888" y="2714625"/>
          <p14:tracePt t="19166" x="2390775" y="2717800"/>
          <p14:tracePt t="19167" x="2378075" y="2717800"/>
          <p14:tracePt t="19168" x="2370138" y="2725738"/>
          <p14:tracePt t="19169" x="2351088" y="2730500"/>
          <p14:tracePt t="19170" x="2341563" y="2733675"/>
          <p14:tracePt t="19171" x="2333625" y="2733675"/>
          <p14:tracePt t="19172" x="2322513" y="2738438"/>
          <p14:tracePt t="19173" x="2309813" y="2741613"/>
          <p14:tracePt t="19175" x="2298700" y="2746375"/>
          <p14:tracePt t="19175" x="2290763" y="2746375"/>
          <p14:tracePt t="19177" x="2274888" y="2751138"/>
          <p14:tracePt t="19178" x="2266950" y="2751138"/>
          <p14:tracePt t="19179" x="2249488" y="2759075"/>
          <p14:tracePt t="19180" x="2241550" y="2762250"/>
          <p14:tracePt t="19181" x="2233613" y="2762250"/>
          <p14:tracePt t="19182" x="2225675" y="2767013"/>
          <p14:tracePt t="19183" x="2222500" y="2767013"/>
          <p14:tracePt t="19184" x="2214563" y="2767013"/>
          <p14:tracePt t="19185" x="2206625" y="2770188"/>
          <p14:tracePt t="19186" x="2193925" y="2774950"/>
          <p14:tracePt t="19187" x="2185988" y="2774950"/>
          <p14:tracePt t="19188" x="2182813" y="2774950"/>
          <p14:tracePt t="19189" x="2174875" y="2778125"/>
          <p14:tracePt t="19191" x="2165350" y="2778125"/>
          <p14:tracePt t="19191" x="2165350" y="2782888"/>
          <p14:tracePt t="19193" x="2162175" y="2782888"/>
          <p14:tracePt t="19194" x="2157413" y="2782888"/>
          <p14:tracePt t="19194" x="2154238" y="2786063"/>
          <p14:tracePt t="19195" x="2146300" y="2786063"/>
          <p14:tracePt t="19196" x="2141538" y="2786063"/>
          <p14:tracePt t="19198" x="2138363" y="2790825"/>
          <p14:tracePt t="19199" x="2133600" y="2790825"/>
          <p14:tracePt t="19200" x="2130425" y="2790825"/>
          <p14:tracePt t="19201" x="2125663" y="2790825"/>
          <p14:tracePt t="19202" x="2122488" y="2794000"/>
          <p14:tracePt t="19204" x="2117725" y="2794000"/>
          <p14:tracePt t="19213" x="2114550" y="2794000"/>
          <p14:tracePt t="19292" x="2114550" y="2790825"/>
          <p14:tracePt t="19296" x="2117725" y="2786063"/>
          <p14:tracePt t="19300" x="2122488" y="2782888"/>
          <p14:tracePt t="19301" x="2125663" y="2782888"/>
          <p14:tracePt t="19302" x="2130425" y="2782888"/>
          <p14:tracePt t="19303" x="2133600" y="2778125"/>
          <p14:tracePt t="19305" x="2138363" y="2778125"/>
          <p14:tracePt t="19306" x="2141538" y="2774950"/>
          <p14:tracePt t="19307" x="2146300" y="2774950"/>
          <p14:tracePt t="19308" x="2149475" y="2774950"/>
          <p14:tracePt t="19309" x="2154238" y="2774950"/>
          <p14:tracePt t="19311" x="2157413" y="2770188"/>
          <p14:tracePt t="19313" x="2162175" y="2770188"/>
          <p14:tracePt t="19317" x="2170113" y="2767013"/>
          <p14:tracePt t="19318" x="2174875" y="2767013"/>
          <p14:tracePt t="19320" x="2178050" y="2762250"/>
          <p14:tracePt t="19321" x="2182813" y="2762250"/>
          <p14:tracePt t="19323" x="2185988" y="2762250"/>
          <p14:tracePt t="19326" x="2190750" y="2762250"/>
          <p14:tracePt t="19331" x="2193925" y="2759075"/>
          <p14:tracePt t="19334" x="2198688" y="2759075"/>
          <p14:tracePt t="19418" x="2198688" y="2762250"/>
          <p14:tracePt t="19419" x="2193925" y="2762250"/>
          <p14:tracePt t="19424" x="2190750" y="2762250"/>
          <p14:tracePt t="19427" x="2185988" y="2762250"/>
          <p14:tracePt t="19430" x="2182813" y="2762250"/>
          <p14:tracePt t="19431" x="2178050" y="2762250"/>
          <p14:tracePt t="19434" x="2174875" y="2762250"/>
          <p14:tracePt t="19435" x="2170113" y="2762250"/>
          <p14:tracePt t="19436" x="2170113" y="2767013"/>
          <p14:tracePt t="19438" x="2165350" y="2767013"/>
          <p14:tracePt t="19441" x="2162175" y="2767013"/>
          <p14:tracePt t="19446" x="2157413" y="2767013"/>
          <p14:tracePt t="19448" x="2154238" y="2767013"/>
          <p14:tracePt t="19450" x="2149475" y="2767013"/>
          <p14:tracePt t="19453" x="2146300" y="2767013"/>
          <p14:tracePt t="19455" x="2141538" y="2767013"/>
          <p14:tracePt t="19458" x="2138363" y="2767013"/>
          <p14:tracePt t="19459" x="2133600" y="2767013"/>
          <p14:tracePt t="19463" x="2130425" y="2767013"/>
          <p14:tracePt t="19465" x="2125663" y="2767013"/>
          <p14:tracePt t="19469" x="2122488" y="2767013"/>
          <p14:tracePt t="19473" x="2117725" y="2767013"/>
          <p14:tracePt t="19480" x="2114550" y="2767013"/>
          <p14:tracePt t="19483" x="2114550" y="2762250"/>
          <p14:tracePt t="19484" x="2109788" y="2762250"/>
          <p14:tracePt t="19488" x="2106613" y="2762250"/>
          <p14:tracePt t="19491" x="2101850" y="2759075"/>
          <p14:tracePt t="19496" x="2098675" y="2759075"/>
          <p14:tracePt t="19498" x="2093913" y="2754313"/>
          <p14:tracePt t="19500" x="2090738" y="2754313"/>
          <p14:tracePt t="19504" x="2085975" y="2751138"/>
          <p14:tracePt t="19505" x="2082800" y="2751138"/>
          <p14:tracePt t="19506" x="2082800" y="2746375"/>
          <p14:tracePt t="19510" x="2078038" y="2741613"/>
          <p14:tracePt t="19513" x="2078038" y="2738438"/>
          <p14:tracePt t="19516" x="2078038" y="2733675"/>
          <p14:tracePt t="19516" x="2073275" y="2733675"/>
          <p14:tracePt t="19521" x="2070100" y="2730500"/>
          <p14:tracePt t="19526" x="2070100" y="2725738"/>
          <p14:tracePt t="19529" x="2065338" y="2725738"/>
          <p14:tracePt t="19530" x="2065338" y="2722563"/>
          <p14:tracePt t="19536" x="2065338" y="2717800"/>
          <p14:tracePt t="19540" x="2062163" y="2717800"/>
          <p14:tracePt t="19546" x="2057400" y="2717800"/>
          <p14:tracePt t="19546" x="2057400" y="2714625"/>
          <p14:tracePt t="19550" x="2057400" y="2709863"/>
          <p14:tracePt t="19555" x="2057400" y="2706688"/>
          <p14:tracePt t="19556" x="2054225" y="2706688"/>
          <p14:tracePt t="19558" x="2054225" y="2701925"/>
          <p14:tracePt t="19560" x="2054225" y="2698750"/>
          <p14:tracePt t="19563" x="2054225" y="2693988"/>
          <p14:tracePt t="19566" x="2054225" y="2690813"/>
          <p14:tracePt t="19567" x="2054225" y="2686050"/>
          <p14:tracePt t="19570" x="2054225" y="2682875"/>
          <p14:tracePt t="19571" x="2054225" y="2678113"/>
          <p14:tracePt t="19574" x="2054225" y="2674938"/>
          <p14:tracePt t="19575" x="2054225" y="2670175"/>
          <p14:tracePt t="19576" x="2054225" y="2667000"/>
          <p14:tracePt t="19579" x="2054225" y="2662238"/>
          <p14:tracePt t="19580" x="2054225" y="2659063"/>
          <p14:tracePt t="19580" x="2054225" y="2654300"/>
          <p14:tracePt t="19582" x="2049463" y="2649538"/>
          <p14:tracePt t="19583" x="2049463" y="2646363"/>
          <p14:tracePt t="19584" x="2049463" y="2641600"/>
          <p14:tracePt t="19586" x="2049463" y="2638425"/>
          <p14:tracePt t="19590" x="2049463" y="2633663"/>
          <p14:tracePt t="19591" x="2049463" y="2630488"/>
          <p14:tracePt t="19592" x="2049463" y="2625725"/>
          <p14:tracePt t="19593" x="2049463" y="2622550"/>
          <p14:tracePt t="19593" x="2049463" y="2617788"/>
          <p14:tracePt t="19594" x="2046288" y="2617788"/>
          <p14:tracePt t="19596" x="2046288" y="2609850"/>
          <p14:tracePt t="19598" x="2046288" y="2601913"/>
          <p14:tracePt t="19598" x="2046288" y="2598738"/>
          <p14:tracePt t="19599" x="2041525" y="2593975"/>
          <p14:tracePt t="19601" x="2041525" y="2590800"/>
          <p14:tracePt t="19602" x="2041525" y="2586038"/>
          <p14:tracePt t="19603" x="2038350" y="2582863"/>
          <p14:tracePt t="19605" x="2038350" y="2578100"/>
          <p14:tracePt t="19605" x="2038350" y="2574925"/>
          <p14:tracePt t="19606" x="2038350" y="2570163"/>
          <p14:tracePt t="19608" x="2038350" y="2566988"/>
          <p14:tracePt t="19609" x="2038350" y="2562225"/>
          <p14:tracePt t="19609" x="2038350" y="2557463"/>
          <p14:tracePt t="19610" x="2033588" y="2554288"/>
          <p14:tracePt t="19611" x="2033588" y="2546350"/>
          <p14:tracePt t="19613" x="2030413" y="2541588"/>
          <p14:tracePt t="19614" x="2030413" y="2538413"/>
          <p14:tracePt t="19615" x="2025650" y="2533650"/>
          <p14:tracePt t="19616" x="2025650" y="2530475"/>
          <p14:tracePt t="19617" x="2022475" y="2525713"/>
          <p14:tracePt t="19618" x="2022475" y="2522538"/>
          <p14:tracePt t="19619" x="2017713" y="2514600"/>
          <p14:tracePt t="19620" x="2017713" y="2509838"/>
          <p14:tracePt t="19622" x="2017713" y="2506663"/>
          <p14:tracePt t="19622" x="2017713" y="2501900"/>
          <p14:tracePt t="19623" x="2014538" y="2498725"/>
          <p14:tracePt t="19626" x="2009775" y="2493963"/>
          <p14:tracePt t="19627" x="2009775" y="2490788"/>
          <p14:tracePt t="19627" x="2006600" y="2486025"/>
          <p14:tracePt t="19628" x="2006600" y="2482850"/>
          <p14:tracePt t="19630" x="2006600" y="2474913"/>
          <p14:tracePt t="19630" x="2001838" y="2470150"/>
          <p14:tracePt t="19632" x="2001838" y="2465388"/>
          <p14:tracePt t="19632" x="1998663" y="2462213"/>
          <p14:tracePt t="19633" x="1998663" y="2457450"/>
          <p14:tracePt t="19634" x="1993900" y="2454275"/>
          <p14:tracePt t="19636" x="1990725" y="2446338"/>
          <p14:tracePt t="19637" x="1990725" y="2441575"/>
          <p14:tracePt t="19638" x="1990725" y="2438400"/>
          <p14:tracePt t="19639" x="1985963" y="2430463"/>
          <p14:tracePt t="19641" x="1985963" y="2425700"/>
          <p14:tracePt t="19642" x="1981200" y="2417763"/>
          <p14:tracePt t="19644" x="1978025" y="2406650"/>
          <p14:tracePt t="19645" x="1970088" y="2390775"/>
          <p14:tracePt t="19646" x="1965325" y="2386013"/>
          <p14:tracePt t="19648" x="1965325" y="2378075"/>
          <p14:tracePt t="19648" x="1962150" y="2370138"/>
          <p14:tracePt t="19649" x="1957388" y="2365375"/>
          <p14:tracePt t="19650" x="1954213" y="2357438"/>
          <p14:tracePt t="19651" x="1949450" y="2349500"/>
          <p14:tracePt t="19652" x="1946275" y="2346325"/>
          <p14:tracePt t="19653" x="1946275" y="2338388"/>
          <p14:tracePt t="19654" x="1941513" y="2333625"/>
          <p14:tracePt t="19655" x="1938338" y="2325688"/>
          <p14:tracePt t="19656" x="1938338" y="2317750"/>
          <p14:tracePt t="19658" x="1933575" y="2314575"/>
          <p14:tracePt t="19658" x="1930400" y="2306638"/>
          <p14:tracePt t="19661" x="1922463" y="2293938"/>
          <p14:tracePt t="19662" x="1917700" y="2290763"/>
          <p14:tracePt t="19663" x="1917700" y="2281238"/>
          <p14:tracePt t="19663" x="1914525" y="2278063"/>
          <p14:tracePt t="19664" x="1909763" y="2270125"/>
          <p14:tracePt t="19665" x="1906588" y="2262188"/>
          <p14:tracePt t="19666" x="1906588" y="2257425"/>
          <p14:tracePt t="19667" x="1901825" y="2254250"/>
          <p14:tracePt t="19668" x="1898650" y="2246313"/>
          <p14:tracePt t="19669" x="1893888" y="2241550"/>
          <p14:tracePt t="19670" x="1889125" y="2233613"/>
          <p14:tracePt t="19672" x="1885950" y="2225675"/>
          <p14:tracePt t="19673" x="1881188" y="2222500"/>
          <p14:tracePt t="19675" x="1878013" y="2217738"/>
          <p14:tracePt t="19676" x="1873250" y="2209800"/>
          <p14:tracePt t="19676" x="1873250" y="2206625"/>
          <p14:tracePt t="19678" x="1873250" y="2198688"/>
          <p14:tracePt t="19679" x="1870075" y="2193925"/>
          <p14:tracePt t="19680" x="1865313" y="2185988"/>
          <p14:tracePt t="19681" x="1862138" y="2181225"/>
          <p14:tracePt t="19681" x="1857375" y="2173288"/>
          <p14:tracePt t="19682" x="1854200" y="2170113"/>
          <p14:tracePt t="19683" x="1854200" y="2165350"/>
          <p14:tracePt t="19684" x="1849438" y="2162175"/>
          <p14:tracePt t="19685" x="1846263" y="2154238"/>
          <p14:tracePt t="19686" x="1841500" y="2149475"/>
          <p14:tracePt t="19687" x="1838325" y="2141538"/>
          <p14:tracePt t="19689" x="1833563" y="2138363"/>
          <p14:tracePt t="19691" x="1830388" y="2133600"/>
          <p14:tracePt t="19691" x="1825625" y="2130425"/>
          <p14:tracePt t="19693" x="1822450" y="2122488"/>
          <p14:tracePt t="19694" x="1822450" y="2117725"/>
          <p14:tracePt t="19695" x="1817688" y="2114550"/>
          <p14:tracePt t="19696" x="1814513" y="2109788"/>
          <p14:tracePt t="19696" x="1814513" y="2106613"/>
          <p14:tracePt t="19697" x="1814513" y="2101850"/>
          <p14:tracePt t="19698" x="1809750" y="2097088"/>
          <p14:tracePt t="19699" x="1804988" y="2093913"/>
          <p14:tracePt t="19700" x="1801813" y="2089150"/>
          <p14:tracePt t="19701" x="1797050" y="2089150"/>
          <p14:tracePt t="19702" x="1797050" y="2085975"/>
          <p14:tracePt t="19703" x="1793875" y="2081213"/>
          <p14:tracePt t="19704" x="1789113" y="2078038"/>
          <p14:tracePt t="19706" x="1781175" y="2065338"/>
          <p14:tracePt t="19708" x="1778000" y="2062163"/>
          <p14:tracePt t="19708" x="1778000" y="2057400"/>
          <p14:tracePt t="19710" x="1773238" y="2054225"/>
          <p14:tracePt t="19713" x="1765300" y="2041525"/>
          <p14:tracePt t="19713" x="1762125" y="2038350"/>
          <p14:tracePt t="19715" x="1757363" y="2033588"/>
          <p14:tracePt t="19716" x="1754188" y="2030413"/>
          <p14:tracePt t="19717" x="1749425" y="2025650"/>
          <p14:tracePt t="19718" x="1746250" y="2022475"/>
          <p14:tracePt t="19719" x="1746250" y="2017713"/>
          <p14:tracePt t="19720" x="1741488" y="2017713"/>
          <p14:tracePt t="19722" x="1738313" y="2014538"/>
          <p14:tracePt t="19722" x="1733550" y="2009775"/>
          <p14:tracePt t="19724" x="1730375" y="2005013"/>
          <p14:tracePt t="19725" x="1730375" y="2001838"/>
          <p14:tracePt t="19725" x="1725613" y="1997075"/>
          <p14:tracePt t="19729" x="1722438" y="1993900"/>
          <p14:tracePt t="19730" x="1717675" y="1989138"/>
          <p14:tracePt t="19731" x="1712913" y="1985963"/>
          <p14:tracePt t="19732" x="1709738" y="1981200"/>
          <p14:tracePt t="19733" x="1704975" y="1981200"/>
          <p14:tracePt t="19734" x="1704975" y="1978025"/>
          <p14:tracePt t="19735" x="1701800" y="1978025"/>
          <p14:tracePt t="19736" x="1701800" y="1973263"/>
          <p14:tracePt t="19737" x="1697038" y="1973263"/>
          <p14:tracePt t="19738" x="1697038" y="1970088"/>
          <p14:tracePt t="19739" x="1693863" y="1970088"/>
          <p14:tracePt t="19741" x="1693863" y="1965325"/>
          <p14:tracePt t="19745" x="1689100" y="1962150"/>
          <p14:tracePt t="19792" x="1689100" y="1965325"/>
          <p14:tracePt t="19800" x="1693863" y="1970088"/>
          <p14:tracePt t="19801" x="1701800" y="1970088"/>
          <p14:tracePt t="19802" x="1701800" y="1973263"/>
          <p14:tracePt t="19803" x="1704975" y="1973263"/>
          <p14:tracePt t="19804" x="1709738" y="1973263"/>
          <p14:tracePt t="19805" x="1709738" y="1978025"/>
          <p14:tracePt t="19806" x="1712913" y="1978025"/>
          <p14:tracePt t="19808" x="1717675" y="1981200"/>
          <p14:tracePt t="19810" x="1722438" y="1985963"/>
          <p14:tracePt t="19810" x="1725613" y="1989138"/>
          <p14:tracePt t="19811" x="1733550" y="1989138"/>
          <p14:tracePt t="19812" x="1738313" y="1993900"/>
          <p14:tracePt t="19813" x="1741488" y="1993900"/>
          <p14:tracePt t="19814" x="1746250" y="1993900"/>
          <p14:tracePt t="19816" x="1754188" y="1997075"/>
          <p14:tracePt t="19816" x="1757363" y="2001838"/>
          <p14:tracePt t="19817" x="1765300" y="2005013"/>
          <p14:tracePt t="19818" x="1770063" y="2009775"/>
          <p14:tracePt t="19819" x="1773238" y="2009775"/>
          <p14:tracePt t="19820" x="1781175" y="2014538"/>
          <p14:tracePt t="19821" x="1789113" y="2017713"/>
          <p14:tracePt t="19822" x="1793875" y="2022475"/>
          <p14:tracePt t="19823" x="1801813" y="2022475"/>
          <p14:tracePt t="19825" x="1804988" y="2025650"/>
          <p14:tracePt t="19825" x="1814513" y="2030413"/>
          <p14:tracePt t="19828" x="1822450" y="2033588"/>
          <p14:tracePt t="19828" x="1825625" y="2038350"/>
          <p14:tracePt t="19829" x="1833563" y="2041525"/>
          <p14:tracePt t="19830" x="1838325" y="2041525"/>
          <p14:tracePt t="19831" x="1841500" y="2046288"/>
          <p14:tracePt t="19832" x="1849438" y="2049463"/>
          <p14:tracePt t="19833" x="1854200" y="2049463"/>
          <p14:tracePt t="19834" x="1857375" y="2054225"/>
          <p14:tracePt t="19835" x="1865313" y="2057400"/>
          <p14:tracePt t="19836" x="1870075" y="2057400"/>
          <p14:tracePt t="19837" x="1878013" y="2062163"/>
          <p14:tracePt t="19838" x="1881188" y="2065338"/>
          <p14:tracePt t="19839" x="1885950" y="2070100"/>
          <p14:tracePt t="19841" x="1893888" y="2070100"/>
          <p14:tracePt t="19842" x="1898650" y="2073275"/>
          <p14:tracePt t="19843" x="1901825" y="2078038"/>
          <p14:tracePt t="19845" x="1909763" y="2078038"/>
          <p14:tracePt t="19846" x="1914525" y="2081213"/>
          <p14:tracePt t="19847" x="1917700" y="2081213"/>
          <p14:tracePt t="19847" x="1925638" y="2085975"/>
          <p14:tracePt t="19848" x="1930400" y="2089150"/>
          <p14:tracePt t="19849" x="1933575" y="2093913"/>
          <p14:tracePt t="19850" x="1938338" y="2097088"/>
          <p14:tracePt t="19851" x="1941513" y="2101850"/>
          <p14:tracePt t="19852" x="1946275" y="2101850"/>
          <p14:tracePt t="19853" x="1954213" y="2106613"/>
          <p14:tracePt t="19854" x="1957388" y="2109788"/>
          <p14:tracePt t="19855" x="1962150" y="2109788"/>
          <p14:tracePt t="19856" x="1962150" y="2114550"/>
          <p14:tracePt t="19858" x="1965325" y="2117725"/>
          <p14:tracePt t="19858" x="1970088" y="2122488"/>
          <p14:tracePt t="19860" x="1981200" y="2125663"/>
          <p14:tracePt t="19862" x="1985963" y="2125663"/>
          <p14:tracePt t="19863" x="1993900" y="2125663"/>
          <p14:tracePt t="19863" x="1998663" y="2130425"/>
          <p14:tracePt t="19864" x="2001838" y="2133600"/>
          <p14:tracePt t="19867" x="2006600" y="2138363"/>
          <p14:tracePt t="19867" x="2009775" y="2141538"/>
          <p14:tracePt t="19870" x="2014538" y="2146300"/>
          <p14:tracePt t="19872" x="2014538" y="2149475"/>
          <p14:tracePt t="19872" x="2014538" y="2154238"/>
          <p14:tracePt t="19873" x="2017713" y="2154238"/>
          <p14:tracePt t="19875" x="2017713" y="2157413"/>
          <p14:tracePt t="19875" x="2022475" y="2157413"/>
          <p14:tracePt t="19877" x="2022475" y="2162175"/>
          <p14:tracePt t="19879" x="2025650" y="2165350"/>
          <p14:tracePt t="19882" x="2030413" y="2170113"/>
          <p14:tracePt t="19884" x="2030413" y="2173288"/>
          <p14:tracePt t="19886" x="2030413" y="2178050"/>
          <p14:tracePt t="19886" x="2033588" y="2178050"/>
          <p14:tracePt t="19887" x="2033588" y="2181225"/>
          <p14:tracePt t="19889" x="2033588" y="2185988"/>
          <p14:tracePt t="19891" x="2033588" y="2189163"/>
          <p14:tracePt t="19894" x="2033588" y="2193925"/>
          <p14:tracePt t="19895" x="2033588" y="2198688"/>
          <p14:tracePt t="19898" x="2033588" y="2201863"/>
          <p14:tracePt t="19899" x="2033588" y="2206625"/>
          <p14:tracePt t="19902" x="2033588" y="2209800"/>
          <p14:tracePt t="19907" x="2033588" y="2214563"/>
          <p14:tracePt t="19910" x="2033588" y="2217738"/>
          <p14:tracePt t="19914" x="2033588" y="2222500"/>
          <p14:tracePt t="19919" x="2033588" y="2225675"/>
          <p14:tracePt t="19923" x="2033588" y="2230438"/>
          <p14:tracePt t="19935" x="2033588" y="2233613"/>
          <p14:tracePt t="19985" x="2033588" y="2238375"/>
          <p14:tracePt t="20000" x="2033588" y="2241550"/>
          <p14:tracePt t="20062" x="2038350" y="2241550"/>
          <p14:tracePt t="20238" x="2041525" y="2241550"/>
          <p14:tracePt t="20329" x="2041525" y="2246313"/>
          <p14:tracePt t="20333" x="2041525" y="2249488"/>
          <p14:tracePt t="20337" x="2046288" y="2249488"/>
          <p14:tracePt t="20345" x="2046288" y="2254250"/>
          <p14:tracePt t="20350" x="2046288" y="2257425"/>
          <p14:tracePt t="20355" x="2046288" y="2262188"/>
          <p14:tracePt t="20359" x="2046288" y="2265363"/>
          <p14:tracePt t="20361" x="2046288" y="2270125"/>
          <p14:tracePt t="20366" x="2046288" y="2273300"/>
          <p14:tracePt t="20370" x="2046288" y="2278063"/>
          <p14:tracePt t="20372" x="2046288" y="2281238"/>
          <p14:tracePt t="20376" x="2046288" y="2286000"/>
          <p14:tracePt t="20379" x="2041525" y="2290763"/>
          <p14:tracePt t="20384" x="2038350" y="2293938"/>
          <p14:tracePt t="20387" x="2038350" y="2298700"/>
          <p14:tracePt t="20389" x="2038350" y="2301875"/>
          <p14:tracePt t="20392" x="2033588" y="2306638"/>
          <p14:tracePt t="20395" x="2030413" y="2306638"/>
          <p14:tracePt t="20397" x="2030413" y="2309813"/>
          <p14:tracePt t="20399" x="2025650" y="2309813"/>
          <p14:tracePt t="20401" x="2025650" y="2314575"/>
          <p14:tracePt t="20403" x="2025650" y="2317750"/>
          <p14:tracePt t="20405" x="2022475" y="2317750"/>
          <p14:tracePt t="20408" x="2022475" y="2322513"/>
          <p14:tracePt t="20410" x="2017713" y="2325688"/>
          <p14:tracePt t="20413" x="2017713" y="2330450"/>
          <p14:tracePt t="20416" x="2014538" y="2330450"/>
          <p14:tracePt t="20419" x="2009775" y="2330450"/>
          <p14:tracePt t="20421" x="2009775" y="2333625"/>
          <p14:tracePt t="20423" x="2006600" y="2333625"/>
          <p14:tracePt t="20426" x="2006600" y="2338388"/>
          <p14:tracePt t="20427" x="2001838" y="2341563"/>
          <p14:tracePt t="20431" x="2001838" y="2346325"/>
          <p14:tracePt t="20433" x="1998663" y="2346325"/>
          <p14:tracePt t="20436" x="1993900" y="2349500"/>
          <p14:tracePt t="20439" x="1990725" y="2354263"/>
          <p14:tracePt t="20443" x="1990725" y="2357438"/>
          <p14:tracePt t="20443" x="1985963" y="2357438"/>
          <p14:tracePt t="20446" x="1985963" y="2362200"/>
          <p14:tracePt t="20448" x="1981200" y="2362200"/>
          <p14:tracePt t="20449" x="1981200" y="2365375"/>
          <p14:tracePt t="20452" x="1978025" y="2370138"/>
          <p14:tracePt t="20458" x="1978025" y="2373313"/>
          <p14:tracePt t="20461" x="1978025" y="2378075"/>
          <p14:tracePt t="20461" x="1973263" y="2378075"/>
          <p14:tracePt t="20464" x="1973263" y="2382838"/>
          <p14:tracePt t="20466" x="1970088" y="2382838"/>
          <p14:tracePt t="20468" x="1970088" y="2386013"/>
          <p14:tracePt t="20472" x="1970088" y="2390775"/>
          <p14:tracePt t="20473" x="1965325" y="2390775"/>
          <p14:tracePt t="20475" x="1965325" y="2393950"/>
          <p14:tracePt t="20479" x="1962150" y="2398713"/>
          <p14:tracePt t="20484" x="1957388" y="2401888"/>
          <p14:tracePt t="20489" x="1957388" y="2406650"/>
          <p14:tracePt t="20494" x="1954213" y="2406650"/>
          <p14:tracePt t="20568" x="1954213" y="2409825"/>
          <p14:tracePt t="20577" x="1957388" y="2409825"/>
          <p14:tracePt t="20582" x="1957388" y="2414588"/>
          <p14:tracePt t="20585" x="1962150" y="2414588"/>
          <p14:tracePt t="20586" x="1962150" y="2417763"/>
          <p14:tracePt t="20592" x="1965325" y="2422525"/>
          <p14:tracePt t="20596" x="1970088" y="2425700"/>
          <p14:tracePt t="20600" x="1973263" y="2430463"/>
          <p14:tracePt t="20604" x="1973263" y="2433638"/>
          <p14:tracePt t="20609" x="1973263" y="2438400"/>
          <p14:tracePt t="20611" x="1973263" y="2441575"/>
          <p14:tracePt t="20614" x="1973263" y="2446338"/>
          <p14:tracePt t="20615" x="1978025" y="2446338"/>
          <p14:tracePt t="20618" x="1978025" y="2449513"/>
          <p14:tracePt t="20621" x="1978025" y="2454275"/>
          <p14:tracePt t="20623" x="1978025" y="2457450"/>
          <p14:tracePt t="20624" x="1981200" y="2462213"/>
          <p14:tracePt t="20626" x="1981200" y="2465388"/>
          <p14:tracePt t="20629" x="1985963" y="2470150"/>
          <p14:tracePt t="20631" x="1985963" y="2474913"/>
          <p14:tracePt t="20633" x="1985963" y="2478088"/>
          <p14:tracePt t="20635" x="1985963" y="2482850"/>
          <p14:tracePt t="20637" x="1990725" y="2486025"/>
          <p14:tracePt t="20638" x="1990725" y="2490788"/>
          <p14:tracePt t="20640" x="1990725" y="2493963"/>
          <p14:tracePt t="20646" x="1990725" y="2498725"/>
          <p14:tracePt t="20647" x="1990725" y="2501900"/>
          <p14:tracePt t="20649" x="1990725" y="2506663"/>
          <p14:tracePt t="20651" x="1990725" y="2509838"/>
          <p14:tracePt t="20653" x="1990725" y="2514600"/>
          <p14:tracePt t="20655" x="1993900" y="2514600"/>
          <p14:tracePt t="20656" x="1993900" y="2517775"/>
          <p14:tracePt t="20658" x="1993900" y="2522538"/>
          <p14:tracePt t="20660" x="1993900" y="2525713"/>
          <p14:tracePt t="20665" x="1993900" y="2530475"/>
          <p14:tracePt t="20669" x="1993900" y="2533650"/>
          <p14:tracePt t="20677" x="1993900" y="2538413"/>
          <p14:tracePt t="20685" x="1993900" y="2541588"/>
          <p14:tracePt t="20860" x="1998663" y="2541588"/>
          <p14:tracePt t="20893" x="2001838" y="2541588"/>
          <p14:tracePt t="20897" x="2006600" y="2541588"/>
          <p14:tracePt t="20900" x="2009775" y="2541588"/>
          <p14:tracePt t="20901" x="2014538" y="2541588"/>
          <p14:tracePt t="20904" x="2014538" y="2546350"/>
          <p14:tracePt t="20906" x="2022475" y="2546350"/>
          <p14:tracePt t="20908" x="2025650" y="2546350"/>
          <p14:tracePt t="20911" x="2038350" y="2546350"/>
          <p14:tracePt t="20913" x="2046288" y="2549525"/>
          <p14:tracePt t="20914" x="2049463" y="2549525"/>
          <p14:tracePt t="20916" x="2054225" y="2554288"/>
          <p14:tracePt t="20917" x="2057400" y="2557463"/>
          <p14:tracePt t="20918" x="2062163" y="2557463"/>
          <p14:tracePt t="20919" x="2065338" y="2562225"/>
          <p14:tracePt t="20921" x="2070100" y="2562225"/>
          <p14:tracePt t="20922" x="2073275" y="2566988"/>
          <p14:tracePt t="20922" x="2078038" y="2566988"/>
          <p14:tracePt t="20925" x="2082800" y="2570163"/>
          <p14:tracePt t="20926" x="2085975" y="2570163"/>
          <p14:tracePt t="20928" x="2090738" y="2574925"/>
          <p14:tracePt t="20929" x="2093913" y="2574925"/>
          <p14:tracePt t="22318" x="2098675" y="2574925"/>
          <p14:tracePt t="22333" x="2101850" y="2574925"/>
          <p14:tracePt t="22349" x="2106613" y="2574925"/>
          <p14:tracePt t="22352" x="2106613" y="2578100"/>
          <p14:tracePt t="22358" x="2109788" y="2578100"/>
          <p14:tracePt t="22361" x="2109788" y="2582863"/>
          <p14:tracePt t="22364" x="2114550" y="2582863"/>
          <p14:tracePt t="22367" x="2114550" y="2586038"/>
          <p14:tracePt t="22372" x="2117725" y="2586038"/>
          <p14:tracePt t="22376" x="2117725" y="2590800"/>
          <p14:tracePt t="22382" x="2117725" y="2593975"/>
          <p14:tracePt t="22392" x="2117725" y="2598738"/>
          <p14:tracePt t="22395" x="2122488" y="2598738"/>
          <p14:tracePt t="22398" x="2122488" y="2601913"/>
          <p14:tracePt t="22403" x="2122488" y="2606675"/>
          <p14:tracePt t="22405" x="2125663" y="2606675"/>
          <p14:tracePt t="22407" x="2125663" y="2609850"/>
          <p14:tracePt t="22411" x="2125663" y="2614613"/>
          <p14:tracePt t="22415" x="2130425" y="2614613"/>
          <p14:tracePt t="22418" x="2130425" y="2617788"/>
          <p14:tracePt t="22421" x="2130425" y="2622550"/>
          <p14:tracePt t="22422" x="2133600" y="2622550"/>
          <p14:tracePt t="22424" x="2133600" y="2625725"/>
          <p14:tracePt t="22426" x="2133600" y="2630488"/>
          <p14:tracePt t="22428" x="2133600" y="2633663"/>
          <p14:tracePt t="22431" x="2138363" y="2638425"/>
          <p14:tracePt t="22434" x="2138363" y="2641600"/>
          <p14:tracePt t="22437" x="2138363" y="2646363"/>
          <p14:tracePt t="22439" x="2138363" y="2649538"/>
          <p14:tracePt t="22441" x="2138363" y="2654300"/>
          <p14:tracePt t="22445" x="2138363" y="2659063"/>
          <p14:tracePt t="22447" x="2138363" y="2662238"/>
          <p14:tracePt t="22450" x="2138363" y="2667000"/>
          <p14:tracePt t="22452" x="2138363" y="2670175"/>
          <p14:tracePt t="22453" x="2138363" y="2674938"/>
          <p14:tracePt t="22454" x="2141538" y="2678113"/>
          <p14:tracePt t="22456" x="2141538" y="2682875"/>
          <p14:tracePt t="22458" x="2141538" y="2686050"/>
          <p14:tracePt t="22460" x="2146300" y="2690813"/>
          <p14:tracePt t="22461" x="2146300" y="2693988"/>
          <p14:tracePt t="22464" x="2149475" y="2698750"/>
          <p14:tracePt t="22465" x="2149475" y="2701925"/>
          <p14:tracePt t="22466" x="2149475" y="2706688"/>
          <p14:tracePt t="22467" x="2149475" y="2709863"/>
          <p14:tracePt t="22467" x="2154238" y="2714625"/>
          <p14:tracePt t="22468" x="2154238" y="2717800"/>
          <p14:tracePt t="22469" x="2154238" y="2722563"/>
          <p14:tracePt t="22471" x="2157413" y="2725738"/>
          <p14:tracePt t="22473" x="2157413" y="2738438"/>
          <p14:tracePt t="22473" x="2162175" y="2741613"/>
          <p14:tracePt t="22475" x="2162175" y="2746375"/>
          <p14:tracePt t="22477" x="2165350" y="2759075"/>
          <p14:tracePt t="22477" x="2165350" y="2762250"/>
          <p14:tracePt t="22479" x="2170113" y="2767013"/>
          <p14:tracePt t="22480" x="2174875" y="2774950"/>
          <p14:tracePt t="22481" x="2174875" y="2782888"/>
          <p14:tracePt t="22482" x="2178050" y="2786063"/>
          <p14:tracePt t="22483" x="2178050" y="2794000"/>
          <p14:tracePt t="22484" x="2182813" y="2798763"/>
          <p14:tracePt t="22485" x="2182813" y="2806700"/>
          <p14:tracePt t="22486" x="2185988" y="2814638"/>
          <p14:tracePt t="22486" x="2185988" y="2817813"/>
          <p14:tracePt t="22488" x="2190750" y="2825750"/>
          <p14:tracePt t="22489" x="2190750" y="2833688"/>
          <p14:tracePt t="22489" x="2193925" y="2838450"/>
          <p14:tracePt t="22490" x="2193925" y="2846388"/>
          <p14:tracePt t="22492" x="2198688" y="2854325"/>
          <p14:tracePt t="22493" x="2198688" y="2859088"/>
          <p14:tracePt t="22495" x="2201863" y="2874963"/>
          <p14:tracePt t="22496" x="2201863" y="2878138"/>
          <p14:tracePt t="22497" x="2201863" y="2886075"/>
          <p14:tracePt t="22498" x="2206625" y="2890838"/>
          <p14:tracePt t="22499" x="2206625" y="2906713"/>
          <p14:tracePt t="22500" x="2209800" y="2909888"/>
          <p14:tracePt t="22501" x="2209800" y="2917825"/>
          <p14:tracePt t="22503" x="2209800" y="2927350"/>
          <p14:tracePt t="22503" x="2209800" y="2930525"/>
          <p14:tracePt t="22504" x="2209800" y="2938463"/>
          <p14:tracePt t="22505" x="2209800" y="2946400"/>
          <p14:tracePt t="22508" x="2209800" y="2954338"/>
          <p14:tracePt t="22509" x="2209800" y="2962275"/>
          <p14:tracePt t="22510" x="2209800" y="2974975"/>
          <p14:tracePt t="22511" x="2209800" y="2982913"/>
          <p14:tracePt t="22513" x="2209800" y="2986088"/>
          <p14:tracePt t="22514" x="2209800" y="2994025"/>
          <p14:tracePt t="22515" x="2209800" y="3001963"/>
          <p14:tracePt t="22515" x="2209800" y="3009900"/>
          <p14:tracePt t="22516" x="2209800" y="3014663"/>
          <p14:tracePt t="22517" x="2209800" y="3022600"/>
          <p14:tracePt t="22519" x="2209800" y="3030538"/>
          <p14:tracePt t="22519" x="2209800" y="3038475"/>
          <p14:tracePt t="22520" x="2209800" y="3043238"/>
          <p14:tracePt t="22521" x="2209800" y="3051175"/>
          <p14:tracePt t="22522" x="2209800" y="3059113"/>
          <p14:tracePt t="22524" x="2209800" y="3067050"/>
          <p14:tracePt t="22525" x="2209800" y="3074988"/>
          <p14:tracePt t="22526" x="2209800" y="3078163"/>
          <p14:tracePt t="22526" x="2209800" y="3086100"/>
          <p14:tracePt t="22527" x="2209800" y="3094038"/>
          <p14:tracePt t="22528" x="2209800" y="3101975"/>
          <p14:tracePt t="22529" x="2209800" y="3111500"/>
          <p14:tracePt t="22530" x="2209800" y="3119438"/>
          <p14:tracePt t="22531" x="2209800" y="3122613"/>
          <p14:tracePt t="22532" x="2209800" y="3130550"/>
          <p14:tracePt t="22534" x="2209800" y="3135313"/>
          <p14:tracePt t="22535" x="2209800" y="3143250"/>
          <p14:tracePt t="22535" x="2209800" y="3151188"/>
          <p14:tracePt t="22536" x="2209800" y="3154363"/>
          <p14:tracePt t="22537" x="2209800" y="3159125"/>
          <p14:tracePt t="22538" x="2209800" y="3167063"/>
          <p14:tracePt t="22539" x="2209800" y="3175000"/>
          <p14:tracePt t="22542" x="2209800" y="3182938"/>
          <p14:tracePt t="22542" x="2209800" y="3190875"/>
          <p14:tracePt t="22544" x="2209800" y="3194050"/>
          <p14:tracePt t="22544" x="2209800" y="3198813"/>
          <p14:tracePt t="22545" x="2209800" y="3203575"/>
          <p14:tracePt t="22546" x="2209800" y="3206750"/>
          <p14:tracePt t="22548" x="2209800" y="3211513"/>
          <p14:tracePt t="22548" x="2209800" y="3214688"/>
          <p14:tracePt t="22549" x="2209800" y="3222625"/>
          <p14:tracePt t="22550" x="2209800" y="3227388"/>
          <p14:tracePt t="22552" x="2209800" y="3230563"/>
          <p14:tracePt t="22553" x="2209800" y="3235325"/>
          <p14:tracePt t="22554" x="2209800" y="3238500"/>
          <p14:tracePt t="22555" x="2209800" y="3243263"/>
          <p14:tracePt t="22556" x="2209800" y="3246438"/>
          <p14:tracePt t="22559" x="2209800" y="3251200"/>
          <p14:tracePt t="22561" x="2209800" y="3254375"/>
          <p14:tracePt t="22563" x="2209800" y="3259138"/>
          <p14:tracePt t="22564" x="2209800" y="3262313"/>
          <p14:tracePt t="22566" x="2209800" y="3267075"/>
          <p14:tracePt t="22569" x="2209800" y="3270250"/>
          <p14:tracePt t="22572" x="2209800" y="3275013"/>
          <p14:tracePt t="22575" x="2209800" y="3278188"/>
          <p14:tracePt t="22579" x="2206625" y="3278188"/>
          <p14:tracePt t="22580" x="2206625" y="3282950"/>
          <p14:tracePt t="22584" x="2206625" y="3286125"/>
          <p14:tracePt t="22585" x="2201863" y="3286125"/>
          <p14:tracePt t="22587" x="2198688" y="3286125"/>
          <p14:tracePt t="22590" x="2193925" y="3286125"/>
          <p14:tracePt t="22591" x="2193925" y="3290888"/>
          <p14:tracePt t="22592" x="2190750" y="3290888"/>
          <p14:tracePt t="22594" x="2185988" y="3295650"/>
          <p14:tracePt t="22595" x="2182813" y="3295650"/>
          <p14:tracePt t="22597" x="2178050" y="3295650"/>
          <p14:tracePt t="22598" x="2174875" y="3298825"/>
          <p14:tracePt t="22599" x="2170113" y="3298825"/>
          <p14:tracePt t="22600" x="2165350" y="3298825"/>
          <p14:tracePt t="22601" x="2165350" y="3303588"/>
          <p14:tracePt t="22602" x="2162175" y="3303588"/>
          <p14:tracePt t="22603" x="2157413" y="3303588"/>
          <p14:tracePt t="22604" x="2154238" y="3303588"/>
          <p14:tracePt t="22605" x="2149475" y="3306763"/>
          <p14:tracePt t="22606" x="2146300" y="3306763"/>
          <p14:tracePt t="22608" x="2141538" y="3306763"/>
          <p14:tracePt t="22609" x="2138363" y="3311525"/>
          <p14:tracePt t="22610" x="2133600" y="3311525"/>
          <p14:tracePt t="22610" x="2125663" y="3311525"/>
          <p14:tracePt t="22611" x="2122488" y="3311525"/>
          <p14:tracePt t="22612" x="2117725" y="3311525"/>
          <p14:tracePt t="22614" x="2109788" y="3311525"/>
          <p14:tracePt t="22615" x="2106613" y="3314700"/>
          <p14:tracePt t="22616" x="2098675" y="3314700"/>
          <p14:tracePt t="22617" x="2093913" y="3314700"/>
          <p14:tracePt t="22618" x="2085975" y="3314700"/>
          <p14:tracePt t="22619" x="2082800" y="3314700"/>
          <p14:tracePt t="22620" x="2073275" y="3314700"/>
          <p14:tracePt t="22621" x="2070100" y="3314700"/>
          <p14:tracePt t="22622" x="2062163" y="3319463"/>
          <p14:tracePt t="22623" x="2057400" y="3319463"/>
          <p14:tracePt t="22625" x="2054225" y="3319463"/>
          <p14:tracePt t="22625" x="2046288" y="3319463"/>
          <p14:tracePt t="22626" x="2038350" y="3319463"/>
          <p14:tracePt t="22627" x="2033588" y="3319463"/>
          <p14:tracePt t="22628" x="2030413" y="3319463"/>
          <p14:tracePt t="22629" x="2017713" y="3322638"/>
          <p14:tracePt t="22630" x="2009775" y="3322638"/>
          <p14:tracePt t="22631" x="2006600" y="3322638"/>
          <p14:tracePt t="22632" x="1998663" y="3322638"/>
          <p14:tracePt t="22633" x="1990725" y="3322638"/>
          <p14:tracePt t="22634" x="1981200" y="3322638"/>
          <p14:tracePt t="22635" x="1973263" y="3322638"/>
          <p14:tracePt t="22636" x="1965325" y="3322638"/>
          <p14:tracePt t="22637" x="1962150" y="3322638"/>
          <p14:tracePt t="22638" x="1954213" y="3322638"/>
          <p14:tracePt t="22639" x="1946275" y="3327400"/>
          <p14:tracePt t="22640" x="1938338" y="3327400"/>
          <p14:tracePt t="22641" x="1930400" y="3327400"/>
          <p14:tracePt t="22642" x="1925638" y="3327400"/>
          <p14:tracePt t="22644" x="1917700" y="3330575"/>
          <p14:tracePt t="22645" x="1909763" y="3330575"/>
          <p14:tracePt t="22645" x="1901825" y="3330575"/>
          <p14:tracePt t="22646" x="1893888" y="3330575"/>
          <p14:tracePt t="22648" x="1885950" y="3330575"/>
          <p14:tracePt t="22648" x="1881188" y="3330575"/>
          <p14:tracePt t="22649" x="1873250" y="3330575"/>
          <p14:tracePt t="22650" x="1865313" y="3330575"/>
          <p14:tracePt t="22651" x="1857375" y="3335338"/>
          <p14:tracePt t="22652" x="1849438" y="3335338"/>
          <p14:tracePt t="22653" x="1841500" y="3335338"/>
          <p14:tracePt t="22654" x="1838325" y="3335338"/>
          <p14:tracePt t="22655" x="1825625" y="3335338"/>
          <p14:tracePt t="22656" x="1817688" y="3335338"/>
          <p14:tracePt t="22658" x="1814513" y="3338513"/>
          <p14:tracePt t="22659" x="1797050" y="3338513"/>
          <p14:tracePt t="22660" x="1793875" y="3338513"/>
          <p14:tracePt t="22661" x="1785938" y="3338513"/>
          <p14:tracePt t="22662" x="1778000" y="3343275"/>
          <p14:tracePt t="22663" x="1770063" y="3343275"/>
          <p14:tracePt t="22664" x="1765300" y="3343275"/>
          <p14:tracePt t="22665" x="1754188" y="3343275"/>
          <p14:tracePt t="22666" x="1749425" y="3346450"/>
          <p14:tracePt t="22667" x="1741488" y="3346450"/>
          <p14:tracePt t="22668" x="1733550" y="3346450"/>
          <p14:tracePt t="22669" x="1730375" y="3346450"/>
          <p14:tracePt t="22670" x="1722438" y="3351213"/>
          <p14:tracePt t="22671" x="1712913" y="3351213"/>
          <p14:tracePt t="22672" x="1709738" y="3351213"/>
          <p14:tracePt t="22673" x="1701800" y="3354388"/>
          <p14:tracePt t="22675" x="1697038" y="3354388"/>
          <p14:tracePt t="22676" x="1693863" y="3354388"/>
          <p14:tracePt t="22677" x="1689100" y="3359150"/>
          <p14:tracePt t="22677" x="1685925" y="3359150"/>
          <p14:tracePt t="22678" x="1681163" y="3359150"/>
          <p14:tracePt t="22679" x="1677988" y="3362325"/>
          <p14:tracePt t="22680" x="1673225" y="3362325"/>
          <p14:tracePt t="22681" x="1670050" y="3362325"/>
          <p14:tracePt t="22682" x="1665288" y="3367088"/>
          <p14:tracePt t="22684" x="1662113" y="3367088"/>
          <p14:tracePt t="22684" x="1657350" y="3367088"/>
          <p14:tracePt t="22685" x="1649413" y="3370263"/>
          <p14:tracePt t="22686" x="1646238" y="3370263"/>
          <p14:tracePt t="22688" x="1641475" y="3375025"/>
          <p14:tracePt t="22689" x="1638300" y="3375025"/>
          <p14:tracePt t="22691" x="1633538" y="3375025"/>
          <p14:tracePt t="22692" x="1633538" y="3378200"/>
          <p14:tracePt t="22693" x="1630363" y="3382963"/>
          <p14:tracePt t="22694" x="1625600" y="3382963"/>
          <p14:tracePt t="22696" x="1620838" y="3382963"/>
          <p14:tracePt t="22696" x="1617663" y="3382963"/>
          <p14:tracePt t="22698" x="1612900" y="3382963"/>
          <p14:tracePt t="22700" x="1609725" y="3387725"/>
          <p14:tracePt t="22701" x="1604963" y="3387725"/>
          <p14:tracePt t="22701" x="1601788" y="3390900"/>
          <p14:tracePt t="22703" x="1597025" y="3390900"/>
          <p14:tracePt t="22704" x="1593850" y="3390900"/>
          <p14:tracePt t="22705" x="1593850" y="3395663"/>
          <p14:tracePt t="22708" x="1589088" y="3398838"/>
          <p14:tracePt t="22710" x="1585913" y="3403600"/>
          <p14:tracePt t="22711" x="1581150" y="3403600"/>
          <p14:tracePt t="22713" x="1581150" y="3406775"/>
          <p14:tracePt t="22713" x="1577975" y="3406775"/>
          <p14:tracePt t="22715" x="1573213" y="3406775"/>
          <p14:tracePt t="22715" x="1573213" y="3411538"/>
          <p14:tracePt t="22717" x="1570038" y="3414713"/>
          <p14:tracePt t="22719" x="1570038" y="3419475"/>
          <p14:tracePt t="22721" x="1565275" y="3419475"/>
          <p14:tracePt t="22723" x="1565275" y="3422650"/>
          <p14:tracePt t="22724" x="1562100" y="3422650"/>
          <p14:tracePt t="22727" x="1557338" y="3422650"/>
          <p14:tracePt t="22732" x="1554163" y="3422650"/>
          <p14:tracePt t="22733" x="1554163" y="3427413"/>
          <p14:tracePt t="22742" x="1554163" y="3430588"/>
          <p14:tracePt t="22790" x="1557338" y="3430588"/>
          <p14:tracePt t="22796" x="1562100" y="3430588"/>
          <p14:tracePt t="22802" x="1570038" y="3430588"/>
          <p14:tracePt t="22804" x="1573213" y="3430588"/>
          <p14:tracePt t="22805" x="1577975" y="3430588"/>
          <p14:tracePt t="22808" x="1581150" y="3430588"/>
          <p14:tracePt t="22810" x="1585913" y="3430588"/>
          <p14:tracePt t="22811" x="1589088" y="3430588"/>
          <p14:tracePt t="22816" x="1593850" y="3430588"/>
          <p14:tracePt t="22816" x="1597025" y="3430588"/>
          <p14:tracePt t="22817" x="1601788" y="3430588"/>
          <p14:tracePt t="22819" x="1604963" y="3430588"/>
          <p14:tracePt t="22820" x="1604963" y="3427413"/>
          <p14:tracePt t="22821" x="1609725" y="3427413"/>
          <p14:tracePt t="22822" x="1612900" y="3427413"/>
          <p14:tracePt t="22825" x="1617663" y="3427413"/>
          <p14:tracePt t="22827" x="1620838" y="3427413"/>
          <p14:tracePt t="22828" x="1625600" y="3427413"/>
          <p14:tracePt t="22831" x="1630363" y="3427413"/>
          <p14:tracePt t="22835" x="1633538" y="3427413"/>
          <p14:tracePt t="22836" x="1638300" y="3427413"/>
          <p14:tracePt t="22839" x="1641475" y="3427413"/>
          <p14:tracePt t="22841" x="1646238" y="3427413"/>
          <p14:tracePt t="22842" x="1649413" y="3427413"/>
          <p14:tracePt t="22843" x="1654175" y="3427413"/>
          <p14:tracePt t="22847" x="1657350" y="3427413"/>
          <p14:tracePt t="22849" x="1665288" y="3427413"/>
          <p14:tracePt t="22851" x="1670050" y="3427413"/>
          <p14:tracePt t="22855" x="1673225" y="3427413"/>
          <p14:tracePt t="22859" x="1681163" y="3427413"/>
          <p14:tracePt t="22861" x="1685925" y="3427413"/>
          <p14:tracePt t="22863" x="1689100" y="3427413"/>
          <p14:tracePt t="22865" x="1693863" y="3427413"/>
          <p14:tracePt t="22866" x="1697038" y="3427413"/>
          <p14:tracePt t="22868" x="1701800" y="3427413"/>
          <p14:tracePt t="22870" x="1704975" y="3427413"/>
          <p14:tracePt t="22873" x="1709738" y="3427413"/>
          <p14:tracePt t="22877" x="1712913" y="3427413"/>
          <p14:tracePt t="22879" x="1717675" y="3427413"/>
          <p14:tracePt t="22881" x="1722438" y="3427413"/>
          <p14:tracePt t="22883" x="1725613" y="3430588"/>
          <p14:tracePt t="22886" x="1730375" y="3430588"/>
          <p14:tracePt t="22889" x="1733550" y="3430588"/>
          <p14:tracePt t="22889" x="1738313" y="3430588"/>
          <p14:tracePt t="22892" x="1741488" y="3430588"/>
          <p14:tracePt t="22893" x="1746250" y="3430588"/>
          <p14:tracePt t="22894" x="1746250" y="3435350"/>
          <p14:tracePt t="22896" x="1749425" y="3435350"/>
          <p14:tracePt t="22902" x="1754188" y="3435350"/>
          <p14:tracePt t="22902" x="1754188" y="3438525"/>
          <p14:tracePt t="22904" x="1757363" y="3438525"/>
          <p14:tracePt t="22906" x="1762125" y="3438525"/>
          <p14:tracePt t="22908" x="1765300" y="3443288"/>
          <p14:tracePt t="22910" x="1770063" y="3443288"/>
          <p14:tracePt t="22912" x="1773238" y="3443288"/>
          <p14:tracePt t="22916" x="1778000" y="3443288"/>
          <p14:tracePt t="22918" x="1781175" y="3443288"/>
          <p14:tracePt t="22920" x="1781175" y="3446463"/>
          <p14:tracePt t="22922" x="1785938" y="3446463"/>
          <p14:tracePt t="22942" x="1789113" y="3446463"/>
          <p14:tracePt t="22991" x="1789113" y="3451225"/>
          <p14:tracePt t="22995" x="1793875" y="3451225"/>
          <p14:tracePt t="23000" x="1797050" y="3451225"/>
          <p14:tracePt t="23003" x="1797050" y="3454400"/>
          <p14:tracePt t="23007" x="1801813" y="3454400"/>
          <p14:tracePt t="23010" x="1804988" y="3459163"/>
          <p14:tracePt t="23013" x="1804988" y="3462338"/>
          <p14:tracePt t="23014" x="1809750" y="3462338"/>
          <p14:tracePt t="23018" x="1817688" y="3462338"/>
          <p14:tracePt t="23020" x="1822450" y="3467100"/>
          <p14:tracePt t="23022" x="1825625" y="3467100"/>
          <p14:tracePt t="23025" x="1830388" y="3470275"/>
          <p14:tracePt t="23028" x="1833563" y="3470275"/>
          <p14:tracePt t="23031" x="1833563" y="3475038"/>
          <p14:tracePt t="23032" x="1838325" y="3475038"/>
          <p14:tracePt t="23032" x="1841500" y="3475038"/>
          <p14:tracePt t="23035" x="1846263" y="3479800"/>
          <p14:tracePt t="23036" x="1849438" y="3479800"/>
          <p14:tracePt t="23037" x="1854200" y="3482975"/>
          <p14:tracePt t="23040" x="1857375" y="3482975"/>
          <p14:tracePt t="23040" x="1862138" y="3487738"/>
          <p14:tracePt t="23042" x="1865313" y="3487738"/>
          <p14:tracePt t="23044" x="1870075" y="3487738"/>
          <p14:tracePt t="23045" x="1873250" y="3487738"/>
          <p14:tracePt t="23046" x="1873250" y="3490913"/>
          <p14:tracePt t="23047" x="1878013" y="3490913"/>
          <p14:tracePt t="23047" x="1881188" y="3490913"/>
          <p14:tracePt t="23050" x="1885950" y="3495675"/>
          <p14:tracePt t="23051" x="1889125" y="3495675"/>
          <p14:tracePt t="23052" x="1893888" y="3495675"/>
          <p14:tracePt t="23052" x="1898650" y="3498850"/>
          <p14:tracePt t="23053" x="1901825" y="3498850"/>
          <p14:tracePt t="23054" x="1906588" y="3498850"/>
          <p14:tracePt t="23055" x="1914525" y="3503613"/>
          <p14:tracePt t="23056" x="1917700" y="3503613"/>
          <p14:tracePt t="23059" x="1930400" y="3506788"/>
          <p14:tracePt t="23061" x="1933575" y="3506788"/>
          <p14:tracePt t="23062" x="1938338" y="3506788"/>
          <p14:tracePt t="23063" x="1941513" y="3511550"/>
          <p14:tracePt t="23064" x="1946275" y="3511550"/>
          <p14:tracePt t="23066" x="1957388" y="3511550"/>
          <p14:tracePt t="23067" x="1962150" y="3511550"/>
          <p14:tracePt t="23068" x="1965325" y="3511550"/>
          <p14:tracePt t="23069" x="1970088" y="3511550"/>
          <p14:tracePt t="23069" x="1978025" y="3511550"/>
          <p14:tracePt t="23071" x="1981200" y="3511550"/>
          <p14:tracePt t="23073" x="1990725" y="3511550"/>
          <p14:tracePt t="23074" x="1993900" y="3511550"/>
          <p14:tracePt t="23076" x="2001838" y="3511550"/>
          <p14:tracePt t="23077" x="2009775" y="3514725"/>
          <p14:tracePt t="23078" x="2014538" y="3514725"/>
          <p14:tracePt t="23079" x="2017713" y="3514725"/>
          <p14:tracePt t="23080" x="2022475" y="3514725"/>
          <p14:tracePt t="23082" x="2033588" y="3514725"/>
          <p14:tracePt t="23083" x="2038350" y="3514725"/>
          <p14:tracePt t="23084" x="2041525" y="3514725"/>
          <p14:tracePt t="23085" x="2046288" y="3514725"/>
          <p14:tracePt t="23086" x="2049463" y="3514725"/>
          <p14:tracePt t="23087" x="2054225" y="3514725"/>
          <p14:tracePt t="23089" x="2057400" y="3514725"/>
          <p14:tracePt t="23089" x="2062163" y="3514725"/>
          <p14:tracePt t="23090" x="2065338" y="3514725"/>
          <p14:tracePt t="23092" x="2070100" y="3514725"/>
          <p14:tracePt t="23092" x="2073275" y="3514725"/>
          <p14:tracePt t="23093" x="2078038" y="3514725"/>
          <p14:tracePt t="23096" x="2082800" y="3514725"/>
          <p14:tracePt t="23097" x="2085975" y="3514725"/>
          <p14:tracePt t="23099" x="2093913" y="3514725"/>
          <p14:tracePt t="23109" x="2122488" y="3514725"/>
          <p14:tracePt t="23110" x="2125663" y="3514725"/>
          <p14:tracePt t="23111" x="2130425" y="3514725"/>
          <p14:tracePt t="23113" x="2133600" y="3514725"/>
          <p14:tracePt t="23115" x="2138363" y="3514725"/>
          <p14:tracePt t="23116" x="2141538" y="3514725"/>
          <p14:tracePt t="23118" x="2146300" y="3514725"/>
          <p14:tracePt t="23119" x="2149475" y="3514725"/>
          <p14:tracePt t="23119" x="2154238" y="3514725"/>
          <p14:tracePt t="23120" x="2157413" y="3514725"/>
          <p14:tracePt t="23122" x="2162175" y="3514725"/>
          <p14:tracePt t="23125" x="2165350" y="3514725"/>
          <p14:tracePt t="23126" x="2170113" y="3514725"/>
          <p14:tracePt t="23129" x="2174875" y="3514725"/>
          <p14:tracePt t="23129" x="2178050" y="3514725"/>
          <p14:tracePt t="23131" x="2182813" y="3514725"/>
          <p14:tracePt t="23134" x="2185988" y="3514725"/>
          <p14:tracePt t="23135" x="2190750" y="3514725"/>
          <p14:tracePt t="23137" x="2193925" y="3514725"/>
          <p14:tracePt t="23139" x="2198688" y="3514725"/>
          <p14:tracePt t="23141" x="2201863" y="3514725"/>
          <p14:tracePt t="23152" x="2206625" y="3514725"/>
          <p14:tracePt t="23188" x="2209800" y="3514725"/>
          <p14:tracePt t="23194" x="2214563" y="3514725"/>
          <p14:tracePt t="23196" x="2217738" y="3514725"/>
          <p14:tracePt t="23199" x="2222500" y="3514725"/>
          <p14:tracePt t="23202" x="2225675" y="3514725"/>
          <p14:tracePt t="23205" x="2230438" y="3514725"/>
          <p14:tracePt t="23205" x="2230438" y="3519488"/>
          <p14:tracePt t="23206" x="2233613" y="3519488"/>
          <p14:tracePt t="23208" x="2238375" y="3519488"/>
          <p14:tracePt t="23209" x="2241550" y="3522663"/>
          <p14:tracePt t="23211" x="2246313" y="3527425"/>
          <p14:tracePt t="23213" x="2249488" y="3527425"/>
          <p14:tracePt t="23213" x="2254250" y="3527425"/>
          <p14:tracePt t="23214" x="2259013" y="3527425"/>
          <p14:tracePt t="23215" x="2259013" y="3530600"/>
          <p14:tracePt t="23216" x="2266950" y="3530600"/>
          <p14:tracePt t="23218" x="2270125" y="3535363"/>
          <p14:tracePt t="23219" x="2274888" y="3535363"/>
          <p14:tracePt t="23220" x="2278063" y="3535363"/>
          <p14:tracePt t="23222" x="2282825" y="3538538"/>
          <p14:tracePt t="23223" x="2286000" y="3543300"/>
          <p14:tracePt t="23226" x="2290763" y="3543300"/>
          <p14:tracePt t="23226" x="2293938" y="3546475"/>
          <p14:tracePt t="23227" x="2298700" y="3546475"/>
          <p14:tracePt t="23230" x="2301875" y="3546475"/>
          <p14:tracePt t="23230" x="2306638" y="3551238"/>
          <p14:tracePt t="23231" x="2309813" y="3551238"/>
          <p14:tracePt t="23232" x="2314575" y="3551238"/>
          <p14:tracePt t="23234" x="2317750" y="3551238"/>
          <p14:tracePt t="23235" x="2322513" y="3554413"/>
          <p14:tracePt t="23237" x="2325688" y="3554413"/>
          <p14:tracePt t="23240" x="2330450" y="3554413"/>
          <p14:tracePt t="23243" x="2333625" y="3554413"/>
          <p14:tracePt t="23243" x="2338388" y="3554413"/>
          <p14:tracePt t="23245" x="2341563" y="3554413"/>
          <p14:tracePt t="23246" x="2346325" y="3559175"/>
          <p14:tracePt t="23247" x="2351088" y="3559175"/>
          <p14:tracePt t="23249" x="2354263" y="3559175"/>
          <p14:tracePt t="23250" x="2359025" y="3559175"/>
          <p14:tracePt t="23251" x="2362200" y="3559175"/>
          <p14:tracePt t="23253" x="2366963" y="3559175"/>
          <p14:tracePt t="23254" x="2366963" y="3562350"/>
          <p14:tracePt t="23255" x="2370138" y="3562350"/>
          <p14:tracePt t="23259" x="2374900" y="3562350"/>
          <p14:tracePt t="23259" x="2378075" y="3562350"/>
          <p14:tracePt t="23261" x="2382838" y="3562350"/>
          <p14:tracePt t="23262" x="2386013" y="3562350"/>
          <p14:tracePt t="23264" x="2390775" y="3567113"/>
          <p14:tracePt t="23266" x="2393950" y="3567113"/>
          <p14:tracePt t="23269" x="2398713" y="3567113"/>
          <p14:tracePt t="23271" x="2401888" y="3567113"/>
          <p14:tracePt t="23273" x="2406650" y="3567113"/>
          <p14:tracePt t="23276" x="2409825" y="3567113"/>
          <p14:tracePt t="23296" x="2409825" y="3571875"/>
          <p14:tracePt t="23311" x="2414588" y="3571875"/>
          <p14:tracePt t="23325" x="2417763" y="3571875"/>
          <p14:tracePt t="23329" x="2422525" y="3571875"/>
          <p14:tracePt t="23331" x="2425700" y="3571875"/>
          <p14:tracePt t="23332" x="2430463" y="3571875"/>
          <p14:tracePt t="23334" x="2433638" y="3571875"/>
          <p14:tracePt t="23340" x="2438400" y="3571875"/>
          <p14:tracePt t="23351" x="2443163" y="3571875"/>
          <p14:tracePt t="23429" x="2443163" y="3575050"/>
          <p14:tracePt t="23431" x="2446338" y="3575050"/>
          <p14:tracePt t="23435" x="2446338" y="3579813"/>
          <p14:tracePt t="23435" x="2451100" y="3579813"/>
          <p14:tracePt t="23441" x="2451100" y="3582988"/>
          <p14:tracePt t="23444" x="2454275" y="3582988"/>
          <p14:tracePt t="23446" x="2454275" y="3587750"/>
          <p14:tracePt t="23449" x="2459038" y="3587750"/>
          <p14:tracePt t="23456" x="2462213" y="3590925"/>
          <p14:tracePt t="23468" x="2462213" y="3595688"/>
          <p14:tracePt t="23468" x="2466975" y="3595688"/>
          <p14:tracePt t="23706" x="2462213" y="3595688"/>
          <p14:tracePt t="24233" x="2462213" y="3598863"/>
          <p14:tracePt t="24626" x="2466975" y="3598863"/>
          <p14:tracePt t="24629" x="2470150" y="3598863"/>
          <p14:tracePt t="24631" x="2474913" y="3603625"/>
          <p14:tracePt t="24634" x="2478088" y="3603625"/>
          <p14:tracePt t="24635" x="2482850" y="3603625"/>
          <p14:tracePt t="24636" x="2486025" y="3606800"/>
          <p14:tracePt t="24638" x="2490788" y="3606800"/>
          <p14:tracePt t="24639" x="2493963" y="3611563"/>
          <p14:tracePt t="24641" x="2498725" y="3611563"/>
          <p14:tracePt t="24643" x="2501900" y="3611563"/>
          <p14:tracePt t="24644" x="2506663" y="3614738"/>
          <p14:tracePt t="24645" x="2509838" y="3614738"/>
          <p14:tracePt t="24646" x="2514600" y="3614738"/>
          <p14:tracePt t="24647" x="2517775" y="3614738"/>
          <p14:tracePt t="24648" x="2522538" y="3619500"/>
          <p14:tracePt t="24649" x="2530475" y="3619500"/>
          <p14:tracePt t="24650" x="2530475" y="3622675"/>
          <p14:tracePt t="24651" x="2535238" y="3622675"/>
          <p14:tracePt t="24652" x="2538413" y="3622675"/>
          <p14:tracePt t="24653" x="2543175" y="3622675"/>
          <p14:tracePt t="24654" x="2546350" y="3622675"/>
          <p14:tracePt t="24655" x="2554288" y="3627438"/>
          <p14:tracePt t="24656" x="2559050" y="3627438"/>
          <p14:tracePt t="24659" x="2566988" y="3627438"/>
          <p14:tracePt t="24660" x="2574925" y="3627438"/>
          <p14:tracePt t="24661" x="2578100" y="3630613"/>
          <p14:tracePt t="24663" x="2586038" y="3630613"/>
          <p14:tracePt t="24665" x="2590800" y="3630613"/>
          <p14:tracePt t="24667" x="2601913" y="3630613"/>
          <p14:tracePt t="24667" x="2609850" y="3630613"/>
          <p14:tracePt t="24668" x="2614613" y="3630613"/>
          <p14:tracePt t="24669" x="2622550" y="3630613"/>
          <p14:tracePt t="24670" x="2630488" y="3635375"/>
          <p14:tracePt t="24671" x="2635250" y="3635375"/>
          <p14:tracePt t="24672" x="2643188" y="3635375"/>
          <p14:tracePt t="24674" x="2651125" y="3635375"/>
          <p14:tracePt t="24675" x="2667000" y="3635375"/>
          <p14:tracePt t="24676" x="2670175" y="3635375"/>
          <p14:tracePt t="24677" x="2678113" y="3635375"/>
          <p14:tracePt t="24679" x="2682875" y="3635375"/>
          <p14:tracePt t="24679" x="2690813" y="3635375"/>
          <p14:tracePt t="24680" x="2701925" y="3635375"/>
          <p14:tracePt t="24681" x="2706688" y="3635375"/>
          <p14:tracePt t="24683" x="2714625" y="3635375"/>
          <p14:tracePt t="24683" x="2722563" y="3635375"/>
          <p14:tracePt t="24684" x="2730500" y="3635375"/>
          <p14:tracePt t="24685" x="2738438" y="3635375"/>
          <p14:tracePt t="24686" x="2746375" y="3635375"/>
          <p14:tracePt t="24687" x="2751138" y="3635375"/>
          <p14:tracePt t="24688" x="2759075" y="3635375"/>
          <p14:tracePt t="24689" x="2767013" y="3630613"/>
          <p14:tracePt t="24691" x="2774950" y="3630613"/>
          <p14:tracePt t="24692" x="2778125" y="3630613"/>
          <p14:tracePt t="24693" x="2786063" y="3630613"/>
          <p14:tracePt t="24694" x="2794000" y="3627438"/>
          <p14:tracePt t="24695" x="2798763" y="3627438"/>
          <p14:tracePt t="24695" x="2806700" y="3627438"/>
          <p14:tracePt t="24696" x="2814638" y="3627438"/>
          <p14:tracePt t="24697" x="2819400" y="3627438"/>
          <p14:tracePt t="24698" x="2827338" y="3622675"/>
          <p14:tracePt t="24699" x="2830513" y="3622675"/>
          <p14:tracePt t="24700" x="2838450" y="3622675"/>
          <p14:tracePt t="24701" x="2843213" y="3622675"/>
          <p14:tracePt t="24702" x="2851150" y="3619500"/>
          <p14:tracePt t="24703" x="2854325" y="3619500"/>
          <p14:tracePt t="24704" x="2859088" y="3619500"/>
          <p14:tracePt t="24705" x="2867025" y="3619500"/>
          <p14:tracePt t="24706" x="2870200" y="3619500"/>
          <p14:tracePt t="24708" x="2874963" y="3614738"/>
          <p14:tracePt t="24709" x="2878138" y="3614738"/>
          <p14:tracePt t="24710" x="2882900" y="3614738"/>
          <p14:tracePt t="24711" x="2886075" y="3614738"/>
          <p14:tracePt t="24713" x="2890838" y="3611563"/>
          <p14:tracePt t="24714" x="2895600" y="3611563"/>
          <p14:tracePt t="24715" x="2898775" y="3611563"/>
          <p14:tracePt t="24716" x="2903538" y="3611563"/>
          <p14:tracePt t="24718" x="2906713" y="3611563"/>
          <p14:tracePt t="24719" x="2911475" y="3611563"/>
          <p14:tracePt t="24721" x="2914650" y="3606800"/>
          <p14:tracePt t="24725" x="2919413" y="3606800"/>
          <p14:tracePt t="24729" x="2922588" y="3603625"/>
          <p14:tracePt t="24732" x="2927350" y="3603625"/>
          <p14:tracePt t="24735" x="2930525" y="3603625"/>
          <p14:tracePt t="24851" x="2935288" y="3603625"/>
          <p14:tracePt t="24871" x="2938463" y="3603625"/>
          <p14:tracePt t="24888" x="2943225" y="3603625"/>
          <p14:tracePt t="24891" x="2946400" y="3603625"/>
          <p14:tracePt t="24893" x="2951163" y="3603625"/>
          <p14:tracePt t="24897" x="2954338" y="3603625"/>
          <p14:tracePt t="24904" x="2962275" y="3603625"/>
          <p14:tracePt t="24906" x="2967038" y="3603625"/>
          <p14:tracePt t="24909" x="2970213" y="3603625"/>
          <p14:tracePt t="24911" x="2974975" y="3603625"/>
          <p14:tracePt t="24913" x="2978150" y="3603625"/>
          <p14:tracePt t="24915" x="2982913" y="3603625"/>
          <p14:tracePt t="24918" x="2987675" y="3598863"/>
          <p14:tracePt t="24919" x="2990850" y="3598863"/>
          <p14:tracePt t="24924" x="2995613" y="3595688"/>
          <p14:tracePt t="24929" x="2995613" y="3590925"/>
          <p14:tracePt t="24939" x="2998788" y="3590925"/>
          <p14:tracePt t="24945" x="3003550" y="3590925"/>
          <p14:tracePt t="24945" x="3003550" y="3587750"/>
          <p14:tracePt t="24950" x="3006725" y="3587750"/>
          <p14:tracePt t="24951" x="3006725" y="3582988"/>
          <p14:tracePt t="24963" x="3006725" y="3579813"/>
          <p14:tracePt t="24968" x="3011488" y="3579813"/>
          <p14:tracePt t="24988" x="3014663" y="3579813"/>
          <p14:tracePt t="24992" x="3019425" y="3579813"/>
          <p14:tracePt t="24998" x="3022600" y="3579813"/>
          <p14:tracePt t="25001" x="3022600" y="3575050"/>
          <p14:tracePt t="25007" x="3027363" y="3575050"/>
          <p14:tracePt t="25009" x="3027363" y="3571875"/>
          <p14:tracePt t="25014" x="3030538" y="3571875"/>
          <p14:tracePt t="25018" x="3030538" y="3567113"/>
          <p14:tracePt t="25022" x="3035300" y="3567113"/>
          <p14:tracePt t="25024" x="3035300" y="3562350"/>
          <p14:tracePt t="25031" x="3035300" y="3559175"/>
          <p14:tracePt t="25034" x="3035300" y="3554413"/>
          <p14:tracePt t="25037" x="3035300" y="3551238"/>
          <p14:tracePt t="25041" x="3035300" y="3546475"/>
          <p14:tracePt t="25042" x="3035300" y="3543300"/>
          <p14:tracePt t="25046" x="3035300" y="3538538"/>
          <p14:tracePt t="25050" x="3035300" y="3535363"/>
          <p14:tracePt t="25052" x="3035300" y="3530600"/>
          <p14:tracePt t="25053" x="3035300" y="3527425"/>
          <p14:tracePt t="25053" x="3035300" y="3522663"/>
          <p14:tracePt t="25056" x="3035300" y="3519488"/>
          <p14:tracePt t="25058" x="3035300" y="3511550"/>
          <p14:tracePt t="25060" x="3035300" y="3506788"/>
          <p14:tracePt t="25062" x="3035300" y="3503613"/>
          <p14:tracePt t="25064" x="3035300" y="3498850"/>
          <p14:tracePt t="25066" x="3035300" y="3495675"/>
          <p14:tracePt t="25068" x="3038475" y="3490913"/>
          <p14:tracePt t="25070" x="3038475" y="3487738"/>
          <p14:tracePt t="25072" x="3038475" y="3482975"/>
          <p14:tracePt t="25074" x="3038475" y="3479800"/>
          <p14:tracePt t="25076" x="3038475" y="3475038"/>
          <p14:tracePt t="25078" x="3038475" y="3470275"/>
          <p14:tracePt t="25081" x="3038475" y="3467100"/>
          <p14:tracePt t="25083" x="3038475" y="3462338"/>
          <p14:tracePt t="25087" x="3043238" y="3459163"/>
          <p14:tracePt t="25092" x="3043238" y="3454400"/>
          <p14:tracePt t="25110" x="3046413" y="3438525"/>
          <p14:tracePt t="25111" x="3051175" y="3438525"/>
          <p14:tracePt t="25112" x="3051175" y="3435350"/>
          <p14:tracePt t="25118" x="3051175" y="3430588"/>
          <p14:tracePt t="25130" x="3051175" y="3427413"/>
          <p14:tracePt t="25168" x="3054350" y="3427413"/>
          <p14:tracePt t="25189" x="3059113" y="3427413"/>
          <p14:tracePt t="25195" x="3059113" y="3422650"/>
          <p14:tracePt t="25198" x="3062288" y="3422650"/>
          <p14:tracePt t="25206" x="3067050" y="3422650"/>
          <p14:tracePt t="25220" x="3071813" y="3419475"/>
          <p14:tracePt t="25234" x="3074988" y="3419475"/>
          <p14:tracePt t="25256" x="3079750" y="3419475"/>
          <p14:tracePt t="25281" x="3082925" y="3419475"/>
          <p14:tracePt t="25287" x="3082925" y="3414713"/>
          <p14:tracePt t="25292" x="3087688" y="3414713"/>
          <p14:tracePt t="25300" x="3087688" y="3411538"/>
          <p14:tracePt t="25300" x="3090863" y="3411538"/>
          <p14:tracePt t="25312" x="3095625" y="3411538"/>
          <p14:tracePt t="25323" x="3095625" y="3406775"/>
          <p14:tracePt t="25384" x="3098800" y="3406775"/>
          <p14:tracePt t="25497" x="3098800" y="3411538"/>
          <p14:tracePt t="25504" x="3098800" y="3414713"/>
          <p14:tracePt t="25513" x="3098800" y="3419475"/>
          <p14:tracePt t="25517" x="3098800" y="3422650"/>
          <p14:tracePt t="25519" x="3103563" y="3422650"/>
          <p14:tracePt t="25521" x="3103563" y="3427413"/>
          <p14:tracePt t="25527" x="3103563" y="3430588"/>
          <p14:tracePt t="25529" x="3103563" y="3435350"/>
          <p14:tracePt t="25533" x="3103563" y="3438525"/>
          <p14:tracePt t="25536" x="3106738" y="3438525"/>
          <p14:tracePt t="25537" x="3106738" y="3443288"/>
          <p14:tracePt t="25548" x="3111500" y="3443288"/>
          <p14:tracePt t="25552" x="3111500" y="3446463"/>
          <p14:tracePt t="25605" x="3114675" y="3446463"/>
          <p14:tracePt t="25650" x="3119438" y="3446463"/>
          <p14:tracePt t="25690" x="3119438" y="3451225"/>
          <p14:tracePt t="25694" x="3119438" y="3454400"/>
          <p14:tracePt t="25698" x="3122613" y="3459163"/>
          <p14:tracePt t="25700" x="3122613" y="3462338"/>
          <p14:tracePt t="25701" x="3127375" y="3467100"/>
          <p14:tracePt t="25702" x="3127375" y="3470275"/>
          <p14:tracePt t="25702" x="3127375" y="3475038"/>
          <p14:tracePt t="25704" x="3130550" y="3479800"/>
          <p14:tracePt t="25705" x="3130550" y="3482975"/>
          <p14:tracePt t="25707" x="3135313" y="3490913"/>
          <p14:tracePt t="25709" x="3138488" y="3495675"/>
          <p14:tracePt t="25710" x="3138488" y="3503613"/>
          <p14:tracePt t="25711" x="3138488" y="3506788"/>
          <p14:tracePt t="25712" x="3138488" y="3511550"/>
          <p14:tracePt t="25713" x="3143250" y="3514725"/>
          <p14:tracePt t="25713" x="3143250" y="3519488"/>
          <p14:tracePt t="25714" x="3143250" y="3527425"/>
          <p14:tracePt t="25715" x="3146425" y="3530600"/>
          <p14:tracePt t="25716" x="3146425" y="3538538"/>
          <p14:tracePt t="25717" x="3151188" y="3543300"/>
          <p14:tracePt t="25718" x="3151188" y="3551238"/>
          <p14:tracePt t="25719" x="3154363" y="3559175"/>
          <p14:tracePt t="25720" x="3154363" y="3562350"/>
          <p14:tracePt t="25722" x="3154363" y="3571875"/>
          <p14:tracePt t="25723" x="3154363" y="3575050"/>
          <p14:tracePt t="25723" x="3159125" y="3582988"/>
          <p14:tracePt t="25726" x="3159125" y="3595688"/>
          <p14:tracePt t="25728" x="3159125" y="3603625"/>
          <p14:tracePt t="25729" x="3163888" y="3611563"/>
          <p14:tracePt t="25730" x="3163888" y="3619500"/>
          <p14:tracePt t="25731" x="3163888" y="3622675"/>
          <p14:tracePt t="25732" x="3163888" y="3630613"/>
          <p14:tracePt t="25732" x="3167063" y="3635375"/>
          <p14:tracePt t="25733" x="3167063" y="3643313"/>
          <p14:tracePt t="25734" x="3167063" y="3651250"/>
          <p14:tracePt t="25735" x="3167063" y="3659188"/>
          <p14:tracePt t="25736" x="3167063" y="3663950"/>
          <p14:tracePt t="25737" x="3167063" y="3671888"/>
          <p14:tracePt t="25738" x="3167063" y="3675063"/>
          <p14:tracePt t="25739" x="3167063" y="3683000"/>
          <p14:tracePt t="25740" x="3171825" y="3690938"/>
          <p14:tracePt t="25742" x="3171825" y="3695700"/>
          <p14:tracePt t="25743" x="3171825" y="3703638"/>
          <p14:tracePt t="25745" x="3171825" y="3719513"/>
          <p14:tracePt t="25746" x="3171825" y="3722688"/>
          <p14:tracePt t="25747" x="3171825" y="3730625"/>
          <p14:tracePt t="25747" x="3171825" y="3735388"/>
          <p14:tracePt t="25748" x="3171825" y="3743325"/>
          <p14:tracePt t="25749" x="3171825" y="3751263"/>
          <p14:tracePt t="25750" x="3171825" y="3759200"/>
          <p14:tracePt t="25751" x="3171825" y="3763963"/>
          <p14:tracePt t="25752" x="3171825" y="3771900"/>
          <p14:tracePt t="25754" x="3171825" y="3779838"/>
          <p14:tracePt t="25755" x="3171825" y="3787775"/>
          <p14:tracePt t="25756" x="3171825" y="3790950"/>
          <p14:tracePt t="25757" x="3171825" y="3798888"/>
          <p14:tracePt t="25758" x="3171825" y="3806825"/>
          <p14:tracePt t="25759" x="3171825" y="3814763"/>
          <p14:tracePt t="25760" x="3171825" y="3819525"/>
          <p14:tracePt t="25761" x="3171825" y="3822700"/>
          <p14:tracePt t="25762" x="3171825" y="3830638"/>
          <p14:tracePt t="25763" x="3167063" y="3835400"/>
          <p14:tracePt t="25764" x="3167063" y="3843338"/>
          <p14:tracePt t="25765" x="3167063" y="3848100"/>
          <p14:tracePt t="25766" x="3167063" y="3856038"/>
          <p14:tracePt t="25767" x="3167063" y="3859213"/>
          <p14:tracePt t="25768" x="3163888" y="3863975"/>
          <p14:tracePt t="25769" x="3163888" y="3867150"/>
          <p14:tracePt t="25770" x="3163888" y="3875088"/>
          <p14:tracePt t="25772" x="3159125" y="3879850"/>
          <p14:tracePt t="25773" x="3159125" y="3883025"/>
          <p14:tracePt t="25775" x="3159125" y="3887788"/>
          <p14:tracePt t="25776" x="3159125" y="3890963"/>
          <p14:tracePt t="25776" x="3159125" y="3895725"/>
          <p14:tracePt t="25777" x="3159125" y="3898900"/>
          <p14:tracePt t="25778" x="3154363" y="3903663"/>
          <p14:tracePt t="25780" x="3154363" y="3906838"/>
          <p14:tracePt t="25780" x="3154363" y="3911600"/>
          <p14:tracePt t="25782" x="3154363" y="3914775"/>
          <p14:tracePt t="25784" x="3154363" y="3919538"/>
          <p14:tracePt t="25786" x="3151188" y="3919538"/>
          <p14:tracePt t="25790" x="3151188" y="3922713"/>
          <p14:tracePt t="25884" x="3154363" y="3922713"/>
          <p14:tracePt t="25887" x="3154363" y="3919538"/>
          <p14:tracePt t="25891" x="3154363" y="3914775"/>
          <p14:tracePt t="25893" x="3159125" y="3914775"/>
          <p14:tracePt t="25895" x="3159125" y="3911600"/>
          <p14:tracePt t="25897" x="3163888" y="3911600"/>
          <p14:tracePt t="25898" x="3163888" y="3906838"/>
          <p14:tracePt t="25900" x="3163888" y="3903663"/>
          <p14:tracePt t="25902" x="3167063" y="3898900"/>
          <p14:tracePt t="25905" x="3167063" y="3890963"/>
          <p14:tracePt t="25905" x="3171825" y="3890963"/>
          <p14:tracePt t="25906" x="3171825" y="3887788"/>
          <p14:tracePt t="25909" x="3171825" y="3883025"/>
          <p14:tracePt t="25911" x="3175000" y="3879850"/>
          <p14:tracePt t="25913" x="3175000" y="3875088"/>
          <p14:tracePt t="25914" x="3175000" y="3871913"/>
          <p14:tracePt t="25915" x="3175000" y="3863975"/>
          <p14:tracePt t="25917" x="3179763" y="3863975"/>
          <p14:tracePt t="25917" x="3179763" y="3859213"/>
          <p14:tracePt t="25918" x="3179763" y="3856038"/>
          <p14:tracePt t="25919" x="3179763" y="3851275"/>
          <p14:tracePt t="25920" x="3179763" y="3848100"/>
          <p14:tracePt t="25921" x="3179763" y="3843338"/>
          <p14:tracePt t="25922" x="3179763" y="3838575"/>
          <p14:tracePt t="25923" x="3179763" y="3835400"/>
          <p14:tracePt t="25927" x="3179763" y="3827463"/>
          <p14:tracePt t="25927" x="3179763" y="3822700"/>
          <p14:tracePt t="25929" x="3179763" y="3819525"/>
          <p14:tracePt t="25929" x="3179763" y="3814763"/>
          <p14:tracePt t="25930" x="3179763" y="3806825"/>
          <p14:tracePt t="25932" x="3179763" y="3798888"/>
          <p14:tracePt t="25932" x="3179763" y="3795713"/>
          <p14:tracePt t="25933" x="3179763" y="3790950"/>
          <p14:tracePt t="25934" x="3179763" y="3783013"/>
          <p14:tracePt t="25935" x="3179763" y="3775075"/>
          <p14:tracePt t="25937" x="3179763" y="3771900"/>
          <p14:tracePt t="25937" x="3179763" y="3763963"/>
          <p14:tracePt t="25939" x="3175000" y="3759200"/>
          <p14:tracePt t="25939" x="3175000" y="3751263"/>
          <p14:tracePt t="25941" x="3171825" y="3743325"/>
          <p14:tracePt t="25943" x="3167063" y="3730625"/>
          <p14:tracePt t="25945" x="3163888" y="3719513"/>
          <p14:tracePt t="25946" x="3163888" y="3711575"/>
          <p14:tracePt t="25947" x="3159125" y="3703638"/>
          <p14:tracePt t="25947" x="3154363" y="3695700"/>
          <p14:tracePt t="25948" x="3154363" y="3687763"/>
          <p14:tracePt t="25949" x="3146425" y="3679825"/>
          <p14:tracePt t="25950" x="3146425" y="3675063"/>
          <p14:tracePt t="25951" x="3143250" y="3663950"/>
          <p14:tracePt t="25952" x="3138488" y="3654425"/>
          <p14:tracePt t="25953" x="3135313" y="3643313"/>
          <p14:tracePt t="25954" x="3130550" y="3635375"/>
          <p14:tracePt t="25955" x="3127375" y="3627438"/>
          <p14:tracePt t="25956" x="3122613" y="3619500"/>
          <p14:tracePt t="25958" x="3119438" y="3611563"/>
          <p14:tracePt t="25959" x="3111500" y="3590925"/>
          <p14:tracePt t="25962" x="3095625" y="3575050"/>
          <p14:tracePt t="25962" x="3090863" y="3567113"/>
          <p14:tracePt t="25963" x="3082925" y="3554413"/>
          <p14:tracePt t="25964" x="3079750" y="3546475"/>
          <p14:tracePt t="25965" x="3074988" y="3538538"/>
          <p14:tracePt t="25966" x="3062288" y="3522663"/>
          <p14:tracePt t="25967" x="3059113" y="3514725"/>
          <p14:tracePt t="25968" x="3054350" y="3506788"/>
          <p14:tracePt t="25969" x="3046413" y="3498850"/>
          <p14:tracePt t="25970" x="3043238" y="3490913"/>
          <p14:tracePt t="25971" x="3030538" y="3479800"/>
          <p14:tracePt t="25972" x="3022600" y="3470275"/>
          <p14:tracePt t="25973" x="3014663" y="3462338"/>
          <p14:tracePt t="25975" x="3011488" y="3454400"/>
          <p14:tracePt t="25975" x="3003550" y="3443288"/>
          <p14:tracePt t="25977" x="2990850" y="3430588"/>
          <p14:tracePt t="25978" x="2974975" y="3411538"/>
          <p14:tracePt t="25979" x="2962275" y="3406775"/>
          <p14:tracePt t="25980" x="2954338" y="3398838"/>
          <p14:tracePt t="25981" x="2946400" y="3382963"/>
          <p14:tracePt t="25982" x="2935288" y="3375025"/>
          <p14:tracePt t="25983" x="2927350" y="3370263"/>
          <p14:tracePt t="25985" x="2919413" y="3362325"/>
          <p14:tracePt t="25985" x="2911475" y="3351213"/>
          <p14:tracePt t="25986" x="2898775" y="3343275"/>
          <p14:tracePt t="25988" x="2886075" y="3335338"/>
          <p14:tracePt t="25988" x="2878138" y="3322638"/>
          <p14:tracePt t="25989" x="2867025" y="3314700"/>
          <p14:tracePt t="25990" x="2859088" y="3311525"/>
          <p14:tracePt t="25992" x="2843213" y="3295650"/>
          <p14:tracePt t="25992" x="2830513" y="3290888"/>
          <p14:tracePt t="25995" x="2811463" y="3278188"/>
          <p14:tracePt t="25996" x="2798763" y="3267075"/>
          <p14:tracePt t="25997" x="2790825" y="3262313"/>
          <p14:tracePt t="25997" x="2774950" y="3254375"/>
          <p14:tracePt t="25998" x="2762250" y="3243263"/>
          <p14:tracePt t="25999" x="2751138" y="3238500"/>
          <p14:tracePt t="26000" x="2743200" y="3230563"/>
          <p14:tracePt t="26001" x="2722563" y="3222625"/>
          <p14:tracePt t="26002" x="2714625" y="3214688"/>
          <p14:tracePt t="26003" x="2706688" y="3211513"/>
          <p14:tracePt t="26004" x="2693988" y="3203575"/>
          <p14:tracePt t="26005" x="2682875" y="3198813"/>
          <p14:tracePt t="26006" x="2674938" y="3194050"/>
          <p14:tracePt t="26008" x="2654300" y="3186113"/>
          <p14:tracePt t="26009" x="2646363" y="3178175"/>
          <p14:tracePt t="26012" x="2630488" y="3175000"/>
          <p14:tracePt t="26013" x="2622550" y="3170238"/>
          <p14:tracePt t="26013" x="2617788" y="3167063"/>
          <p14:tracePt t="26014" x="2609850" y="3167063"/>
          <p14:tracePt t="26015" x="2606675" y="3162300"/>
          <p14:tracePt t="26016" x="2598738" y="3162300"/>
          <p14:tracePt t="26017" x="2593975" y="3162300"/>
          <p14:tracePt t="26018" x="2590800" y="3159125"/>
          <p14:tracePt t="26019" x="2586038" y="3159125"/>
          <p14:tracePt t="26020" x="2582863" y="3159125"/>
          <p14:tracePt t="26021" x="2578100" y="3154363"/>
          <p14:tracePt t="26022" x="2574925" y="3154363"/>
          <p14:tracePt t="26025" x="2570163" y="3154363"/>
          <p14:tracePt t="26028" x="2566988" y="3154363"/>
          <p14:tracePt t="26044" x="2562225" y="3154363"/>
          <p14:tracePt t="26056" x="2562225" y="3159125"/>
          <p14:tracePt t="26058" x="2562225" y="3162300"/>
          <p14:tracePt t="26060" x="2562225" y="3167063"/>
          <p14:tracePt t="26061" x="2562225" y="3170238"/>
          <p14:tracePt t="26062" x="2562225" y="3175000"/>
          <p14:tracePt t="26063" x="2562225" y="3178175"/>
          <p14:tracePt t="26065" x="2562225" y="3182938"/>
          <p14:tracePt t="26066" x="2562225" y="3194050"/>
          <p14:tracePt t="26067" x="2562225" y="3203575"/>
          <p14:tracePt t="26068" x="2562225" y="3206750"/>
          <p14:tracePt t="26069" x="2562225" y="3211513"/>
          <p14:tracePt t="26070" x="2562225" y="3219450"/>
          <p14:tracePt t="26071" x="2562225" y="3227388"/>
          <p14:tracePt t="26072" x="2562225" y="3230563"/>
          <p14:tracePt t="26073" x="2562225" y="3243263"/>
          <p14:tracePt t="26075" x="2562225" y="3251200"/>
          <p14:tracePt t="26076" x="2562225" y="3254375"/>
          <p14:tracePt t="26076" x="2566988" y="3262313"/>
          <p14:tracePt t="26077" x="2566988" y="3275013"/>
          <p14:tracePt t="26078" x="2570163" y="3278188"/>
          <p14:tracePt t="26080" x="2570163" y="3286125"/>
          <p14:tracePt t="26081" x="2578100" y="3303588"/>
          <p14:tracePt t="26082" x="2582863" y="3314700"/>
          <p14:tracePt t="26083" x="2586038" y="3327400"/>
          <p14:tracePt t="26084" x="2590800" y="3335338"/>
          <p14:tracePt t="26085" x="2593975" y="3338513"/>
          <p14:tracePt t="26086" x="2598738" y="3346450"/>
          <p14:tracePt t="26087" x="2609850" y="3362325"/>
          <p14:tracePt t="26088" x="2614613" y="3370263"/>
          <p14:tracePt t="26089" x="2617788" y="3378200"/>
          <p14:tracePt t="26090" x="2622550" y="3382963"/>
          <p14:tracePt t="26091" x="2627313" y="3390900"/>
          <p14:tracePt t="26093" x="2630488" y="3398838"/>
          <p14:tracePt t="26109" x="2754313" y="3514725"/>
          <p14:tracePt t="26111" x="2762250" y="3519488"/>
          <p14:tracePt t="26111" x="2770188" y="3522663"/>
          <p14:tracePt t="26113" x="2782888" y="3527425"/>
          <p14:tracePt t="26114" x="2790825" y="3538538"/>
          <p14:tracePt t="26114" x="2798763" y="3543300"/>
          <p14:tracePt t="26115" x="2806700" y="3546475"/>
          <p14:tracePt t="26116" x="2814638" y="3551238"/>
          <p14:tracePt t="26117" x="2827338" y="3559175"/>
          <p14:tracePt t="26118" x="2835275" y="3562350"/>
          <p14:tracePt t="26119" x="2843213" y="3567113"/>
          <p14:tracePt t="26120" x="2851150" y="3571875"/>
          <p14:tracePt t="26121" x="2859088" y="3579813"/>
          <p14:tracePt t="26122" x="2870200" y="3582988"/>
          <p14:tracePt t="26123" x="2882900" y="3587750"/>
          <p14:tracePt t="26125" x="2890838" y="3590925"/>
          <p14:tracePt t="26126" x="2898775" y="3595688"/>
          <p14:tracePt t="26127" x="2911475" y="3598863"/>
          <p14:tracePt t="26128" x="2919413" y="3603625"/>
          <p14:tracePt t="26128" x="2927350" y="3606800"/>
          <p14:tracePt t="26130" x="2935288" y="3611563"/>
          <p14:tracePt t="26131" x="2946400" y="3619500"/>
          <p14:tracePt t="26132" x="2954338" y="3619500"/>
          <p14:tracePt t="26133" x="2962275" y="3622675"/>
          <p14:tracePt t="26134" x="2974975" y="3630613"/>
          <p14:tracePt t="26135" x="2982913" y="3635375"/>
          <p14:tracePt t="26136" x="2987675" y="3635375"/>
          <p14:tracePt t="26137" x="2995613" y="3638550"/>
          <p14:tracePt t="26138" x="3003550" y="3643313"/>
          <p14:tracePt t="26139" x="3011488" y="3643313"/>
          <p14:tracePt t="26140" x="3014663" y="3646488"/>
          <p14:tracePt t="26142" x="3022600" y="3646488"/>
          <p14:tracePt t="26142" x="3027363" y="3651250"/>
          <p14:tracePt t="26145" x="3038475" y="3651250"/>
          <p14:tracePt t="26147" x="3043238" y="3651250"/>
          <p14:tracePt t="26147" x="3046413" y="3651250"/>
          <p14:tracePt t="26148" x="3054350" y="3654425"/>
          <p14:tracePt t="26149" x="3059113" y="3654425"/>
          <p14:tracePt t="26150" x="3062288" y="3654425"/>
          <p14:tracePt t="26151" x="3067050" y="3654425"/>
          <p14:tracePt t="26152" x="3071813" y="3659188"/>
          <p14:tracePt t="26153" x="3074988" y="3659188"/>
          <p14:tracePt t="26154" x="3079750" y="3659188"/>
          <p14:tracePt t="26155" x="3082925" y="3659188"/>
          <p14:tracePt t="26156" x="3087688" y="3659188"/>
          <p14:tracePt t="26160" x="3090863" y="3663950"/>
          <p14:tracePt t="26162" x="3095625" y="3663950"/>
          <p14:tracePt t="26164" x="3098800" y="3663950"/>
          <p14:tracePt t="26175" x="3103563" y="3663950"/>
          <p14:tracePt t="26242" x="3103563" y="3659188"/>
          <p14:tracePt t="26591" x="3103563" y="3654425"/>
          <p14:tracePt t="26601" x="3098800" y="3651250"/>
          <p14:tracePt t="26616" x="3098800" y="3646488"/>
          <p14:tracePt t="27143" x="3098800" y="3643313"/>
          <p14:tracePt t="27149" x="3098800" y="3638550"/>
          <p14:tracePt t="27175" x="3098800" y="3635375"/>
          <p14:tracePt t="27181" x="3103563" y="3635375"/>
          <p14:tracePt t="27882" x="3106738" y="3635375"/>
          <p14:tracePt t="27940" x="3106738" y="3638550"/>
          <p14:tracePt t="28030" x="3106738" y="3643313"/>
          <p14:tracePt t="28521" x="3103563" y="3643313"/>
          <p14:tracePt t="28527" x="3098800" y="3643313"/>
          <p14:tracePt t="28565" x="3098800" y="3646488"/>
          <p14:tracePt t="28569" x="3095625" y="3646488"/>
          <p14:tracePt t="28572" x="3095625" y="3651250"/>
          <p14:tracePt t="28573" x="3090863" y="3654425"/>
          <p14:tracePt t="28577" x="3090863" y="3659188"/>
          <p14:tracePt t="28579" x="3090863" y="3663950"/>
          <p14:tracePt t="28579" x="3087688" y="3667125"/>
          <p14:tracePt t="28580" x="3087688" y="3671888"/>
          <p14:tracePt t="28581" x="3082925" y="3675063"/>
          <p14:tracePt t="28582" x="3082925" y="3679825"/>
          <p14:tracePt t="28583" x="3079750" y="3683000"/>
          <p14:tracePt t="28584" x="3074988" y="3687763"/>
          <p14:tracePt t="28585" x="3074988" y="3695700"/>
          <p14:tracePt t="28586" x="3071813" y="3698875"/>
          <p14:tracePt t="28587" x="3071813" y="3706813"/>
          <p14:tracePt t="28589" x="3067050" y="3706813"/>
          <p14:tracePt t="28589" x="3067050" y="3714750"/>
          <p14:tracePt t="28591" x="3062288" y="3719513"/>
          <p14:tracePt t="28592" x="3059113" y="3735388"/>
          <p14:tracePt t="28595" x="3054350" y="3746500"/>
          <p14:tracePt t="28595" x="3051175" y="3756025"/>
          <p14:tracePt t="28596" x="3051175" y="3767138"/>
          <p14:tracePt t="28598" x="3046413" y="3775075"/>
          <p14:tracePt t="28599" x="3046413" y="3779838"/>
          <p14:tracePt t="28599" x="3046413" y="3790950"/>
          <p14:tracePt t="28600" x="3043238" y="3798888"/>
          <p14:tracePt t="28601" x="3043238" y="3806825"/>
          <p14:tracePt t="28602" x="3043238" y="3814763"/>
          <p14:tracePt t="28603" x="3038475" y="3819525"/>
          <p14:tracePt t="28604" x="3038475" y="3827463"/>
          <p14:tracePt t="28605" x="3035300" y="3838575"/>
          <p14:tracePt t="28606" x="3030538" y="3851275"/>
          <p14:tracePt t="28607" x="3030538" y="3859213"/>
          <p14:tracePt t="28609" x="3022600" y="3871913"/>
          <p14:tracePt t="28609" x="3022600" y="3887788"/>
          <p14:tracePt t="28611" x="3019425" y="3895725"/>
          <p14:tracePt t="28611" x="3014663" y="3903663"/>
          <p14:tracePt t="28613" x="3014663" y="3911600"/>
          <p14:tracePt t="28613" x="3011488" y="3919538"/>
          <p14:tracePt t="28614" x="3011488" y="3927475"/>
          <p14:tracePt t="28615" x="3006725" y="3943350"/>
          <p14:tracePt t="28616" x="3003550" y="3951288"/>
          <p14:tracePt t="28617" x="2998788" y="3963988"/>
          <p14:tracePt t="28618" x="2998788" y="3971925"/>
          <p14:tracePt t="28619" x="2995613" y="3983038"/>
          <p14:tracePt t="28620" x="2987675" y="3995738"/>
          <p14:tracePt t="28621" x="2982913" y="4003675"/>
          <p14:tracePt t="28622" x="2982913" y="4011613"/>
          <p14:tracePt t="28623" x="2978150" y="4024313"/>
          <p14:tracePt t="28625" x="2970213" y="4043363"/>
          <p14:tracePt t="28627" x="2967038" y="4051300"/>
          <p14:tracePt t="28629" x="2959100" y="4071938"/>
          <p14:tracePt t="28629" x="2954338" y="4079875"/>
          <p14:tracePt t="28630" x="2946400" y="4095750"/>
          <p14:tracePt t="28631" x="2943225" y="4103688"/>
          <p14:tracePt t="28632" x="2935288" y="4111625"/>
          <p14:tracePt t="28633" x="2930525" y="4119563"/>
          <p14:tracePt t="28634" x="2927350" y="4127500"/>
          <p14:tracePt t="28635" x="2919413" y="4140200"/>
          <p14:tracePt t="28636" x="2914650" y="4148138"/>
          <p14:tracePt t="28637" x="2906713" y="4156075"/>
          <p14:tracePt t="28638" x="2903538" y="4164013"/>
          <p14:tracePt t="28639" x="2898775" y="4171950"/>
          <p14:tracePt t="28640" x="2890838" y="4183063"/>
          <p14:tracePt t="28642" x="2886075" y="4191000"/>
          <p14:tracePt t="28643" x="2882900" y="4198938"/>
          <p14:tracePt t="28644" x="2870200" y="4211638"/>
          <p14:tracePt t="28646" x="2862263" y="4219575"/>
          <p14:tracePt t="28646" x="2854325" y="4227513"/>
          <p14:tracePt t="28647" x="2851150" y="4240213"/>
          <p14:tracePt t="28649" x="2843213" y="4243388"/>
          <p14:tracePt t="28650" x="2838450" y="4251325"/>
          <p14:tracePt t="28651" x="2830513" y="4259263"/>
          <p14:tracePt t="28652" x="2827338" y="4267200"/>
          <p14:tracePt t="28653" x="2822575" y="4271963"/>
          <p14:tracePt t="28654" x="2814638" y="4275138"/>
          <p14:tracePt t="28655" x="2811463" y="4279900"/>
          <p14:tracePt t="28655" x="2806700" y="4287838"/>
          <p14:tracePt t="28657" x="2803525" y="4291013"/>
          <p14:tracePt t="28658" x="2794000" y="4300538"/>
          <p14:tracePt t="28660" x="2786063" y="4308475"/>
          <p14:tracePt t="28660" x="2782888" y="4311650"/>
          <p14:tracePt t="28662" x="2778125" y="4316413"/>
          <p14:tracePt t="28664" x="2767013" y="4324350"/>
          <p14:tracePt t="28665" x="2762250" y="4332288"/>
          <p14:tracePt t="28666" x="2759075" y="4332288"/>
          <p14:tracePt t="28667" x="2754313" y="4335463"/>
          <p14:tracePt t="28668" x="2751138" y="4340225"/>
          <p14:tracePt t="28669" x="2746375" y="4343400"/>
          <p14:tracePt t="28670" x="2743200" y="4348163"/>
          <p14:tracePt t="28671" x="2738438" y="4351338"/>
          <p14:tracePt t="28672" x="2735263" y="4356100"/>
          <p14:tracePt t="28673" x="2730500" y="4356100"/>
          <p14:tracePt t="28675" x="2722563" y="4364038"/>
          <p14:tracePt t="28678" x="2719388" y="4367213"/>
          <p14:tracePt t="28679" x="2714625" y="4371975"/>
          <p14:tracePt t="28679" x="2711450" y="4371975"/>
          <p14:tracePt t="28680" x="2706688" y="4371975"/>
          <p14:tracePt t="28682" x="2701925" y="4375150"/>
          <p14:tracePt t="28684" x="2698750" y="4379913"/>
          <p14:tracePt t="28686" x="2693988" y="4379913"/>
          <p14:tracePt t="28687" x="2690813" y="4383088"/>
          <p14:tracePt t="28689" x="2686050" y="4383088"/>
          <p14:tracePt t="28691" x="2682875" y="4387850"/>
          <p14:tracePt t="28695" x="2682875" y="4392613"/>
          <p14:tracePt t="28698" x="2678113" y="4395788"/>
          <p14:tracePt t="28702" x="2674938" y="4395788"/>
          <p14:tracePt t="28707" x="2674938" y="4400550"/>
          <p14:tracePt t="28708" x="2670175" y="4400550"/>
          <p14:tracePt t="28731" x="2667000" y="4400550"/>
          <p14:tracePt t="28745" x="2662238" y="4400550"/>
          <p14:tracePt t="28748" x="2659063" y="4400550"/>
          <p14:tracePt t="28751" x="2654300" y="4400550"/>
          <p14:tracePt t="28753" x="2651125" y="4395788"/>
          <p14:tracePt t="28754" x="2646363" y="4395788"/>
          <p14:tracePt t="28756" x="2646363" y="4392613"/>
          <p14:tracePt t="28757" x="2643188" y="4392613"/>
          <p14:tracePt t="28762" x="2638425" y="4387850"/>
          <p14:tracePt t="28763" x="2635250" y="4387850"/>
          <p14:tracePt t="28765" x="2630488" y="4387850"/>
          <p14:tracePt t="28766" x="2630488" y="4383088"/>
          <p14:tracePt t="28766" x="2627313" y="4383088"/>
          <p14:tracePt t="28768" x="2622550" y="4379913"/>
          <p14:tracePt t="28770" x="2617788" y="4379913"/>
          <p14:tracePt t="28770" x="2614613" y="4379913"/>
          <p14:tracePt t="28771" x="2614613" y="4375150"/>
          <p14:tracePt t="28772" x="2609850" y="4375150"/>
          <p14:tracePt t="28775" x="2606675" y="4375150"/>
          <p14:tracePt t="28777" x="2601913" y="4371975"/>
          <p14:tracePt t="28780" x="2598738" y="4371975"/>
          <p14:tracePt t="28780" x="2593975" y="4367213"/>
          <p14:tracePt t="28781" x="2590800" y="4367213"/>
          <p14:tracePt t="28783" x="2586038" y="4364038"/>
          <p14:tracePt t="28785" x="2582863" y="4359275"/>
          <p14:tracePt t="28788" x="2578100" y="4359275"/>
          <p14:tracePt t="28788" x="2574925" y="4356100"/>
          <p14:tracePt t="28790" x="2570163" y="4351338"/>
          <p14:tracePt t="28792" x="2566988" y="4351338"/>
          <p14:tracePt t="28793" x="2562225" y="4348163"/>
          <p14:tracePt t="28795" x="2559050" y="4348163"/>
          <p14:tracePt t="28795" x="2559050" y="4343400"/>
          <p14:tracePt t="28797" x="2554288" y="4340225"/>
          <p14:tracePt t="28799" x="2551113" y="4340225"/>
          <p14:tracePt t="28800" x="2546350" y="4335463"/>
          <p14:tracePt t="28801" x="2543175" y="4335463"/>
          <p14:tracePt t="28803" x="2538413" y="4335463"/>
          <p14:tracePt t="28804" x="2535238" y="4332288"/>
          <p14:tracePt t="28806" x="2530475" y="4327525"/>
          <p14:tracePt t="28807" x="2525713" y="4327525"/>
          <p14:tracePt t="28808" x="2522538" y="4324350"/>
          <p14:tracePt t="28810" x="2517775" y="4324350"/>
          <p14:tracePt t="28811" x="2517775" y="4319588"/>
          <p14:tracePt t="28812" x="2514600" y="4319588"/>
          <p14:tracePt t="28813" x="2509838" y="4316413"/>
          <p14:tracePt t="28814" x="2506663" y="4316413"/>
          <p14:tracePt t="28815" x="2506663" y="4311650"/>
          <p14:tracePt t="28816" x="2501900" y="4311650"/>
          <p14:tracePt t="28817" x="2498725" y="4308475"/>
          <p14:tracePt t="28819" x="2493963" y="4303713"/>
          <p14:tracePt t="28820" x="2490788" y="4303713"/>
          <p14:tracePt t="28823" x="2486025" y="4300538"/>
          <p14:tracePt t="28823" x="2482850" y="4300538"/>
          <p14:tracePt t="28825" x="2482850" y="4295775"/>
          <p14:tracePt t="28826" x="2478088" y="4295775"/>
          <p14:tracePt t="28829" x="2474913" y="4291013"/>
          <p14:tracePt t="28830" x="2470150" y="4291013"/>
          <p14:tracePt t="28831" x="2470150" y="4287838"/>
          <p14:tracePt t="28832" x="2466975" y="4287838"/>
          <p14:tracePt t="28833" x="2466975" y="4283075"/>
          <p14:tracePt t="28834" x="2462213" y="4283075"/>
          <p14:tracePt t="28836" x="2459038" y="4279900"/>
          <p14:tracePt t="28837" x="2454275" y="4275138"/>
          <p14:tracePt t="28838" x="2451100" y="4271963"/>
          <p14:tracePt t="28841" x="2446338" y="4267200"/>
          <p14:tracePt t="28842" x="2443163" y="4264025"/>
          <p14:tracePt t="28842" x="2438400" y="4264025"/>
          <p14:tracePt t="28845" x="2438400" y="4256088"/>
          <p14:tracePt t="28846" x="2433638" y="4256088"/>
          <p14:tracePt t="28847" x="2430463" y="4256088"/>
          <p14:tracePt t="28847" x="2425700" y="4251325"/>
          <p14:tracePt t="28848" x="2422525" y="4248150"/>
          <p14:tracePt t="28849" x="2417763" y="4243388"/>
          <p14:tracePt t="28850" x="2414588" y="4243388"/>
          <p14:tracePt t="28851" x="2409825" y="4240213"/>
          <p14:tracePt t="28852" x="2401888" y="4232275"/>
          <p14:tracePt t="28853" x="2398713" y="4227513"/>
          <p14:tracePt t="28854" x="2393950" y="4224338"/>
          <p14:tracePt t="28855" x="2386013" y="4219575"/>
          <p14:tracePt t="28856" x="2382838" y="4216400"/>
          <p14:tracePt t="28857" x="2374900" y="4211638"/>
          <p14:tracePt t="28858" x="2370138" y="4208463"/>
          <p14:tracePt t="28860" x="2362200" y="4198938"/>
          <p14:tracePt t="28861" x="2354263" y="4191000"/>
          <p14:tracePt t="28862" x="2341563" y="4187825"/>
          <p14:tracePt t="28863" x="2333625" y="4183063"/>
          <p14:tracePt t="28864" x="2330450" y="4179888"/>
          <p14:tracePt t="28865" x="2322513" y="4175125"/>
          <p14:tracePt t="28866" x="2314575" y="4171950"/>
          <p14:tracePt t="28867" x="2306638" y="4164013"/>
          <p14:tracePt t="28868" x="2298700" y="4159250"/>
          <p14:tracePt t="28869" x="2286000" y="4148138"/>
          <p14:tracePt t="28870" x="2278063" y="4143375"/>
          <p14:tracePt t="28871" x="2270125" y="4135438"/>
          <p14:tracePt t="28872" x="2254250" y="4127500"/>
          <p14:tracePt t="28873" x="2246313" y="4124325"/>
          <p14:tracePt t="28875" x="2230438" y="4106863"/>
          <p14:tracePt t="28876" x="2217738" y="4103688"/>
          <p14:tracePt t="28879" x="2190750" y="4083050"/>
          <p14:tracePt t="28880" x="2174875" y="4071938"/>
          <p14:tracePt t="28881" x="2157413" y="4064000"/>
          <p14:tracePt t="28882" x="2146300" y="4051300"/>
          <p14:tracePt t="28883" x="2133600" y="4048125"/>
          <p14:tracePt t="28884" x="2122488" y="4040188"/>
          <p14:tracePt t="28885" x="2114550" y="4035425"/>
          <p14:tracePt t="28886" x="2101850" y="4024313"/>
          <p14:tracePt t="28887" x="2090738" y="4014788"/>
          <p14:tracePt t="28888" x="2078038" y="4006850"/>
          <p14:tracePt t="28889" x="2065338" y="3998913"/>
          <p14:tracePt t="28890" x="2057400" y="3990975"/>
          <p14:tracePt t="28892" x="2041525" y="3987800"/>
          <p14:tracePt t="28893" x="2033588" y="3979863"/>
          <p14:tracePt t="28894" x="2017713" y="3967163"/>
          <p14:tracePt t="28895" x="2009775" y="3963988"/>
          <p14:tracePt t="28896" x="1998663" y="3956050"/>
          <p14:tracePt t="28897" x="1985963" y="3951288"/>
          <p14:tracePt t="28897" x="1973263" y="3940175"/>
          <p14:tracePt t="28898" x="1957388" y="3930650"/>
          <p14:tracePt t="28899" x="1949450" y="3927475"/>
          <p14:tracePt t="28900" x="1941513" y="3919538"/>
          <p14:tracePt t="28901" x="1933575" y="3911600"/>
          <p14:tracePt t="28902" x="1917700" y="3903663"/>
          <p14:tracePt t="28903" x="1901825" y="3898900"/>
          <p14:tracePt t="28905" x="1893888" y="3890963"/>
          <p14:tracePt t="28905" x="1885950" y="3887788"/>
          <p14:tracePt t="28906" x="1870075" y="3875088"/>
          <p14:tracePt t="28907" x="1857375" y="3871913"/>
          <p14:tracePt t="28908" x="1849438" y="3863975"/>
          <p14:tracePt t="28909" x="1838325" y="3859213"/>
          <p14:tracePt t="28912" x="1817688" y="3843338"/>
          <p14:tracePt t="28913" x="1793875" y="3830638"/>
          <p14:tracePt t="28914" x="1785938" y="3827463"/>
          <p14:tracePt t="28915" x="1773238" y="3819525"/>
          <p14:tracePt t="28916" x="1765300" y="3814763"/>
          <p14:tracePt t="28917" x="1754188" y="3806825"/>
          <p14:tracePt t="28918" x="1741488" y="3803650"/>
          <p14:tracePt t="28919" x="1733550" y="3798888"/>
          <p14:tracePt t="28920" x="1725613" y="3795713"/>
          <p14:tracePt t="28921" x="1717675" y="3790950"/>
          <p14:tracePt t="28922" x="1709738" y="3787775"/>
          <p14:tracePt t="28923" x="1693863" y="3779838"/>
          <p14:tracePt t="28924" x="1689100" y="3775075"/>
          <p14:tracePt t="28926" x="1681163" y="3771900"/>
          <p14:tracePt t="28926" x="1673225" y="3767138"/>
          <p14:tracePt t="28927" x="1662113" y="3759200"/>
          <p14:tracePt t="28929" x="1657350" y="3759200"/>
          <p14:tracePt t="28930" x="1649413" y="3756025"/>
          <p14:tracePt t="28931" x="1630363" y="3746500"/>
          <p14:tracePt t="28932" x="1625600" y="3743325"/>
          <p14:tracePt t="28934" x="1617663" y="3738563"/>
          <p14:tracePt t="28935" x="1609725" y="3735388"/>
          <p14:tracePt t="28935" x="1601788" y="3735388"/>
          <p14:tracePt t="28937" x="1597025" y="3730625"/>
          <p14:tracePt t="28937" x="1589088" y="3730625"/>
          <p14:tracePt t="28939" x="1585913" y="3727450"/>
          <p14:tracePt t="28941" x="1573213" y="3722688"/>
          <p14:tracePt t="28942" x="1565275" y="3719513"/>
          <p14:tracePt t="28944" x="1562100" y="3714750"/>
          <p14:tracePt t="28945" x="1554163" y="3714750"/>
          <p14:tracePt t="28947" x="1546225" y="3711575"/>
          <p14:tracePt t="28948" x="1538288" y="3711575"/>
          <p14:tracePt t="28948" x="1533525" y="3706813"/>
          <p14:tracePt t="28949" x="1528763" y="3706813"/>
          <p14:tracePt t="28950" x="1525588" y="3703638"/>
          <p14:tracePt t="28951" x="1520825" y="3703638"/>
          <p14:tracePt t="28952" x="1517650" y="3703638"/>
          <p14:tracePt t="28953" x="1512888" y="3703638"/>
          <p14:tracePt t="28954" x="1509713" y="3698875"/>
          <p14:tracePt t="28955" x="1504950" y="3698875"/>
          <p14:tracePt t="28956" x="1497013" y="3698875"/>
          <p14:tracePt t="28957" x="1493838" y="3698875"/>
          <p14:tracePt t="28959" x="1489075" y="3698875"/>
          <p14:tracePt t="28959" x="1485900" y="3698875"/>
          <p14:tracePt t="28961" x="1481138" y="3698875"/>
          <p14:tracePt t="28962" x="1477963" y="3695700"/>
          <p14:tracePt t="28963" x="1473200" y="3695700"/>
          <p14:tracePt t="28963" x="1470025" y="3695700"/>
          <p14:tracePt t="28966" x="1465263" y="3690938"/>
          <p14:tracePt t="28967" x="1462088" y="3690938"/>
          <p14:tracePt t="28968" x="1457325" y="3690938"/>
          <p14:tracePt t="28970" x="1454150" y="3690938"/>
          <p14:tracePt t="28972" x="1449388" y="3690938"/>
          <p14:tracePt t="28972" x="1449388" y="3687763"/>
          <p14:tracePt t="28973" x="1446213" y="3687763"/>
          <p14:tracePt t="28975" x="1436688" y="3687763"/>
          <p14:tracePt t="28977" x="1433513" y="3687763"/>
          <p14:tracePt t="28979" x="1428750" y="3687763"/>
          <p14:tracePt t="28980" x="1425575" y="3687763"/>
          <p14:tracePt t="28983" x="1420813" y="3687763"/>
          <p14:tracePt t="28984" x="1417638" y="3687763"/>
          <p14:tracePt t="28986" x="1412875" y="3687763"/>
          <p14:tracePt t="28988" x="1409700" y="3687763"/>
          <p14:tracePt t="28989" x="1404938" y="3687763"/>
          <p14:tracePt t="28992" x="1401763" y="3687763"/>
          <p14:tracePt t="28993" x="1397000" y="3687763"/>
          <p14:tracePt t="28995" x="1393825" y="3687763"/>
          <p14:tracePt t="28996" x="1389063" y="3687763"/>
          <p14:tracePt t="28998" x="1385888" y="3687763"/>
          <p14:tracePt t="29003" x="1381125" y="3687763"/>
          <p14:tracePt t="29004" x="1377950" y="3687763"/>
          <p14:tracePt t="29005" x="1373188" y="3687763"/>
          <p14:tracePt t="29006" x="1373188" y="3690938"/>
          <p14:tracePt t="29008" x="1370013" y="3690938"/>
          <p14:tracePt t="29010" x="1365250" y="3690938"/>
          <p14:tracePt t="29010" x="1362075" y="3690938"/>
          <p14:tracePt t="29012" x="1362075" y="3695700"/>
          <p14:tracePt t="29012" x="1357313" y="3695700"/>
          <p14:tracePt t="29013" x="1352550" y="3695700"/>
          <p14:tracePt t="29015" x="1349375" y="3695700"/>
          <p14:tracePt t="29017" x="1344613" y="3698875"/>
          <p14:tracePt t="29019" x="1344613" y="3703638"/>
          <p14:tracePt t="29020" x="1341438" y="3703638"/>
          <p14:tracePt t="29021" x="1336675" y="3703638"/>
          <p14:tracePt t="29022" x="1336675" y="3706813"/>
          <p14:tracePt t="29023" x="1333500" y="3706813"/>
          <p14:tracePt t="29024" x="1328738" y="3706813"/>
          <p14:tracePt t="29025" x="1325563" y="3711575"/>
          <p14:tracePt t="29026" x="1320800" y="3711575"/>
          <p14:tracePt t="29027" x="1317625" y="3714750"/>
          <p14:tracePt t="29029" x="1309688" y="3719513"/>
          <p14:tracePt t="29030" x="1309688" y="3722688"/>
          <p14:tracePt t="29031" x="1304925" y="3722688"/>
          <p14:tracePt t="29033" x="1293813" y="3727450"/>
          <p14:tracePt t="29034" x="1293813" y="3730625"/>
          <p14:tracePt t="29035" x="1289050" y="3730625"/>
          <p14:tracePt t="29037" x="1285875" y="3735388"/>
          <p14:tracePt t="29038" x="1281113" y="3735388"/>
          <p14:tracePt t="29039" x="1277938" y="3738563"/>
          <p14:tracePt t="29040" x="1273175" y="3738563"/>
          <p14:tracePt t="29042" x="1270000" y="3738563"/>
          <p14:tracePt t="29043" x="1265238" y="3743325"/>
          <p14:tracePt t="29044" x="1260475" y="3743325"/>
          <p14:tracePt t="29045" x="1257300" y="3743325"/>
          <p14:tracePt t="29046" x="1252538" y="3743325"/>
          <p14:tracePt t="29047" x="1249363" y="3746500"/>
          <p14:tracePt t="29049" x="1249363" y="3751263"/>
          <p14:tracePt t="29050" x="1244600" y="3751263"/>
          <p14:tracePt t="29051" x="1241425" y="3751263"/>
          <p14:tracePt t="29052" x="1241425" y="3756025"/>
          <p14:tracePt t="29053" x="1236663" y="3756025"/>
          <p14:tracePt t="29054" x="1236663" y="3759200"/>
          <p14:tracePt t="29055" x="1233488" y="3759200"/>
          <p14:tracePt t="29057" x="1228725" y="3759200"/>
          <p14:tracePt t="29060" x="1225550" y="3759200"/>
          <p14:tracePt t="29062" x="1220788" y="3759200"/>
          <p14:tracePt t="29063" x="1220788" y="3763963"/>
          <p14:tracePt t="29067" x="1217613" y="3763963"/>
          <p14:tracePt t="29069" x="1217613" y="3767138"/>
          <p14:tracePt t="29072" x="1212850" y="3767138"/>
          <p14:tracePt t="29074" x="1212850" y="3771900"/>
          <p14:tracePt t="29075" x="1209675" y="3771900"/>
          <p14:tracePt t="29077" x="1209675" y="3775075"/>
          <p14:tracePt t="29081" x="1204913" y="3775075"/>
          <p14:tracePt t="29084" x="1204913" y="3779838"/>
          <p14:tracePt t="29087" x="1201738" y="3779838"/>
          <p14:tracePt t="29092" x="1196975" y="3779838"/>
          <p14:tracePt t="29094" x="1196975" y="3783013"/>
          <p14:tracePt t="29095" x="1193800" y="3783013"/>
          <p14:tracePt t="29097" x="1189038" y="3787775"/>
          <p14:tracePt t="29110" x="1177925" y="3798888"/>
          <p14:tracePt t="29110" x="1173163" y="3798888"/>
          <p14:tracePt t="29113" x="1168400" y="3798888"/>
          <p14:tracePt t="29117" x="1168400" y="3803650"/>
          <p14:tracePt t="29118" x="1165225" y="3803650"/>
          <p14:tracePt t="29120" x="1165225" y="3806825"/>
          <p14:tracePt t="29122" x="1165225" y="3811588"/>
          <p14:tracePt t="29124" x="1160463" y="3811588"/>
          <p14:tracePt t="29126" x="1157288" y="3814763"/>
          <p14:tracePt t="29128" x="1152525" y="3814763"/>
          <p14:tracePt t="29130" x="1149350" y="3814763"/>
          <p14:tracePt t="29132" x="1149350" y="3819525"/>
          <p14:tracePt t="29132" x="1144588" y="3819525"/>
          <p14:tracePt t="29135" x="1141413" y="3819525"/>
          <p14:tracePt t="29137" x="1141413" y="3822700"/>
          <p14:tracePt t="29137" x="1136650" y="3822700"/>
          <p14:tracePt t="29140" x="1133475" y="3822700"/>
          <p14:tracePt t="29142" x="1128713" y="3822700"/>
          <p14:tracePt t="29146" x="1125538" y="3827463"/>
          <p14:tracePt t="29148" x="1120775" y="3827463"/>
          <p14:tracePt t="29149" x="1117600" y="3830638"/>
          <p14:tracePt t="29150" x="1112838" y="3830638"/>
          <p14:tracePt t="29153" x="1109663" y="3830638"/>
          <p14:tracePt t="29155" x="1104900" y="3830638"/>
          <p14:tracePt t="29155" x="1101725" y="3835400"/>
          <p14:tracePt t="29157" x="1096963" y="3835400"/>
          <p14:tracePt t="29159" x="1093788" y="3835400"/>
          <p14:tracePt t="29160" x="1089025" y="3838575"/>
          <p14:tracePt t="29164" x="1085850" y="3838575"/>
          <p14:tracePt t="29166" x="1081088" y="3838575"/>
          <p14:tracePt t="29167" x="1076325" y="3843338"/>
          <p14:tracePt t="29168" x="1073150" y="3843338"/>
          <p14:tracePt t="29170" x="1068388" y="3843338"/>
          <p14:tracePt t="29171" x="1065213" y="3843338"/>
          <p14:tracePt t="29173" x="1060450" y="3843338"/>
          <p14:tracePt t="29175" x="1057275" y="3848100"/>
          <p14:tracePt t="29176" x="1052513" y="3848100"/>
          <p14:tracePt t="29178" x="1049338" y="3848100"/>
          <p14:tracePt t="29180" x="1044575" y="3848100"/>
          <p14:tracePt t="29183" x="1041400" y="3848100"/>
          <p14:tracePt t="29183" x="1036638" y="3848100"/>
          <p14:tracePt t="29185" x="1033463" y="3848100"/>
          <p14:tracePt t="29186" x="1028700" y="3848100"/>
          <p14:tracePt t="29187" x="1025525" y="3851275"/>
          <p14:tracePt t="29191" x="1017588" y="3851275"/>
          <p14:tracePt t="29192" x="1012825" y="3851275"/>
          <p14:tracePt t="29193" x="1009650" y="3851275"/>
          <p14:tracePt t="29195" x="1004888" y="3851275"/>
          <p14:tracePt t="29197" x="1001713" y="3851275"/>
          <p14:tracePt t="29199" x="996950" y="3851275"/>
          <p14:tracePt t="29201" x="992188" y="3851275"/>
          <p14:tracePt t="29202" x="989013" y="3851275"/>
          <p14:tracePt t="29204" x="984250" y="3851275"/>
          <p14:tracePt t="29207" x="981075" y="3851275"/>
          <p14:tracePt t="29207" x="976313" y="3851275"/>
          <p14:tracePt t="29209" x="973138" y="3851275"/>
          <p14:tracePt t="29210" x="968375" y="3851275"/>
          <p14:tracePt t="29212" x="965200" y="3851275"/>
          <p14:tracePt t="29215" x="960438" y="3851275"/>
          <p14:tracePt t="29216" x="957263" y="3851275"/>
          <p14:tracePt t="29218" x="952500" y="3851275"/>
          <p14:tracePt t="29220" x="949325" y="3851275"/>
          <p14:tracePt t="29223" x="944563" y="3851275"/>
          <p14:tracePt t="29224" x="941388" y="3848100"/>
          <p14:tracePt t="29226" x="936625" y="3848100"/>
          <p14:tracePt t="29228" x="933450" y="3848100"/>
          <p14:tracePt t="29230" x="928688" y="3848100"/>
          <p14:tracePt t="29230" x="925513" y="3848100"/>
          <p14:tracePt t="29234" x="920750" y="3848100"/>
          <p14:tracePt t="29235" x="917575" y="3843338"/>
          <p14:tracePt t="29236" x="912813" y="3843338"/>
          <p14:tracePt t="29237" x="909638" y="3843338"/>
          <p14:tracePt t="29239" x="904875" y="3838575"/>
          <p14:tracePt t="29240" x="900113" y="3838575"/>
          <p14:tracePt t="29242" x="896938" y="3838575"/>
          <p14:tracePt t="29243" x="892175" y="3838575"/>
          <p14:tracePt t="29243" x="889000" y="3838575"/>
          <p14:tracePt t="29244" x="889000" y="3835400"/>
          <p14:tracePt t="29246" x="881063" y="3835400"/>
          <p14:tracePt t="29248" x="876300" y="3835400"/>
          <p14:tracePt t="29249" x="873125" y="3835400"/>
          <p14:tracePt t="29250" x="865188" y="3830638"/>
          <p14:tracePt t="29251" x="860425" y="3830638"/>
          <p14:tracePt t="29252" x="857250" y="3830638"/>
          <p14:tracePt t="29253" x="852488" y="3830638"/>
          <p14:tracePt t="29254" x="844550" y="3827463"/>
          <p14:tracePt t="29255" x="841375" y="3827463"/>
          <p14:tracePt t="29256" x="836613" y="3827463"/>
          <p14:tracePt t="29257" x="833438" y="3827463"/>
          <p14:tracePt t="29259" x="825500" y="3822700"/>
          <p14:tracePt t="29260" x="820738" y="3822700"/>
          <p14:tracePt t="29260" x="817563" y="3822700"/>
          <p14:tracePt t="29261" x="808038" y="3819525"/>
          <p14:tracePt t="29262" x="800100" y="3819525"/>
          <p14:tracePt t="29263" x="796925" y="3814763"/>
          <p14:tracePt t="29264" x="792163" y="3814763"/>
          <p14:tracePt t="29265" x="788988" y="3814763"/>
          <p14:tracePt t="29266" x="784225" y="3811588"/>
          <p14:tracePt t="29267" x="776288" y="3811588"/>
          <p14:tracePt t="29268" x="773113" y="3811588"/>
          <p14:tracePt t="29269" x="765175" y="3811588"/>
          <p14:tracePt t="29270" x="760413" y="3811588"/>
          <p14:tracePt t="29271" x="752475" y="3811588"/>
          <p14:tracePt t="29272" x="749300" y="3811588"/>
          <p14:tracePt t="29273" x="741363" y="3806825"/>
          <p14:tracePt t="29274" x="736600" y="3806825"/>
          <p14:tracePt t="29276" x="728663" y="3798888"/>
          <p14:tracePt t="29277" x="720725" y="3798888"/>
          <p14:tracePt t="29277" x="715963" y="3798888"/>
          <p14:tracePt t="29278" x="712788" y="3798888"/>
          <p14:tracePt t="29279" x="704850" y="3798888"/>
          <p14:tracePt t="29281" x="696913" y="3795713"/>
          <p14:tracePt t="29282" x="692150" y="3795713"/>
          <p14:tracePt t="29283" x="684213" y="3790950"/>
          <p14:tracePt t="29284" x="681038" y="3790950"/>
          <p14:tracePt t="29285" x="676275" y="3790950"/>
          <p14:tracePt t="29286" x="668338" y="3790950"/>
          <p14:tracePt t="29287" x="660400" y="3783013"/>
          <p14:tracePt t="29288" x="657225" y="3783013"/>
          <p14:tracePt t="29289" x="652463" y="3783013"/>
          <p14:tracePt t="29290" x="649288" y="3783013"/>
          <p14:tracePt t="29292" x="641350" y="3783013"/>
          <p14:tracePt t="29293" x="636588" y="3783013"/>
          <p14:tracePt t="29294" x="628650" y="3783013"/>
          <p14:tracePt t="29294" x="623888" y="3783013"/>
          <p14:tracePt t="29295" x="620713" y="3783013"/>
          <p14:tracePt t="29296" x="612775" y="3783013"/>
          <p14:tracePt t="29297" x="608013" y="3783013"/>
          <p14:tracePt t="29298" x="608013" y="3779838"/>
          <p14:tracePt t="29299" x="604838" y="3779838"/>
          <p14:tracePt t="29300" x="600075" y="3779838"/>
          <p14:tracePt t="29301" x="592138" y="3779838"/>
          <p14:tracePt t="29302" x="588963" y="3779838"/>
          <p14:tracePt t="29303" x="584200" y="3779838"/>
          <p14:tracePt t="29304" x="581025" y="3775075"/>
          <p14:tracePt t="29305" x="576263" y="3775075"/>
          <p14:tracePt t="29306" x="573088" y="3775075"/>
          <p14:tracePt t="29307" x="568325" y="3775075"/>
          <p14:tracePt t="29308" x="565150" y="3775075"/>
          <p14:tracePt t="29310" x="560388" y="3775075"/>
          <p14:tracePt t="29311" x="557213" y="3775075"/>
          <p14:tracePt t="29312" x="552450" y="3775075"/>
          <p14:tracePt t="29313" x="549275" y="3775075"/>
          <p14:tracePt t="29314" x="544513" y="3775075"/>
          <p14:tracePt t="29315" x="539750" y="3775075"/>
          <p14:tracePt t="29316" x="536575" y="3775075"/>
          <p14:tracePt t="29317" x="531813" y="3775075"/>
          <p14:tracePt t="29319" x="528638" y="3775075"/>
          <p14:tracePt t="29320" x="523875" y="3775075"/>
          <p14:tracePt t="29322" x="520700" y="3775075"/>
          <p14:tracePt t="29324" x="515938" y="3775075"/>
          <p14:tracePt t="29326" x="512763" y="3775075"/>
          <p14:tracePt t="29326" x="508000" y="3775075"/>
          <p14:tracePt t="29328" x="504825" y="3775075"/>
          <p14:tracePt t="29329" x="500063" y="3775075"/>
          <p14:tracePt t="29331" x="496888" y="3775075"/>
          <p14:tracePt t="29332" x="492125" y="3779838"/>
          <p14:tracePt t="29334" x="488950" y="3779838"/>
          <p14:tracePt t="29335" x="484188" y="3779838"/>
          <p14:tracePt t="29338" x="481013" y="3779838"/>
          <p14:tracePt t="29339" x="481013" y="3783013"/>
          <p14:tracePt t="29340" x="476250" y="3783013"/>
          <p14:tracePt t="29342" x="473075" y="3783013"/>
          <p14:tracePt t="29342" x="468313" y="3783013"/>
          <p14:tracePt t="29343" x="468313" y="3787775"/>
          <p14:tracePt t="29344" x="465138" y="3787775"/>
          <p14:tracePt t="29345" x="460375" y="3787775"/>
          <p14:tracePt t="29346" x="457200" y="3790950"/>
          <p14:tracePt t="29347" x="452438" y="3790950"/>
          <p14:tracePt t="29348" x="452438" y="3795713"/>
          <p14:tracePt t="29349" x="447675" y="3795713"/>
          <p14:tracePt t="29350" x="447675" y="3798888"/>
          <p14:tracePt t="29351" x="444500" y="3803650"/>
          <p14:tracePt t="29353" x="439738" y="3803650"/>
          <p14:tracePt t="29354" x="439738" y="3806825"/>
          <p14:tracePt t="29355" x="436563" y="3811588"/>
          <p14:tracePt t="29357" x="431800" y="3814763"/>
          <p14:tracePt t="29358" x="428625" y="3819525"/>
          <p14:tracePt t="29360" x="423863" y="3822700"/>
          <p14:tracePt t="29362" x="420688" y="3822700"/>
          <p14:tracePt t="29363" x="415925" y="3827463"/>
          <p14:tracePt t="29365" x="412750" y="3830638"/>
          <p14:tracePt t="29366" x="407988" y="3835400"/>
          <p14:tracePt t="29367" x="407988" y="3838575"/>
          <p14:tracePt t="29368" x="404813" y="3838575"/>
          <p14:tracePt t="29369" x="404813" y="3843338"/>
          <p14:tracePt t="29370" x="404813" y="3848100"/>
          <p14:tracePt t="29371" x="400050" y="3851275"/>
          <p14:tracePt t="29373" x="400050" y="3856038"/>
          <p14:tracePt t="29374" x="400050" y="3859213"/>
          <p14:tracePt t="29376" x="396875" y="3863975"/>
          <p14:tracePt t="29377" x="392113" y="3863975"/>
          <p14:tracePt t="29378" x="392113" y="3867150"/>
          <p14:tracePt t="29379" x="388938" y="3871913"/>
          <p14:tracePt t="29380" x="388938" y="3875088"/>
          <p14:tracePt t="29381" x="388938" y="3879850"/>
          <p14:tracePt t="29382" x="384175" y="3883025"/>
          <p14:tracePt t="29383" x="384175" y="3887788"/>
          <p14:tracePt t="29384" x="384175" y="3890963"/>
          <p14:tracePt t="29385" x="384175" y="3895725"/>
          <p14:tracePt t="29386" x="381000" y="3898900"/>
          <p14:tracePt t="29387" x="381000" y="3903663"/>
          <p14:tracePt t="29388" x="376238" y="3903663"/>
          <p14:tracePt t="29389" x="376238" y="3906838"/>
          <p14:tracePt t="29390" x="376238" y="3911600"/>
          <p14:tracePt t="29392" x="376238" y="3914775"/>
          <p14:tracePt t="29393" x="373063" y="3919538"/>
          <p14:tracePt t="29394" x="373063" y="3927475"/>
          <p14:tracePt t="29395" x="373063" y="3930650"/>
          <p14:tracePt t="29395" x="373063" y="3935413"/>
          <p14:tracePt t="29396" x="373063" y="3940175"/>
          <p14:tracePt t="29397" x="373063" y="3948113"/>
          <p14:tracePt t="29398" x="373063" y="3951288"/>
          <p14:tracePt t="29400" x="373063" y="3956050"/>
          <p14:tracePt t="29401" x="373063" y="3963988"/>
          <p14:tracePt t="29402" x="373063" y="3967163"/>
          <p14:tracePt t="29403" x="373063" y="3975100"/>
          <p14:tracePt t="29404" x="373063" y="3979863"/>
          <p14:tracePt t="29405" x="373063" y="3983038"/>
          <p14:tracePt t="29406" x="373063" y="3987800"/>
          <p14:tracePt t="29407" x="373063" y="3995738"/>
          <p14:tracePt t="29409" x="373063" y="3998913"/>
          <p14:tracePt t="29410" x="373063" y="4006850"/>
          <p14:tracePt t="29411" x="373063" y="4011613"/>
          <p14:tracePt t="29411" x="373063" y="4014788"/>
          <p14:tracePt t="29412" x="376238" y="4024313"/>
          <p14:tracePt t="29413" x="376238" y="4032250"/>
          <p14:tracePt t="29414" x="381000" y="4032250"/>
          <p14:tracePt t="29415" x="381000" y="4035425"/>
          <p14:tracePt t="29416" x="384175" y="4043363"/>
          <p14:tracePt t="29417" x="384175" y="4051300"/>
          <p14:tracePt t="29418" x="388938" y="4056063"/>
          <p14:tracePt t="29419" x="392113" y="4064000"/>
          <p14:tracePt t="29420" x="392113" y="4067175"/>
          <p14:tracePt t="29421" x="396875" y="4075113"/>
          <p14:tracePt t="29422" x="400050" y="4083050"/>
          <p14:tracePt t="29424" x="404813" y="4087813"/>
          <p14:tracePt t="29424" x="407988" y="4095750"/>
          <p14:tracePt t="29426" x="407988" y="4098925"/>
          <p14:tracePt t="29427" x="412750" y="4106863"/>
          <p14:tracePt t="29427" x="415925" y="4116388"/>
          <p14:tracePt t="29428" x="420688" y="4127500"/>
          <p14:tracePt t="29429" x="423863" y="4132263"/>
          <p14:tracePt t="29430" x="428625" y="4140200"/>
          <p14:tracePt t="29431" x="431800" y="4140200"/>
          <p14:tracePt t="29432" x="439738" y="4151313"/>
          <p14:tracePt t="29433" x="444500" y="4151313"/>
          <p14:tracePt t="29434" x="447675" y="4159250"/>
          <p14:tracePt t="29435" x="457200" y="4167188"/>
          <p14:tracePt t="29436" x="460375" y="4167188"/>
          <p14:tracePt t="29437" x="468313" y="4175125"/>
          <p14:tracePt t="29438" x="473075" y="4179888"/>
          <p14:tracePt t="29439" x="476250" y="4187825"/>
          <p14:tracePt t="29440" x="484188" y="4191000"/>
          <p14:tracePt t="29442" x="488950" y="4195763"/>
          <p14:tracePt t="29443" x="492125" y="4198938"/>
          <p14:tracePt t="29445" x="508000" y="4216400"/>
          <p14:tracePt t="29446" x="512763" y="4219575"/>
          <p14:tracePt t="29446" x="520700" y="4224338"/>
          <p14:tracePt t="29447" x="528638" y="4227513"/>
          <p14:tracePt t="29448" x="531813" y="4232275"/>
          <p14:tracePt t="29449" x="539750" y="4235450"/>
          <p14:tracePt t="29450" x="544513" y="4235450"/>
          <p14:tracePt t="29451" x="552450" y="4240213"/>
          <p14:tracePt t="29452" x="560388" y="4248150"/>
          <p14:tracePt t="29453" x="573088" y="4251325"/>
          <p14:tracePt t="29456" x="592138" y="4259263"/>
          <p14:tracePt t="29457" x="600075" y="4259263"/>
          <p14:tracePt t="29459" x="604838" y="4264025"/>
          <p14:tracePt t="29459" x="612775" y="4267200"/>
          <p14:tracePt t="29461" x="623888" y="4271963"/>
          <p14:tracePt t="29462" x="633413" y="4275138"/>
          <p14:tracePt t="29463" x="641350" y="4275138"/>
          <p14:tracePt t="29464" x="649288" y="4279900"/>
          <p14:tracePt t="29465" x="652463" y="4283075"/>
          <p14:tracePt t="29466" x="660400" y="4283075"/>
          <p14:tracePt t="29467" x="668338" y="4287838"/>
          <p14:tracePt t="29468" x="676275" y="4291013"/>
          <p14:tracePt t="29469" x="684213" y="4291013"/>
          <p14:tracePt t="29470" x="692150" y="4291013"/>
          <p14:tracePt t="29472" x="700088" y="4295775"/>
          <p14:tracePt t="29472" x="712788" y="4295775"/>
          <p14:tracePt t="29473" x="725488" y="4300538"/>
          <p14:tracePt t="29474" x="733425" y="4300538"/>
          <p14:tracePt t="29476" x="741363" y="4300538"/>
          <p14:tracePt t="29476" x="749300" y="4300538"/>
          <p14:tracePt t="29479" x="773113" y="4303713"/>
          <p14:tracePt t="29479" x="784225" y="4311650"/>
          <p14:tracePt t="29480" x="792163" y="4311650"/>
          <p14:tracePt t="29481" x="808038" y="4311650"/>
          <p14:tracePt t="29482" x="817563" y="4311650"/>
          <p14:tracePt t="29483" x="828675" y="4311650"/>
          <p14:tracePt t="29484" x="844550" y="4311650"/>
          <p14:tracePt t="29485" x="852488" y="4316413"/>
          <p14:tracePt t="29486" x="865188" y="4316413"/>
          <p14:tracePt t="29487" x="873125" y="4316413"/>
          <p14:tracePt t="29489" x="892175" y="4316413"/>
          <p14:tracePt t="29489" x="900113" y="4316413"/>
          <p14:tracePt t="29490" x="912813" y="4316413"/>
          <p14:tracePt t="29492" x="925513" y="4316413"/>
          <p14:tracePt t="29492" x="936625" y="4316413"/>
          <p14:tracePt t="29494" x="957263" y="4316413"/>
          <p14:tracePt t="29494" x="968375" y="4316413"/>
          <p14:tracePt t="29495" x="976313" y="4316413"/>
          <p14:tracePt t="29496" x="992188" y="4316413"/>
          <p14:tracePt t="29497" x="1004888" y="4316413"/>
          <p14:tracePt t="29498" x="1017588" y="4316413"/>
          <p14:tracePt t="29499" x="1033463" y="4316413"/>
          <p14:tracePt t="29500" x="1044575" y="4316413"/>
          <p14:tracePt t="29501" x="1060450" y="4316413"/>
          <p14:tracePt t="29503" x="1073150" y="4316413"/>
          <p14:tracePt t="29503" x="1089025" y="4311650"/>
          <p14:tracePt t="29504" x="1101725" y="4311650"/>
          <p14:tracePt t="29505" x="1112838" y="4311650"/>
          <p14:tracePt t="29506" x="1128713" y="4308475"/>
          <p14:tracePt t="29507" x="1141413" y="4308475"/>
          <p14:tracePt t="29508" x="1160463" y="4303713"/>
          <p14:tracePt t="29509" x="1177925" y="4303713"/>
          <p14:tracePt t="29510" x="1189038" y="4300538"/>
          <p14:tracePt t="29511" x="1204913" y="4300538"/>
          <p14:tracePt t="29512" x="1217613" y="4295775"/>
          <p14:tracePt t="29513" x="1236663" y="4295775"/>
          <p14:tracePt t="29514" x="1249363" y="4291013"/>
          <p14:tracePt t="29515" x="1265238" y="4291013"/>
          <p14:tracePt t="29516" x="1277938" y="4283075"/>
          <p14:tracePt t="29518" x="1304925" y="4279900"/>
          <p14:tracePt t="29519" x="1320800" y="4275138"/>
          <p14:tracePt t="29520" x="1328738" y="4275138"/>
          <p14:tracePt t="29521" x="1341438" y="4271963"/>
          <p14:tracePt t="29522" x="1357313" y="4267200"/>
          <p14:tracePt t="29523" x="1370013" y="4259263"/>
          <p14:tracePt t="29525" x="1393825" y="4251325"/>
          <p14:tracePt t="29527" x="1409700" y="4251325"/>
          <p14:tracePt t="29528" x="1417638" y="4248150"/>
          <p14:tracePt t="29528" x="1428750" y="4240213"/>
          <p14:tracePt t="29530" x="1441450" y="4235450"/>
          <p14:tracePt t="29530" x="1454150" y="4227513"/>
          <p14:tracePt t="29531" x="1462088" y="4224338"/>
          <p14:tracePt t="29532" x="1470025" y="4219575"/>
          <p14:tracePt t="29533" x="1485900" y="4216400"/>
          <p14:tracePt t="29534" x="1493838" y="4211638"/>
          <p14:tracePt t="29535" x="1501775" y="4203700"/>
          <p14:tracePt t="29536" x="1512888" y="4198938"/>
          <p14:tracePt t="29537" x="1520825" y="4191000"/>
          <p14:tracePt t="29538" x="1528763" y="4187825"/>
          <p14:tracePt t="29539" x="1538288" y="4183063"/>
          <p14:tracePt t="29540" x="1541463" y="4179888"/>
          <p14:tracePt t="29542" x="1549400" y="4171950"/>
          <p14:tracePt t="29542" x="1554163" y="4167188"/>
          <p14:tracePt t="29544" x="1562100" y="4164013"/>
          <p14:tracePt t="29545" x="1570038" y="4159250"/>
          <p14:tracePt t="29546" x="1573213" y="4151313"/>
          <p14:tracePt t="29547" x="1577975" y="4148138"/>
          <p14:tracePt t="29549" x="1581150" y="4143375"/>
          <p14:tracePt t="29549" x="1585913" y="4140200"/>
          <p14:tracePt t="29550" x="1589088" y="4132263"/>
          <p14:tracePt t="29551" x="1589088" y="4127500"/>
          <p14:tracePt t="29552" x="1593850" y="4124325"/>
          <p14:tracePt t="29553" x="1593850" y="4119563"/>
          <p14:tracePt t="29554" x="1593850" y="4116388"/>
          <p14:tracePt t="29555" x="1597025" y="4111625"/>
          <p14:tracePt t="29556" x="1597025" y="4103688"/>
          <p14:tracePt t="29557" x="1597025" y="4098925"/>
          <p14:tracePt t="29558" x="1601788" y="4098925"/>
          <p14:tracePt t="29559" x="1601788" y="4095750"/>
          <p14:tracePt t="29562" x="1604963" y="4087813"/>
          <p14:tracePt t="29562" x="1604963" y="4083050"/>
          <p14:tracePt t="29563" x="1604963" y="4079875"/>
          <p14:tracePt t="29565" x="1609725" y="4075113"/>
          <p14:tracePt t="29565" x="1609725" y="4071938"/>
          <p14:tracePt t="29566" x="1609725" y="4067175"/>
          <p14:tracePt t="29567" x="1609725" y="4064000"/>
          <p14:tracePt t="29568" x="1609725" y="4059238"/>
          <p14:tracePt t="29570" x="1609725" y="4056063"/>
          <p14:tracePt t="29571" x="1609725" y="4051300"/>
          <p14:tracePt t="29573" x="1609725" y="4048125"/>
          <p14:tracePt t="29574" x="1609725" y="4043363"/>
          <p14:tracePt t="29576" x="1609725" y="4040188"/>
          <p14:tracePt t="29576" x="1609725" y="4035425"/>
          <p14:tracePt t="29579" x="1609725" y="4027488"/>
          <p14:tracePt t="29579" x="1609725" y="4024313"/>
          <p14:tracePt t="29580" x="1604963" y="4019550"/>
          <p14:tracePt t="29583" x="1601788" y="4014788"/>
          <p14:tracePt t="29584" x="1601788" y="4011613"/>
          <p14:tracePt t="29585" x="1597025" y="4006850"/>
          <p14:tracePt t="29586" x="1597025" y="4003675"/>
          <p14:tracePt t="29587" x="1597025" y="3998913"/>
          <p14:tracePt t="29589" x="1593850" y="3995738"/>
          <p14:tracePt t="29590" x="1589088" y="3990975"/>
          <p14:tracePt t="29592" x="1589088" y="3987800"/>
          <p14:tracePt t="29593" x="1581150" y="3979863"/>
          <p14:tracePt t="29594" x="1577975" y="3979863"/>
          <p14:tracePt t="29595" x="1573213" y="3979863"/>
          <p14:tracePt t="29597" x="1570038" y="3971925"/>
          <p14:tracePt t="29598" x="1565275" y="3967163"/>
          <p14:tracePt t="29599" x="1562100" y="3963988"/>
          <p14:tracePt t="29600" x="1557338" y="3959225"/>
          <p14:tracePt t="29601" x="1554163" y="3956050"/>
          <p14:tracePt t="29603" x="1549400" y="3951288"/>
          <p14:tracePt t="29604" x="1541463" y="3948113"/>
          <p14:tracePt t="29605" x="1538288" y="3943350"/>
          <p14:tracePt t="29607" x="1533525" y="3940175"/>
          <p14:tracePt t="29608" x="1525588" y="3935413"/>
          <p14:tracePt t="29610" x="1520825" y="3935413"/>
          <p14:tracePt t="29610" x="1517650" y="3930650"/>
          <p14:tracePt t="29612" x="1509713" y="3927475"/>
          <p14:tracePt t="29612" x="1504950" y="3927475"/>
          <p14:tracePt t="29613" x="1501775" y="3927475"/>
          <p14:tracePt t="29614" x="1493838" y="3922713"/>
          <p14:tracePt t="29615" x="1489075" y="3922713"/>
          <p14:tracePt t="29616" x="1481138" y="3919538"/>
          <p14:tracePt t="29617" x="1477963" y="3914775"/>
          <p14:tracePt t="29618" x="1470025" y="3914775"/>
          <p14:tracePt t="29619" x="1462088" y="3911600"/>
          <p14:tracePt t="29620" x="1457325" y="3906838"/>
          <p14:tracePt t="29621" x="1449388" y="3906838"/>
          <p14:tracePt t="29622" x="1449388" y="3903663"/>
          <p14:tracePt t="29623" x="1446213" y="3903663"/>
          <p14:tracePt t="29625" x="1425575" y="3895725"/>
          <p14:tracePt t="29627" x="1420813" y="3895725"/>
          <p14:tracePt t="29628" x="1412875" y="3890963"/>
          <p14:tracePt t="29629" x="1404938" y="3890963"/>
          <p14:tracePt t="29630" x="1397000" y="3887788"/>
          <p14:tracePt t="29631" x="1389063" y="3887788"/>
          <p14:tracePt t="29631" x="1385888" y="3887788"/>
          <p14:tracePt t="29632" x="1377950" y="3887788"/>
          <p14:tracePt t="29633" x="1370013" y="3879850"/>
          <p14:tracePt t="29634" x="1365250" y="3879850"/>
          <p14:tracePt t="29635" x="1352550" y="3879850"/>
          <p14:tracePt t="29636" x="1349375" y="3879850"/>
          <p14:tracePt t="29637" x="1341438" y="3879850"/>
          <p14:tracePt t="29638" x="1333500" y="3879850"/>
          <p14:tracePt t="29639" x="1325563" y="3879850"/>
          <p14:tracePt t="29640" x="1317625" y="3879850"/>
          <p14:tracePt t="29642" x="1312863" y="3879850"/>
          <p14:tracePt t="29644" x="1296988" y="3875088"/>
          <p14:tracePt t="29645" x="1293813" y="3875088"/>
          <p14:tracePt t="29645" x="1281113" y="3875088"/>
          <p14:tracePt t="29646" x="1277938" y="3875088"/>
          <p14:tracePt t="29647" x="1270000" y="3875088"/>
          <p14:tracePt t="29648" x="1260475" y="3875088"/>
          <p14:tracePt t="29649" x="1252538" y="3875088"/>
          <p14:tracePt t="29650" x="1249363" y="3875088"/>
          <p14:tracePt t="29651" x="1241425" y="3875088"/>
          <p14:tracePt t="29653" x="1233488" y="3875088"/>
          <p14:tracePt t="29654" x="1225550" y="3875088"/>
          <p14:tracePt t="29655" x="1217613" y="3875088"/>
          <p14:tracePt t="29656" x="1212850" y="3875088"/>
          <p14:tracePt t="29657" x="1204913" y="3875088"/>
          <p14:tracePt t="29659" x="1196975" y="3875088"/>
          <p14:tracePt t="29660" x="1189038" y="3875088"/>
          <p14:tracePt t="29661" x="1181100" y="3875088"/>
          <p14:tracePt t="29661" x="1177925" y="3875088"/>
          <p14:tracePt t="29662" x="1173163" y="3875088"/>
          <p14:tracePt t="29663" x="1165225" y="3875088"/>
          <p14:tracePt t="29664" x="1160463" y="3875088"/>
          <p14:tracePt t="29665" x="1152525" y="3875088"/>
          <p14:tracePt t="29666" x="1144588" y="3879850"/>
          <p14:tracePt t="29667" x="1141413" y="3879850"/>
          <p14:tracePt t="29668" x="1136650" y="3879850"/>
          <p14:tracePt t="29669" x="1128713" y="3883025"/>
          <p14:tracePt t="29670" x="1120775" y="3883025"/>
          <p14:tracePt t="29671" x="1112838" y="3883025"/>
          <p14:tracePt t="29672" x="1109663" y="3883025"/>
          <p14:tracePt t="29673" x="1101725" y="3887788"/>
          <p14:tracePt t="29675" x="1096963" y="3887788"/>
          <p14:tracePt t="29676" x="1089025" y="3890963"/>
          <p14:tracePt t="29677" x="1081088" y="3895725"/>
          <p14:tracePt t="29677" x="1076325" y="3895725"/>
          <p14:tracePt t="29678" x="1073150" y="3898900"/>
          <p14:tracePt t="29679" x="1065213" y="3898900"/>
          <p14:tracePt t="29680" x="1060450" y="3898900"/>
          <p14:tracePt t="29681" x="1057275" y="3903663"/>
          <p14:tracePt t="29682" x="1049338" y="3903663"/>
          <p14:tracePt t="29683" x="1044575" y="3906838"/>
          <p14:tracePt t="29685" x="1036638" y="3911600"/>
          <p14:tracePt t="29686" x="1033463" y="3914775"/>
          <p14:tracePt t="29687" x="1028700" y="3919538"/>
          <p14:tracePt t="29688" x="1025525" y="3919538"/>
          <p14:tracePt t="29689" x="1020763" y="3922713"/>
          <p14:tracePt t="29691" x="1012825" y="3927475"/>
          <p14:tracePt t="29692" x="1004888" y="3935413"/>
          <p14:tracePt t="29694" x="1001713" y="3935413"/>
          <p14:tracePt t="29694" x="996950" y="3940175"/>
          <p14:tracePt t="29695" x="992188" y="3943350"/>
          <p14:tracePt t="29696" x="989013" y="3948113"/>
          <p14:tracePt t="29697" x="984250" y="3948113"/>
          <p14:tracePt t="29698" x="984250" y="3951288"/>
          <p14:tracePt t="29700" x="981075" y="3956050"/>
          <p14:tracePt t="29701" x="976313" y="3959225"/>
          <p14:tracePt t="29702" x="976313" y="3963988"/>
          <p14:tracePt t="29703" x="973138" y="3967163"/>
          <p14:tracePt t="29704" x="968375" y="3971925"/>
          <p14:tracePt t="29705" x="968375" y="3975100"/>
          <p14:tracePt t="29707" x="965200" y="3979863"/>
          <p14:tracePt t="29708" x="965200" y="3983038"/>
          <p14:tracePt t="29709" x="960438" y="3987800"/>
          <p14:tracePt t="29711" x="960438" y="3990975"/>
          <p14:tracePt t="29712" x="957263" y="3995738"/>
          <p14:tracePt t="29714" x="957263" y="3998913"/>
          <p14:tracePt t="29714" x="957263" y="4003675"/>
          <p14:tracePt t="29715" x="957263" y="4006850"/>
          <p14:tracePt t="29717" x="957263" y="4011613"/>
          <p14:tracePt t="29718" x="952500" y="4014788"/>
          <p14:tracePt t="29720" x="952500" y="4019550"/>
          <p14:tracePt t="29722" x="952500" y="4024313"/>
          <p14:tracePt t="29722" x="952500" y="4027488"/>
          <p14:tracePt t="29725" x="952500" y="4032250"/>
          <p14:tracePt t="29726" x="952500" y="4035425"/>
          <p14:tracePt t="29728" x="952500" y="4040188"/>
          <p14:tracePt t="29729" x="952500" y="4043363"/>
          <p14:tracePt t="29730" x="952500" y="4048125"/>
          <p14:tracePt t="29731" x="952500" y="4051300"/>
          <p14:tracePt t="29733" x="952500" y="4056063"/>
          <p14:tracePt t="29734" x="952500" y="4059238"/>
          <p14:tracePt t="29736" x="952500" y="4064000"/>
          <p14:tracePt t="29738" x="957263" y="4064000"/>
          <p14:tracePt t="29738" x="957263" y="4067175"/>
          <p14:tracePt t="29740" x="960438" y="4067175"/>
          <p14:tracePt t="29742" x="965200" y="4071938"/>
          <p14:tracePt t="29744" x="965200" y="4075113"/>
          <p14:tracePt t="29745" x="968375" y="4079875"/>
          <p14:tracePt t="29747" x="973138" y="4079875"/>
          <p14:tracePt t="29748" x="976313" y="4083050"/>
          <p14:tracePt t="29749" x="981075" y="4083050"/>
          <p14:tracePt t="29751" x="981075" y="4087813"/>
          <p14:tracePt t="29753" x="984250" y="4090988"/>
          <p14:tracePt t="29754" x="989013" y="4090988"/>
          <p14:tracePt t="29755" x="992188" y="4090988"/>
          <p14:tracePt t="29756" x="996950" y="4090988"/>
          <p14:tracePt t="29757" x="1001713" y="4090988"/>
          <p14:tracePt t="29758" x="1001713" y="4095750"/>
          <p14:tracePt t="29759" x="1004888" y="4095750"/>
          <p14:tracePt t="29760" x="1009650" y="4095750"/>
          <p14:tracePt t="29761" x="1012825" y="4095750"/>
          <p14:tracePt t="29763" x="1017588" y="4098925"/>
          <p14:tracePt t="29764" x="1020763" y="4098925"/>
          <p14:tracePt t="29767" x="1025525" y="4098925"/>
          <p14:tracePt t="29768" x="1028700" y="4098925"/>
          <p14:tracePt t="29770" x="1033463" y="4098925"/>
          <p14:tracePt t="29771" x="1036638" y="4098925"/>
          <p14:tracePt t="29773" x="1041400" y="4098925"/>
          <p14:tracePt t="29775" x="1049338" y="4098925"/>
          <p14:tracePt t="29778" x="1052513" y="4098925"/>
          <p14:tracePt t="29778" x="1057275" y="4098925"/>
          <p14:tracePt t="29780" x="1060450" y="4098925"/>
          <p14:tracePt t="29782" x="1065213" y="4098925"/>
          <p14:tracePt t="29784" x="1068388" y="4098925"/>
          <p14:tracePt t="29786" x="1073150" y="4098925"/>
          <p14:tracePt t="29786" x="1076325" y="4098925"/>
          <p14:tracePt t="29788" x="1081088" y="4098925"/>
          <p14:tracePt t="29789" x="1085850" y="4098925"/>
          <p14:tracePt t="29790" x="1089025" y="4098925"/>
          <p14:tracePt t="29792" x="1093788" y="4098925"/>
          <p14:tracePt t="29793" x="1096963" y="4098925"/>
          <p14:tracePt t="29794" x="1101725" y="4098925"/>
          <p14:tracePt t="29796" x="1104900" y="4095750"/>
          <p14:tracePt t="29799" x="1109663" y="4095750"/>
          <p14:tracePt t="29800" x="1112838" y="4095750"/>
          <p14:tracePt t="29801" x="1117600" y="4090988"/>
          <p14:tracePt t="29803" x="1120775" y="4090988"/>
          <p14:tracePt t="29804" x="1125538" y="4090988"/>
          <p14:tracePt t="29805" x="1128713" y="4090988"/>
          <p14:tracePt t="29807" x="1133475" y="4090988"/>
          <p14:tracePt t="29809" x="1133475" y="4087813"/>
          <p14:tracePt t="29810" x="1136650" y="4087813"/>
          <p14:tracePt t="29811" x="1141413" y="4087813"/>
          <p14:tracePt t="29813" x="1144588" y="4083050"/>
          <p14:tracePt t="29818" x="1144588" y="4079875"/>
          <p14:tracePt t="29819" x="1149350" y="4079875"/>
          <p14:tracePt t="29826" x="1149350" y="4075113"/>
          <p14:tracePt t="29934" x="1149350" y="4079875"/>
          <p14:tracePt t="30002" x="1152525" y="4079875"/>
          <p14:tracePt t="30017" x="1157288" y="4079875"/>
          <p14:tracePt t="30023" x="1157288" y="4083050"/>
          <p14:tracePt t="30025" x="1160463" y="4083050"/>
          <p14:tracePt t="30030" x="1165225" y="4083050"/>
          <p14:tracePt t="30033" x="1168400" y="4083050"/>
          <p14:tracePt t="30037" x="1173163" y="4083050"/>
          <p14:tracePt t="30039" x="1177925" y="4083050"/>
          <p14:tracePt t="30041" x="1181100" y="4083050"/>
          <p14:tracePt t="30043" x="1185863" y="4083050"/>
          <p14:tracePt t="30047" x="1189038" y="4083050"/>
          <p14:tracePt t="30048" x="1193800" y="4083050"/>
          <p14:tracePt t="30052" x="1201738" y="4083050"/>
          <p14:tracePt t="30053" x="1204913" y="4083050"/>
          <p14:tracePt t="30054" x="1209675" y="4083050"/>
          <p14:tracePt t="30055" x="1212850" y="4083050"/>
          <p14:tracePt t="30056" x="1217613" y="4083050"/>
          <p14:tracePt t="30057" x="1220788" y="4083050"/>
          <p14:tracePt t="30060" x="1225550" y="4083050"/>
          <p14:tracePt t="30061" x="1228725" y="4083050"/>
          <p14:tracePt t="30063" x="1233488" y="4083050"/>
          <p14:tracePt t="30064" x="1236663" y="4083050"/>
          <p14:tracePt t="30068" x="1249363" y="4083050"/>
          <p14:tracePt t="30069" x="1252538" y="4083050"/>
          <p14:tracePt t="30070" x="1257300" y="4083050"/>
          <p14:tracePt t="30072" x="1260475" y="4083050"/>
          <p14:tracePt t="30073" x="1265238" y="4083050"/>
          <p14:tracePt t="30076" x="1270000" y="4083050"/>
          <p14:tracePt t="30079" x="1273175" y="4083050"/>
          <p14:tracePt t="30081" x="1277938" y="4083050"/>
          <p14:tracePt t="30083" x="1281113" y="4083050"/>
          <p14:tracePt t="30086" x="1285875" y="4083050"/>
          <p14:tracePt t="30089" x="1289050" y="4083050"/>
          <p14:tracePt t="30091" x="1293813" y="4083050"/>
          <p14:tracePt t="30109" x="1304925" y="4083050"/>
          <p14:tracePt t="30113" x="1309688" y="4083050"/>
          <p14:tracePt t="30126" x="1312863" y="4083050"/>
          <p14:tracePt t="30135" x="1317625" y="4083050"/>
          <p14:tracePt t="30164" x="1320800" y="4083050"/>
          <p14:tracePt t="30181" x="1325563" y="4083050"/>
          <p14:tracePt t="30191" x="1328738" y="4083050"/>
          <p14:tracePt t="30196" x="1333500" y="4083050"/>
          <p14:tracePt t="30200" x="1336675" y="4083050"/>
          <p14:tracePt t="30202" x="1341438" y="4087813"/>
          <p14:tracePt t="30206" x="1344613" y="4087813"/>
          <p14:tracePt t="30207" x="1349375" y="4090988"/>
          <p14:tracePt t="30212" x="1352550" y="4090988"/>
          <p14:tracePt t="30213" x="1357313" y="4090988"/>
          <p14:tracePt t="30214" x="1362075" y="4095750"/>
          <p14:tracePt t="30215" x="1365250" y="4095750"/>
          <p14:tracePt t="30216" x="1370013" y="4095750"/>
          <p14:tracePt t="30217" x="1373188" y="4098925"/>
          <p14:tracePt t="30218" x="1377950" y="4098925"/>
          <p14:tracePt t="30219" x="1381125" y="4098925"/>
          <p14:tracePt t="30220" x="1385888" y="4098925"/>
          <p14:tracePt t="30222" x="1389063" y="4103688"/>
          <p14:tracePt t="30223" x="1393825" y="4103688"/>
          <p14:tracePt t="30224" x="1397000" y="4103688"/>
          <p14:tracePt t="30225" x="1401763" y="4106863"/>
          <p14:tracePt t="30227" x="1404938" y="4106863"/>
          <p14:tracePt t="30227" x="1409700" y="4106863"/>
          <p14:tracePt t="30228" x="1417638" y="4111625"/>
          <p14:tracePt t="30229" x="1420813" y="4111625"/>
          <p14:tracePt t="30230" x="1425575" y="4111625"/>
          <p14:tracePt t="30231" x="1433513" y="4116388"/>
          <p14:tracePt t="30232" x="1436688" y="4116388"/>
          <p14:tracePt t="30233" x="1441450" y="4116388"/>
          <p14:tracePt t="30234" x="1446213" y="4116388"/>
          <p14:tracePt t="30235" x="1449388" y="4116388"/>
          <p14:tracePt t="30236" x="1454150" y="4116388"/>
          <p14:tracePt t="30237" x="1457325" y="4116388"/>
          <p14:tracePt t="30238" x="1462088" y="4116388"/>
          <p14:tracePt t="30239" x="1465263" y="4116388"/>
          <p14:tracePt t="30240" x="1470025" y="4116388"/>
          <p14:tracePt t="30242" x="1473200" y="4119563"/>
          <p14:tracePt t="30243" x="1477963" y="4119563"/>
          <p14:tracePt t="30244" x="1481138" y="4119563"/>
          <p14:tracePt t="30245" x="1485900" y="4119563"/>
          <p14:tracePt t="30247" x="1489075" y="4119563"/>
          <p14:tracePt t="30247" x="1489075" y="4124325"/>
          <p14:tracePt t="30248" x="1493838" y="4124325"/>
          <p14:tracePt t="30249" x="1497013" y="4124325"/>
          <p14:tracePt t="30250" x="1501775" y="4124325"/>
          <p14:tracePt t="30251" x="1504950" y="4124325"/>
          <p14:tracePt t="30252" x="1509713" y="4124325"/>
          <p14:tracePt t="30254" x="1512888" y="4124325"/>
          <p14:tracePt t="30255" x="1517650" y="4124325"/>
          <p14:tracePt t="30257" x="1520825" y="4127500"/>
          <p14:tracePt t="30260" x="1525588" y="4127500"/>
          <p14:tracePt t="30262" x="1528763" y="4127500"/>
          <p14:tracePt t="30317" x="1528763" y="4132263"/>
          <p14:tracePt t="30343" x="1528763" y="4135438"/>
          <p14:tracePt t="30352" x="1528763" y="4140200"/>
          <p14:tracePt t="30360" x="1528763" y="4143375"/>
          <p14:tracePt t="30363" x="1528763" y="4148138"/>
          <p14:tracePt t="30365" x="1528763" y="4151313"/>
          <p14:tracePt t="30367" x="1528763" y="4156075"/>
          <p14:tracePt t="30369" x="1528763" y="4159250"/>
          <p14:tracePt t="30373" x="1528763" y="4164013"/>
          <p14:tracePt t="30375" x="1528763" y="4167188"/>
          <p14:tracePt t="30376" x="1528763" y="4171950"/>
          <p14:tracePt t="30379" x="1528763" y="4175125"/>
          <p14:tracePt t="30380" x="1528763" y="4179888"/>
          <p14:tracePt t="30381" x="1528763" y="4183063"/>
          <p14:tracePt t="30383" x="1528763" y="4187825"/>
          <p14:tracePt t="30385" x="1528763" y="4191000"/>
          <p14:tracePt t="30387" x="1528763" y="4195763"/>
          <p14:tracePt t="30388" x="1528763" y="4198938"/>
          <p14:tracePt t="30392" x="1533525" y="4203700"/>
          <p14:tracePt t="30395" x="1533525" y="4211638"/>
          <p14:tracePt t="30396" x="1533525" y="4216400"/>
          <p14:tracePt t="30397" x="1538288" y="4219575"/>
          <p14:tracePt t="30399" x="1538288" y="4224338"/>
          <p14:tracePt t="30400" x="1538288" y="4227513"/>
          <p14:tracePt t="30403" x="1538288" y="4232275"/>
          <p14:tracePt t="30404" x="1541463" y="4235450"/>
          <p14:tracePt t="30405" x="1541463" y="4240213"/>
          <p14:tracePt t="30408" x="1546225" y="4243388"/>
          <p14:tracePt t="30410" x="1549400" y="4248150"/>
          <p14:tracePt t="30412" x="1549400" y="4251325"/>
          <p14:tracePt t="30413" x="1554163" y="4256088"/>
          <p14:tracePt t="30415" x="1554163" y="4259263"/>
          <p14:tracePt t="30417" x="1554163" y="4264025"/>
          <p14:tracePt t="30419" x="1557338" y="4264025"/>
          <p14:tracePt t="30419" x="1557338" y="4267200"/>
          <p14:tracePt t="30422" x="1557338" y="4271963"/>
          <p14:tracePt t="30422" x="1562100" y="4271963"/>
          <p14:tracePt t="30426" x="1565275" y="4275138"/>
          <p14:tracePt t="30428" x="1570038" y="4279900"/>
          <p14:tracePt t="30430" x="1570038" y="4283075"/>
          <p14:tracePt t="30431" x="1573213" y="4283075"/>
          <p14:tracePt t="30433" x="1573213" y="4287838"/>
          <p14:tracePt t="30437" x="1573213" y="4291013"/>
          <p14:tracePt t="30439" x="1577975" y="4295775"/>
          <p14:tracePt t="30440" x="1581150" y="4295775"/>
          <p14:tracePt t="30442" x="1581150" y="4300538"/>
          <p14:tracePt t="30443" x="1585913" y="4300538"/>
          <p14:tracePt t="30444" x="1589088" y="4303713"/>
          <p14:tracePt t="30447" x="1593850" y="4308475"/>
          <p14:tracePt t="30450" x="1597025" y="4308475"/>
          <p14:tracePt t="30452" x="1597025" y="4311650"/>
          <p14:tracePt t="30453" x="1601788" y="4311650"/>
          <p14:tracePt t="30455" x="1604963" y="4311650"/>
          <p14:tracePt t="30457" x="1604963" y="4316413"/>
          <p14:tracePt t="30459" x="1609725" y="4316413"/>
          <p14:tracePt t="30461" x="1609725" y="4319588"/>
          <p14:tracePt t="30464" x="1612900" y="4319588"/>
          <p14:tracePt t="30474" x="1617663" y="4319588"/>
          <p14:tracePt t="30480" x="1617663" y="4324350"/>
          <p14:tracePt t="30482" x="1620838" y="4324350"/>
          <p14:tracePt t="30484" x="1625600" y="4324350"/>
          <p14:tracePt t="30491" x="1630363" y="4324350"/>
          <p14:tracePt t="30493" x="1630363" y="4327525"/>
          <p14:tracePt t="30494" x="1633538" y="4327525"/>
          <p14:tracePt t="30500" x="1638300" y="4332288"/>
          <p14:tracePt t="30500" x="1641475" y="4332288"/>
          <p14:tracePt t="30504" x="1646238" y="4332288"/>
          <p14:tracePt t="30506" x="1646238" y="4335463"/>
          <p14:tracePt t="30509" x="1649413" y="4335463"/>
          <p14:tracePt t="30510" x="1649413" y="4340225"/>
          <p14:tracePt t="30513" x="1654175" y="4340225"/>
          <p14:tracePt t="30518" x="1657350" y="4340225"/>
          <p14:tracePt t="30520" x="1662113" y="4343400"/>
          <p14:tracePt t="30521" x="1665288" y="4343400"/>
          <p14:tracePt t="30525" x="1670050" y="4343400"/>
          <p14:tracePt t="30526" x="1673225" y="4343400"/>
          <p14:tracePt t="30528" x="1677988" y="4343400"/>
          <p14:tracePt t="30529" x="1681163" y="4343400"/>
          <p14:tracePt t="30530" x="1685925" y="4343400"/>
          <p14:tracePt t="30534" x="1693863" y="4343400"/>
          <p14:tracePt t="30536" x="1697038" y="4343400"/>
          <p14:tracePt t="30538" x="1701800" y="4343400"/>
          <p14:tracePt t="30539" x="1704975" y="4343400"/>
          <p14:tracePt t="30540" x="1709738" y="4343400"/>
          <p14:tracePt t="30542" x="1712913" y="4343400"/>
          <p14:tracePt t="30543" x="1717675" y="4343400"/>
          <p14:tracePt t="30544" x="1722438" y="4343400"/>
          <p14:tracePt t="30546" x="1725613" y="4343400"/>
          <p14:tracePt t="30547" x="1730375" y="4343400"/>
          <p14:tracePt t="30548" x="1730375" y="4340225"/>
          <p14:tracePt t="30551" x="1733550" y="4340225"/>
          <p14:tracePt t="30551" x="1738313" y="4340225"/>
          <p14:tracePt t="30552" x="1738313" y="4335463"/>
          <p14:tracePt t="30553" x="1746250" y="4335463"/>
          <p14:tracePt t="30555" x="1749425" y="4332288"/>
          <p14:tracePt t="30556" x="1754188" y="4332288"/>
          <p14:tracePt t="30557" x="1757363" y="4332288"/>
          <p14:tracePt t="30559" x="1762125" y="4327525"/>
          <p14:tracePt t="30560" x="1765300" y="4324350"/>
          <p14:tracePt t="30560" x="1770063" y="4324350"/>
          <p14:tracePt t="30562" x="1773238" y="4324350"/>
          <p14:tracePt t="30563" x="1778000" y="4324350"/>
          <p14:tracePt t="30564" x="1785938" y="4324350"/>
          <p14:tracePt t="30566" x="1789113" y="4319588"/>
          <p14:tracePt t="30566" x="1793875" y="4316413"/>
          <p14:tracePt t="30567" x="1797050" y="4316413"/>
          <p14:tracePt t="30568" x="1801813" y="4311650"/>
          <p14:tracePt t="30569" x="1809750" y="4311650"/>
          <p14:tracePt t="30570" x="1814513" y="4308475"/>
          <p14:tracePt t="30571" x="1817688" y="4303713"/>
          <p14:tracePt t="30572" x="1822450" y="4303713"/>
          <p14:tracePt t="30573" x="1830388" y="4300538"/>
          <p14:tracePt t="30575" x="1833563" y="4300538"/>
          <p14:tracePt t="30576" x="1838325" y="4295775"/>
          <p14:tracePt t="30577" x="1838325" y="4291013"/>
          <p14:tracePt t="30578" x="1846263" y="4287838"/>
          <p14:tracePt t="30580" x="1849438" y="4287838"/>
          <p14:tracePt t="30580" x="1857375" y="4283075"/>
          <p14:tracePt t="30581" x="1862138" y="4279900"/>
          <p14:tracePt t="30582" x="1865313" y="4279900"/>
          <p14:tracePt t="30583" x="1873250" y="4275138"/>
          <p14:tracePt t="30584" x="1878013" y="4271963"/>
          <p14:tracePt t="30585" x="1881188" y="4271963"/>
          <p14:tracePt t="30586" x="1889125" y="4267200"/>
          <p14:tracePt t="30587" x="1893888" y="4267200"/>
          <p14:tracePt t="30588" x="1898650" y="4267200"/>
          <p14:tracePt t="30589" x="1906588" y="4264025"/>
          <p14:tracePt t="30590" x="1914525" y="4264025"/>
          <p14:tracePt t="30592" x="1917700" y="4259263"/>
          <p14:tracePt t="30592" x="1925638" y="4256088"/>
          <p14:tracePt t="30594" x="1933575" y="4256088"/>
          <p14:tracePt t="30594" x="1938338" y="4251325"/>
          <p14:tracePt t="30595" x="1941513" y="4248150"/>
          <p14:tracePt t="30596" x="1946275" y="4248150"/>
          <p14:tracePt t="30597" x="1949450" y="4243388"/>
          <p14:tracePt t="30598" x="1957388" y="4240213"/>
          <p14:tracePt t="30599" x="1970088" y="4235450"/>
          <p14:tracePt t="30601" x="1978025" y="4232275"/>
          <p14:tracePt t="30602" x="1981200" y="4232275"/>
          <p14:tracePt t="30603" x="1985963" y="4227513"/>
          <p14:tracePt t="30604" x="1993900" y="4224338"/>
          <p14:tracePt t="30605" x="2001838" y="4219575"/>
          <p14:tracePt t="30606" x="2006600" y="4219575"/>
          <p14:tracePt t="30607" x="2009775" y="4216400"/>
          <p14:tracePt t="30609" x="2017713" y="4216400"/>
          <p14:tracePt t="30609" x="2022475" y="4211638"/>
          <p14:tracePt t="30612" x="2033588" y="4208463"/>
          <p14:tracePt t="30613" x="2046288" y="4198938"/>
          <p14:tracePt t="30614" x="2054225" y="4195763"/>
          <p14:tracePt t="30615" x="2057400" y="4195763"/>
          <p14:tracePt t="30616" x="2062163" y="4191000"/>
          <p14:tracePt t="30617" x="2070100" y="4191000"/>
          <p14:tracePt t="30618" x="2073275" y="4187825"/>
          <p14:tracePt t="30619" x="2082800" y="4183063"/>
          <p14:tracePt t="30620" x="2085975" y="4183063"/>
          <p14:tracePt t="30621" x="2093913" y="4179888"/>
          <p14:tracePt t="30623" x="2098675" y="4175125"/>
          <p14:tracePt t="30624" x="2106613" y="4175125"/>
          <p14:tracePt t="30625" x="2114550" y="4171950"/>
          <p14:tracePt t="30626" x="2117725" y="4171950"/>
          <p14:tracePt t="30628" x="2130425" y="4167188"/>
          <p14:tracePt t="30629" x="2133600" y="4164013"/>
          <p14:tracePt t="30630" x="2141538" y="4164013"/>
          <p14:tracePt t="30631" x="2146300" y="4159250"/>
          <p14:tracePt t="30632" x="2149475" y="4159250"/>
          <p14:tracePt t="30633" x="2157413" y="4159250"/>
          <p14:tracePt t="30634" x="2165350" y="4156075"/>
          <p14:tracePt t="30635" x="2170113" y="4156075"/>
          <p14:tracePt t="30636" x="2174875" y="4151313"/>
          <p14:tracePt t="30637" x="2178050" y="4151313"/>
          <p14:tracePt t="30638" x="2185988" y="4151313"/>
          <p14:tracePt t="30639" x="2190750" y="4151313"/>
          <p14:tracePt t="30640" x="2193925" y="4151313"/>
          <p14:tracePt t="30642" x="2198688" y="4151313"/>
          <p14:tracePt t="30644" x="2206625" y="4148138"/>
          <p14:tracePt t="30644" x="2209800" y="4148138"/>
          <p14:tracePt t="30646" x="2217738" y="4148138"/>
          <p14:tracePt t="30646" x="2222500" y="4148138"/>
          <p14:tracePt t="30647" x="2225675" y="4143375"/>
          <p14:tracePt t="30648" x="2230438" y="4143375"/>
          <p14:tracePt t="30649" x="2233613" y="4143375"/>
          <p14:tracePt t="30650" x="2238375" y="4143375"/>
          <p14:tracePt t="30651" x="2241550" y="4143375"/>
          <p14:tracePt t="30652" x="2246313" y="4143375"/>
          <p14:tracePt t="30654" x="2249488" y="4140200"/>
          <p14:tracePt t="30655" x="2254250" y="4140200"/>
          <p14:tracePt t="30656" x="2259013" y="4140200"/>
          <p14:tracePt t="30657" x="2262188" y="4140200"/>
          <p14:tracePt t="30659" x="2266950" y="4140200"/>
          <p14:tracePt t="30661" x="2274888" y="4140200"/>
          <p14:tracePt t="30661" x="2278063" y="4140200"/>
          <p14:tracePt t="30662" x="2282825" y="4135438"/>
          <p14:tracePt t="30663" x="2286000" y="4135438"/>
          <p14:tracePt t="30665" x="2290763" y="4135438"/>
          <p14:tracePt t="30666" x="2293938" y="4135438"/>
          <p14:tracePt t="30668" x="2298700" y="4135438"/>
          <p14:tracePt t="30670" x="2301875" y="4135438"/>
          <p14:tracePt t="30671" x="2306638" y="4135438"/>
          <p14:tracePt t="30672" x="2309813" y="4135438"/>
          <p14:tracePt t="30673" x="2314575" y="4135438"/>
          <p14:tracePt t="30675" x="2317750" y="4135438"/>
          <p14:tracePt t="30676" x="2322513" y="4135438"/>
          <p14:tracePt t="30677" x="2325688" y="4135438"/>
          <p14:tracePt t="30679" x="2330450" y="4135438"/>
          <p14:tracePt t="30682" x="2333625" y="4135438"/>
          <p14:tracePt t="30682" x="2338388" y="4135438"/>
          <p14:tracePt t="30683" x="2341563" y="4135438"/>
          <p14:tracePt t="30685" x="2346325" y="4135438"/>
          <p14:tracePt t="30686" x="2351088" y="4135438"/>
          <p14:tracePt t="30690" x="2359025" y="4135438"/>
          <p14:tracePt t="30690" x="2362200" y="4135438"/>
          <p14:tracePt t="30692" x="2366963" y="4135438"/>
          <p14:tracePt t="30695" x="2370138" y="4135438"/>
          <p14:tracePt t="30696" x="2374900" y="4135438"/>
          <p14:tracePt t="30697" x="2378075" y="4135438"/>
          <p14:tracePt t="30698" x="2382838" y="4135438"/>
          <p14:tracePt t="30699" x="2386013" y="4135438"/>
          <p14:tracePt t="30700" x="2390775" y="4135438"/>
          <p14:tracePt t="30702" x="2393950" y="4135438"/>
          <p14:tracePt t="30703" x="2398713" y="4135438"/>
          <p14:tracePt t="30704" x="2401888" y="4135438"/>
          <p14:tracePt t="30705" x="2406650" y="4135438"/>
          <p14:tracePt t="30706" x="2409825" y="4135438"/>
          <p14:tracePt t="30709" x="2414588" y="4135438"/>
          <p14:tracePt t="30709" x="2417763" y="4135438"/>
          <p14:tracePt t="30710" x="2422525" y="4135438"/>
          <p14:tracePt t="30711" x="2425700" y="4135438"/>
          <p14:tracePt t="30712" x="2430463" y="4135438"/>
          <p14:tracePt t="30713" x="2433638" y="4135438"/>
          <p14:tracePt t="30714" x="2438400" y="4135438"/>
          <p14:tracePt t="30715" x="2443163" y="4135438"/>
          <p14:tracePt t="30716" x="2451100" y="4135438"/>
          <p14:tracePt t="30717" x="2454275" y="4140200"/>
          <p14:tracePt t="30719" x="2459038" y="4140200"/>
          <p14:tracePt t="30720" x="2466975" y="4140200"/>
          <p14:tracePt t="30722" x="2470150" y="4140200"/>
          <p14:tracePt t="30722" x="2474913" y="4140200"/>
          <p14:tracePt t="30723" x="2482850" y="4143375"/>
          <p14:tracePt t="30724" x="2486025" y="4143375"/>
          <p14:tracePt t="30725" x="2490788" y="4143375"/>
          <p14:tracePt t="30726" x="2493963" y="4143375"/>
          <p14:tracePt t="30727" x="2498725" y="4148138"/>
          <p14:tracePt t="30728" x="2501900" y="4148138"/>
          <p14:tracePt t="30729" x="2509838" y="4148138"/>
          <p14:tracePt t="30730" x="2514600" y="4148138"/>
          <p14:tracePt t="30732" x="2517775" y="4148138"/>
          <p14:tracePt t="30732" x="2522538" y="4148138"/>
          <p14:tracePt t="30733" x="2525713" y="4148138"/>
          <p14:tracePt t="30734" x="2535238" y="4148138"/>
          <p14:tracePt t="30735" x="2538413" y="4148138"/>
          <p14:tracePt t="30736" x="2546350" y="4151313"/>
          <p14:tracePt t="30737" x="2551113" y="4151313"/>
          <p14:tracePt t="30738" x="2554288" y="4151313"/>
          <p14:tracePt t="30739" x="2559050" y="4151313"/>
          <p14:tracePt t="30740" x="2566988" y="4156075"/>
          <p14:tracePt t="30742" x="2570163" y="4156075"/>
          <p14:tracePt t="30743" x="2578100" y="4156075"/>
          <p14:tracePt t="30743" x="2582863" y="4156075"/>
          <p14:tracePt t="30744" x="2586038" y="4159250"/>
          <p14:tracePt t="30746" x="2590800" y="4159250"/>
          <p14:tracePt t="30746" x="2593975" y="4159250"/>
          <p14:tracePt t="30747" x="2598738" y="4159250"/>
          <p14:tracePt t="30748" x="2601913" y="4159250"/>
          <p14:tracePt t="30750" x="2606675" y="4164013"/>
          <p14:tracePt t="30750" x="2614613" y="4164013"/>
          <p14:tracePt t="30751" x="2617788" y="4164013"/>
          <p14:tracePt t="30753" x="2622550" y="4164013"/>
          <p14:tracePt t="30753" x="2627313" y="4167188"/>
          <p14:tracePt t="30754" x="2630488" y="4167188"/>
          <p14:tracePt t="30755" x="2635250" y="4167188"/>
          <p14:tracePt t="30757" x="2638425" y="4167188"/>
          <p14:tracePt t="30759" x="2643188" y="4167188"/>
          <p14:tracePt t="30760" x="2646363" y="4167188"/>
          <p14:tracePt t="30760" x="2651125" y="4167188"/>
          <p14:tracePt t="30761" x="2659063" y="4171950"/>
          <p14:tracePt t="30763" x="2662238" y="4171950"/>
          <p14:tracePt t="30763" x="2667000" y="4171950"/>
          <p14:tracePt t="30764" x="2670175" y="4171950"/>
          <p14:tracePt t="30765" x="2678113" y="4175125"/>
          <p14:tracePt t="30766" x="2682875" y="4175125"/>
          <p14:tracePt t="30767" x="2686050" y="4175125"/>
          <p14:tracePt t="30769" x="2690813" y="4175125"/>
          <p14:tracePt t="30769" x="2693988" y="4175125"/>
          <p14:tracePt t="30770" x="2693988" y="4179888"/>
          <p14:tracePt t="30771" x="2698750" y="4179888"/>
          <p14:tracePt t="30772" x="2701925" y="4179888"/>
          <p14:tracePt t="30773" x="2706688" y="4179888"/>
          <p14:tracePt t="30774" x="2711450" y="4179888"/>
          <p14:tracePt t="30776" x="2719388" y="4183063"/>
          <p14:tracePt t="30777" x="2722563" y="4183063"/>
          <p14:tracePt t="30778" x="2727325" y="4183063"/>
          <p14:tracePt t="30779" x="2730500" y="4183063"/>
          <p14:tracePt t="30780" x="2735263" y="4183063"/>
          <p14:tracePt t="30781" x="2738438" y="4187825"/>
          <p14:tracePt t="30782" x="2743200" y="4187825"/>
          <p14:tracePt t="30784" x="2746375" y="4187825"/>
          <p14:tracePt t="30785" x="2751138" y="4187825"/>
          <p14:tracePt t="30787" x="2754313" y="4187825"/>
          <p14:tracePt t="30788" x="2759075" y="4187825"/>
          <p14:tracePt t="30790" x="2762250" y="4187825"/>
          <p14:tracePt t="30790" x="2767013" y="4187825"/>
          <p14:tracePt t="30792" x="2770188" y="4187825"/>
          <p14:tracePt t="30794" x="2782888" y="4187825"/>
          <p14:tracePt t="30796" x="2786063" y="4187825"/>
          <p14:tracePt t="30797" x="2790825" y="4187825"/>
          <p14:tracePt t="30798" x="2794000" y="4187825"/>
          <p14:tracePt t="30800" x="2798763" y="4187825"/>
          <p14:tracePt t="30800" x="2803525" y="4187825"/>
          <p14:tracePt t="30801" x="2806700" y="4187825"/>
          <p14:tracePt t="30802" x="2811463" y="4187825"/>
          <p14:tracePt t="30803" x="2814638" y="4187825"/>
          <p14:tracePt t="30804" x="2819400" y="4187825"/>
          <p14:tracePt t="30805" x="2822575" y="4187825"/>
          <p14:tracePt t="30807" x="2827338" y="4187825"/>
          <p14:tracePt t="30809" x="2830513" y="4187825"/>
          <p14:tracePt t="30809" x="2835275" y="4187825"/>
          <p14:tracePt t="30810" x="2838450" y="4187825"/>
          <p14:tracePt t="30811" x="2846388" y="4187825"/>
          <p14:tracePt t="30812" x="2851150" y="4187825"/>
          <p14:tracePt t="30813" x="2854325" y="4187825"/>
          <p14:tracePt t="30814" x="2859088" y="4187825"/>
          <p14:tracePt t="30816" x="2862263" y="4187825"/>
          <p14:tracePt t="30816" x="2870200" y="4187825"/>
          <p14:tracePt t="30817" x="2874963" y="4187825"/>
          <p14:tracePt t="30819" x="2878138" y="4187825"/>
          <p14:tracePt t="30820" x="2882900" y="4187825"/>
          <p14:tracePt t="30821" x="2890838" y="4187825"/>
          <p14:tracePt t="30822" x="2895600" y="4187825"/>
          <p14:tracePt t="30823" x="2898775" y="4187825"/>
          <p14:tracePt t="30825" x="2906713" y="4187825"/>
          <p14:tracePt t="30826" x="2911475" y="4187825"/>
          <p14:tracePt t="30826" x="2919413" y="4187825"/>
          <p14:tracePt t="30827" x="2922588" y="4187825"/>
          <p14:tracePt t="30828" x="2927350" y="4187825"/>
          <p14:tracePt t="30829" x="2935288" y="4187825"/>
          <p14:tracePt t="30831" x="2935288" y="4183063"/>
          <p14:tracePt t="30831" x="2943225" y="4183063"/>
          <p14:tracePt t="30832" x="2946400" y="4183063"/>
          <p14:tracePt t="30833" x="2954338" y="4183063"/>
          <p14:tracePt t="30834" x="2959100" y="4183063"/>
          <p14:tracePt t="30835" x="2962275" y="4179888"/>
          <p14:tracePt t="30836" x="2970213" y="4179888"/>
          <p14:tracePt t="30837" x="2974975" y="4179888"/>
          <p14:tracePt t="30838" x="2982913" y="4175125"/>
          <p14:tracePt t="30839" x="2987675" y="4175125"/>
          <p14:tracePt t="30840" x="2990850" y="4175125"/>
          <p14:tracePt t="30842" x="2998788" y="4171950"/>
          <p14:tracePt t="30843" x="3006725" y="4171950"/>
          <p14:tracePt t="30844" x="3011488" y="4171950"/>
          <p14:tracePt t="30844" x="3014663" y="4167188"/>
          <p14:tracePt t="30845" x="3022600" y="4167188"/>
          <p14:tracePt t="30847" x="3030538" y="4167188"/>
          <p14:tracePt t="30848" x="3038475" y="4167188"/>
          <p14:tracePt t="30849" x="3043238" y="4164013"/>
          <p14:tracePt t="30850" x="3046413" y="4164013"/>
          <p14:tracePt t="30851" x="3051175" y="4164013"/>
          <p14:tracePt t="30852" x="3059113" y="4159250"/>
          <p14:tracePt t="30853" x="3062288" y="4159250"/>
          <p14:tracePt t="30854" x="3067050" y="4156075"/>
          <p14:tracePt t="30855" x="3071813" y="4156075"/>
          <p14:tracePt t="30856" x="3074988" y="4156075"/>
          <p14:tracePt t="30857" x="3082925" y="4151313"/>
          <p14:tracePt t="30859" x="3087688" y="4151313"/>
          <p14:tracePt t="30860" x="3090863" y="4151313"/>
          <p14:tracePt t="30860" x="3095625" y="4148138"/>
          <p14:tracePt t="30861" x="3098800" y="4148138"/>
          <p14:tracePt t="30863" x="3103563" y="4143375"/>
          <p14:tracePt t="30863" x="3106738" y="4143375"/>
          <p14:tracePt t="30864" x="3111500" y="4143375"/>
          <p14:tracePt t="30865" x="3114675" y="4140200"/>
          <p14:tracePt t="30866" x="3119438" y="4140200"/>
          <p14:tracePt t="30867" x="3122613" y="4135438"/>
          <p14:tracePt t="30868" x="3127375" y="4135438"/>
          <p14:tracePt t="30869" x="3130550" y="4135438"/>
          <p14:tracePt t="30870" x="3135313" y="4132263"/>
          <p14:tracePt t="30871" x="3138488" y="4132263"/>
          <p14:tracePt t="30872" x="3138488" y="4127500"/>
          <p14:tracePt t="30874" x="3143250" y="4127500"/>
          <p14:tracePt t="30876" x="3146425" y="4124325"/>
          <p14:tracePt t="30876" x="3151188" y="4124325"/>
          <p14:tracePt t="30879" x="3159125" y="4119563"/>
          <p14:tracePt t="30881" x="3163888" y="4119563"/>
          <p14:tracePt t="30881" x="3167063" y="4116388"/>
          <p14:tracePt t="30882" x="3171825" y="4116388"/>
          <p14:tracePt t="30884" x="3175000" y="4116388"/>
          <p14:tracePt t="30886" x="3179763" y="4116388"/>
          <p14:tracePt t="30889" x="3179763" y="4111625"/>
          <p14:tracePt t="30890" x="3182938" y="4111625"/>
          <p14:tracePt t="30892" x="3187700" y="4111625"/>
          <p14:tracePt t="30895" x="3190875" y="4106863"/>
          <p14:tracePt t="30896" x="3195638" y="4106863"/>
          <p14:tracePt t="30897" x="3195638" y="4103688"/>
          <p14:tracePt t="30899" x="3198813" y="4103688"/>
          <p14:tracePt t="30901" x="3203575" y="4103688"/>
          <p14:tracePt t="30905" x="3206750" y="4103688"/>
          <p14:tracePt t="30908" x="3206750" y="4098925"/>
          <p14:tracePt t="30911" x="3211513" y="4098925"/>
          <p14:tracePt t="30914" x="3214688" y="4098925"/>
          <p14:tracePt t="30917" x="3219450" y="4098925"/>
          <p14:tracePt t="30917" x="3219450" y="4095750"/>
          <p14:tracePt t="30922" x="3222625" y="4095750"/>
          <p14:tracePt t="30924" x="3227388" y="4095750"/>
          <p14:tracePt t="30927" x="3230563" y="4090988"/>
          <p14:tracePt t="30930" x="3235325" y="4090988"/>
          <p14:tracePt t="30933" x="3238500" y="4090988"/>
          <p14:tracePt t="30937" x="3243263" y="4090988"/>
          <p14:tracePt t="30940" x="3246438" y="4090988"/>
          <p14:tracePt t="30942" x="3246438" y="4087813"/>
          <p14:tracePt t="30943" x="3251200" y="4087813"/>
          <p14:tracePt t="30945" x="3255963" y="4087813"/>
          <p14:tracePt t="30951" x="3259138" y="4087813"/>
          <p14:tracePt t="30984" x="3263900" y="4087813"/>
          <p14:tracePt t="30996" x="3267075" y="4087813"/>
          <p14:tracePt t="31000" x="3271838" y="4087813"/>
          <p14:tracePt t="31005" x="3275013" y="4087813"/>
          <p14:tracePt t="31006" x="3275013" y="4090988"/>
          <p14:tracePt t="31008" x="3279775" y="4090988"/>
          <p14:tracePt t="31010" x="3282950" y="4090988"/>
          <p14:tracePt t="31013" x="3282950" y="4095750"/>
          <p14:tracePt t="31014" x="3287713" y="4095750"/>
          <p14:tracePt t="31017" x="3290888" y="4095750"/>
          <p14:tracePt t="31018" x="3295650" y="4095750"/>
          <p14:tracePt t="31020" x="3298825" y="4098925"/>
          <p14:tracePt t="31023" x="3303588" y="4098925"/>
          <p14:tracePt t="31027" x="3306763" y="4098925"/>
          <p14:tracePt t="31031" x="3311525" y="4098925"/>
          <p14:tracePt t="31032" x="3311525" y="4103688"/>
          <p14:tracePt t="31037" x="3314700" y="4103688"/>
          <p14:tracePt t="31039" x="3314700" y="4106863"/>
          <p14:tracePt t="31040" x="3319463" y="4106863"/>
          <p14:tracePt t="31049" x="3322638" y="4106863"/>
          <p14:tracePt t="31131" x="3322638" y="4111625"/>
          <p14:tracePt t="31182" x="3319463" y="4111625"/>
          <p14:tracePt t="31191" x="3319463" y="4116388"/>
          <p14:tracePt t="31196" x="3314700" y="4116388"/>
          <p14:tracePt t="31198" x="3314700" y="4119563"/>
          <p14:tracePt t="31202" x="3314700" y="4124325"/>
          <p14:tracePt t="31205" x="3311525" y="4124325"/>
          <p14:tracePt t="31208" x="3311525" y="4127500"/>
          <p14:tracePt t="31210" x="3306763" y="4132263"/>
          <p14:tracePt t="31216" x="3306763" y="4135438"/>
          <p14:tracePt t="31220" x="3306763" y="4140200"/>
          <p14:tracePt t="31222" x="3303588" y="4140200"/>
          <p14:tracePt t="31223" x="3303588" y="4143375"/>
          <p14:tracePt t="31227" x="3303588" y="4148138"/>
          <p14:tracePt t="31231" x="3303588" y="4151313"/>
          <p14:tracePt t="31233" x="3298825" y="4151313"/>
          <p14:tracePt t="31238" x="3298825" y="4156075"/>
          <p14:tracePt t="31240" x="3298825" y="4159250"/>
          <p14:tracePt t="31245" x="3298825" y="4164013"/>
          <p14:tracePt t="31248" x="3298825" y="4167188"/>
          <p14:tracePt t="31261" x="3298825" y="4171950"/>
          <p14:tracePt t="31268" x="3298825" y="4175125"/>
          <p14:tracePt t="31285" x="3298825" y="4179888"/>
          <p14:tracePt t="31291" x="3303588" y="4179888"/>
          <p14:tracePt t="31448" x="3306763" y="4179888"/>
          <p14:tracePt t="31451" x="3311525" y="4179888"/>
          <p14:tracePt t="31454" x="3314700" y="4179888"/>
          <p14:tracePt t="31457" x="3319463" y="4179888"/>
          <p14:tracePt t="31460" x="3322638" y="4179888"/>
          <p14:tracePt t="31461" x="3327400" y="4183063"/>
          <p14:tracePt t="31463" x="3330575" y="4183063"/>
          <p14:tracePt t="31465" x="3335338" y="4183063"/>
          <p14:tracePt t="31468" x="3338513" y="4183063"/>
          <p14:tracePt t="31470" x="3343275" y="4187825"/>
          <p14:tracePt t="31474" x="3351213" y="4187825"/>
          <p14:tracePt t="31475" x="3355975" y="4187825"/>
          <p14:tracePt t="31478" x="3363913" y="4187825"/>
          <p14:tracePt t="31480" x="3367088" y="4191000"/>
          <p14:tracePt t="31482" x="3371850" y="4191000"/>
          <p14:tracePt t="31483" x="3375025" y="4191000"/>
          <p14:tracePt t="31484" x="3382963" y="4195763"/>
          <p14:tracePt t="31487" x="3387725" y="4195763"/>
          <p14:tracePt t="31489" x="3398838" y="4195763"/>
          <p14:tracePt t="31490" x="3403600" y="4195763"/>
          <p14:tracePt t="31491" x="3406775" y="4195763"/>
          <p14:tracePt t="31494" x="3419475" y="4198938"/>
          <p14:tracePt t="31496" x="3427413" y="4198938"/>
          <p14:tracePt t="31499" x="3435350" y="4198938"/>
          <p14:tracePt t="31500" x="3440113" y="4198938"/>
          <p14:tracePt t="31502" x="3443288" y="4203700"/>
          <p14:tracePt t="31503" x="3448050" y="4203700"/>
          <p14:tracePt t="31506" x="3455988" y="4203700"/>
          <p14:tracePt t="31508" x="3467100" y="4208463"/>
          <p14:tracePt t="31509" x="3475038" y="4208463"/>
          <p14:tracePt t="31511" x="3479800" y="4211638"/>
          <p14:tracePt t="31513" x="3482975" y="4211638"/>
          <p14:tracePt t="31513" x="3487738" y="4211638"/>
          <p14:tracePt t="31515" x="3490913" y="4211638"/>
          <p14:tracePt t="31516" x="3495675" y="4211638"/>
          <p14:tracePt t="31516" x="3498850" y="4211638"/>
          <p14:tracePt t="31518" x="3503613" y="4211638"/>
          <p14:tracePt t="31519" x="3511550" y="4211638"/>
          <p14:tracePt t="31520" x="3514725" y="4211638"/>
          <p14:tracePt t="31521" x="3514725" y="4216400"/>
          <p14:tracePt t="31522" x="3519488" y="4216400"/>
          <p14:tracePt t="31523" x="3524250" y="4216400"/>
          <p14:tracePt t="31525" x="3527425" y="4216400"/>
          <p14:tracePt t="31526" x="3532188" y="4216400"/>
          <p14:tracePt t="31527" x="3535363" y="4216400"/>
          <p14:tracePt t="31527" x="3540125" y="4216400"/>
          <p14:tracePt t="31528" x="3548063" y="4216400"/>
          <p14:tracePt t="31529" x="3551238" y="4216400"/>
          <p14:tracePt t="31530" x="3556000" y="4216400"/>
          <p14:tracePt t="31532" x="3559175" y="4219575"/>
          <p14:tracePt t="31534" x="3563938" y="4219575"/>
          <p14:tracePt t="31535" x="3567113" y="4219575"/>
          <p14:tracePt t="31536" x="3571875" y="4219575"/>
          <p14:tracePt t="31537" x="3575050" y="4219575"/>
          <p14:tracePt t="31537" x="3579813" y="4219575"/>
          <p14:tracePt t="31538" x="3582988" y="4219575"/>
          <p14:tracePt t="31540" x="3587750" y="4219575"/>
          <p14:tracePt t="31540" x="3590925" y="4219575"/>
          <p14:tracePt t="31542" x="3598863" y="4219575"/>
          <p14:tracePt t="31543" x="3606800" y="4219575"/>
          <p14:tracePt t="31544" x="3611563" y="4219575"/>
          <p14:tracePt t="31545" x="3616325" y="4219575"/>
          <p14:tracePt t="31547" x="3619500" y="4219575"/>
          <p14:tracePt t="31549" x="3627438" y="4219575"/>
          <p14:tracePt t="31550" x="3632200" y="4219575"/>
          <p14:tracePt t="31550" x="3635375" y="4219575"/>
          <p14:tracePt t="31551" x="3640138" y="4219575"/>
          <p14:tracePt t="31552" x="3643313" y="4219575"/>
          <p14:tracePt t="31553" x="3651250" y="4224338"/>
          <p14:tracePt t="31554" x="3656013" y="4224338"/>
          <p14:tracePt t="31555" x="3659188" y="4224338"/>
          <p14:tracePt t="31556" x="3663950" y="4224338"/>
          <p14:tracePt t="31557" x="3671888" y="4224338"/>
          <p14:tracePt t="31559" x="3675063" y="4224338"/>
          <p14:tracePt t="31560" x="3679825" y="4224338"/>
          <p14:tracePt t="31560" x="3683000" y="4224338"/>
          <p14:tracePt t="31561" x="3687763" y="4224338"/>
          <p14:tracePt t="31562" x="3690938" y="4224338"/>
          <p14:tracePt t="31564" x="3698875" y="4224338"/>
          <p14:tracePt t="31565" x="3703638" y="4224338"/>
          <p14:tracePt t="31565" x="3708400" y="4224338"/>
          <p14:tracePt t="31566" x="3711575" y="4224338"/>
          <p14:tracePt t="31567" x="3719513" y="4224338"/>
          <p14:tracePt t="31568" x="3724275" y="4224338"/>
          <p14:tracePt t="31569" x="3732213" y="4224338"/>
          <p14:tracePt t="31570" x="3735388" y="4224338"/>
          <p14:tracePt t="31572" x="3740150" y="4224338"/>
          <p14:tracePt t="31573" x="3748088" y="4224338"/>
          <p14:tracePt t="31574" x="3751263" y="4224338"/>
          <p14:tracePt t="31575" x="3756025" y="4224338"/>
          <p14:tracePt t="31576" x="3759200" y="4224338"/>
          <p14:tracePt t="31577" x="3763963" y="4224338"/>
          <p14:tracePt t="31578" x="3767138" y="4224338"/>
          <p14:tracePt t="31579" x="3771900" y="4224338"/>
          <p14:tracePt t="31580" x="3775075" y="4224338"/>
          <p14:tracePt t="31581" x="3779838" y="4224338"/>
          <p14:tracePt t="31583" x="3783013" y="4224338"/>
          <p14:tracePt t="31584" x="3787775" y="4224338"/>
          <p14:tracePt t="31585" x="3790950" y="4224338"/>
          <p14:tracePt t="31586" x="3795713" y="4224338"/>
          <p14:tracePt t="31587" x="3800475" y="4224338"/>
          <p14:tracePt t="31589" x="3803650" y="4224338"/>
          <p14:tracePt t="31590" x="3808413" y="4224338"/>
          <p14:tracePt t="31592" x="3811588" y="4224338"/>
          <p14:tracePt t="31593" x="3816350" y="4224338"/>
          <p14:tracePt t="31594" x="3819525" y="4224338"/>
          <p14:tracePt t="31595" x="3824288" y="4224338"/>
          <p14:tracePt t="31598" x="3827463" y="4224338"/>
          <p14:tracePt t="31600" x="3832225" y="4224338"/>
          <p14:tracePt t="31602" x="3835400" y="4224338"/>
          <p14:tracePt t="31604" x="3840163" y="4224338"/>
          <p14:tracePt t="31606" x="3843338" y="4224338"/>
          <p14:tracePt t="31609" x="3848100" y="4224338"/>
          <p14:tracePt t="31613" x="3851275" y="4224338"/>
          <p14:tracePt t="31805" x="3848100" y="4224338"/>
          <p14:tracePt t="31829" x="3843338" y="4224338"/>
          <p14:tracePt t="31832" x="3843338" y="4227513"/>
          <p14:tracePt t="31836" x="3840163" y="4232275"/>
          <p14:tracePt t="31839" x="3835400" y="4232275"/>
          <p14:tracePt t="31844" x="3832225" y="4235450"/>
          <p14:tracePt t="31847" x="3827463" y="4240213"/>
          <p14:tracePt t="31855" x="3824288" y="4240213"/>
          <p14:tracePt t="31857" x="3824288" y="4243388"/>
          <p14:tracePt t="31860" x="3819525" y="4243388"/>
          <p14:tracePt t="31866" x="3816350" y="4248150"/>
          <p14:tracePt t="31871" x="3811588" y="4248150"/>
          <p14:tracePt t="31871" x="3811588" y="4251325"/>
          <p14:tracePt t="31879" x="3808413" y="4251325"/>
          <p14:tracePt t="31881" x="3808413" y="4256088"/>
          <p14:tracePt t="31889" x="3803650" y="4256088"/>
          <p14:tracePt t="31949" x="3808413" y="4256088"/>
          <p14:tracePt t="31952" x="3811588" y="4259263"/>
          <p14:tracePt t="31954" x="3816350" y="4259263"/>
          <p14:tracePt t="31956" x="3819525" y="4259263"/>
          <p14:tracePt t="31960" x="3824288" y="4259263"/>
          <p14:tracePt t="31963" x="3824288" y="4264025"/>
          <p14:tracePt t="31964" x="3827463" y="4264025"/>
          <p14:tracePt t="31966" x="3832225" y="4264025"/>
          <p14:tracePt t="31968" x="3835400" y="4264025"/>
          <p14:tracePt t="31970" x="3840163" y="4264025"/>
          <p14:tracePt t="31973" x="3843338" y="4264025"/>
          <p14:tracePt t="31976" x="3848100" y="4264025"/>
          <p14:tracePt t="31980" x="3851275" y="4264025"/>
          <p14:tracePt t="31983" x="3856038" y="4264025"/>
          <p14:tracePt t="31988" x="3859213" y="4264025"/>
          <p14:tracePt t="31991" x="3863975" y="4264025"/>
          <p14:tracePt t="31999" x="3867150" y="4264025"/>
          <p14:tracePt t="32003" x="3871913" y="4264025"/>
          <p14:tracePt t="32008" x="3875088" y="4264025"/>
          <p14:tracePt t="32012" x="3879850" y="4264025"/>
          <p14:tracePt t="32016" x="3884613" y="4264025"/>
          <p14:tracePt t="32019" x="3887788" y="4264025"/>
          <p14:tracePt t="32091" x="3892550" y="4264025"/>
          <p14:tracePt t="32296" x="3887788" y="4264025"/>
          <p14:tracePt t="32300" x="3884613" y="4267200"/>
          <p14:tracePt t="32302" x="3879850" y="4267200"/>
          <p14:tracePt t="32306" x="3867150" y="4271963"/>
          <p14:tracePt t="32311" x="3859213" y="4275138"/>
          <p14:tracePt t="32314" x="3856038" y="4279900"/>
          <p14:tracePt t="32317" x="3843338" y="4279900"/>
          <p14:tracePt t="32317" x="3840163" y="4279900"/>
          <p14:tracePt t="32321" x="3832225" y="4279900"/>
          <p14:tracePt t="32322" x="3827463" y="4279900"/>
          <p14:tracePt t="32324" x="3824288" y="4279900"/>
          <p14:tracePt t="32324" x="3819525" y="4279900"/>
          <p14:tracePt t="32326" x="3816350" y="4283075"/>
          <p14:tracePt t="32327" x="3811588" y="4283075"/>
          <p14:tracePt t="32328" x="3808413" y="4283075"/>
          <p14:tracePt t="32329" x="3803650" y="4283075"/>
          <p14:tracePt t="32330" x="3800475" y="4287838"/>
          <p14:tracePt t="32331" x="3795713" y="4287838"/>
          <p14:tracePt t="32333" x="3787775" y="4291013"/>
          <p14:tracePt t="32333" x="3783013" y="4291013"/>
          <p14:tracePt t="32335" x="3779838" y="4291013"/>
          <p14:tracePt t="32337" x="3775075" y="4295775"/>
          <p14:tracePt t="32338" x="3771900" y="4295775"/>
          <p14:tracePt t="32339" x="3767138" y="4295775"/>
          <p14:tracePt t="32340" x="3763963" y="4295775"/>
          <p14:tracePt t="32343" x="3759200" y="4300538"/>
          <p14:tracePt t="32345" x="3756025" y="4300538"/>
          <p14:tracePt t="32346" x="3756025" y="4303713"/>
          <p14:tracePt t="32347" x="3751263" y="4303713"/>
          <p14:tracePt t="32348" x="3748088" y="4303713"/>
          <p14:tracePt t="32350" x="3743325" y="4303713"/>
          <p14:tracePt t="32363" x="3743325" y="4308475"/>
          <p14:tracePt t="32416" x="3748088" y="4308475"/>
          <p14:tracePt t="32418" x="3751263" y="4308475"/>
          <p14:tracePt t="32421" x="3756025" y="4308475"/>
          <p14:tracePt t="32422" x="3756025" y="4303713"/>
          <p14:tracePt t="32423" x="3759200" y="4303713"/>
          <p14:tracePt t="32425" x="3767138" y="4303713"/>
          <p14:tracePt t="32428" x="3775075" y="4303713"/>
          <p14:tracePt t="32429" x="3779838" y="4303713"/>
          <p14:tracePt t="32431" x="3779838" y="4300538"/>
          <p14:tracePt t="32433" x="3787775" y="4300538"/>
          <p14:tracePt t="32434" x="3795713" y="4295775"/>
          <p14:tracePt t="32436" x="3800475" y="4295775"/>
          <p14:tracePt t="32437" x="3803650" y="4295775"/>
          <p14:tracePt t="32437" x="3808413" y="4295775"/>
          <p14:tracePt t="32438" x="3811588" y="4295775"/>
          <p14:tracePt t="32439" x="3816350" y="4295775"/>
          <p14:tracePt t="32441" x="3819525" y="4295775"/>
          <p14:tracePt t="32442" x="3824288" y="4291013"/>
          <p14:tracePt t="32443" x="3832225" y="4291013"/>
          <p14:tracePt t="32444" x="3835400" y="4291013"/>
          <p14:tracePt t="32445" x="3840163" y="4291013"/>
          <p14:tracePt t="32446" x="3843338" y="4291013"/>
          <p14:tracePt t="32447" x="3848100" y="4291013"/>
          <p14:tracePt t="32448" x="3851275" y="4291013"/>
          <p14:tracePt t="32449" x="3856038" y="4291013"/>
          <p14:tracePt t="32450" x="3859213" y="4287838"/>
          <p14:tracePt t="32451" x="3867150" y="4287838"/>
          <p14:tracePt t="32452" x="3871913" y="4287838"/>
          <p14:tracePt t="32454" x="3875088" y="4287838"/>
          <p14:tracePt t="32456" x="3884613" y="4287838"/>
          <p14:tracePt t="32456" x="3887788" y="4287838"/>
          <p14:tracePt t="32457" x="3895725" y="4287838"/>
          <p14:tracePt t="32459" x="3900488" y="4283075"/>
          <p14:tracePt t="32460" x="3903663" y="4283075"/>
          <p14:tracePt t="32461" x="3911600" y="4283075"/>
          <p14:tracePt t="32461" x="3916363" y="4283075"/>
          <p14:tracePt t="32463" x="3924300" y="4283075"/>
          <p14:tracePt t="32463" x="3927475" y="4283075"/>
          <p14:tracePt t="32464" x="3935413" y="4283075"/>
          <p14:tracePt t="32466" x="3940175" y="4283075"/>
          <p14:tracePt t="32467" x="3948113" y="4283075"/>
          <p14:tracePt t="32468" x="3951288" y="4283075"/>
          <p14:tracePt t="32469" x="3956050" y="4283075"/>
          <p14:tracePt t="32470" x="3963988" y="4283075"/>
          <p14:tracePt t="32472" x="3967163" y="4283075"/>
          <p14:tracePt t="32472" x="3971925" y="4283075"/>
          <p14:tracePt t="32473" x="3979863" y="4283075"/>
          <p14:tracePt t="32474" x="3984625" y="4283075"/>
          <p14:tracePt t="32475" x="3987800" y="4283075"/>
          <p14:tracePt t="32477" x="3992563" y="4283075"/>
          <p14:tracePt t="32477" x="3995738" y="4283075"/>
          <p14:tracePt t="32479" x="4000500" y="4283075"/>
          <p14:tracePt t="32481" x="4003675" y="4283075"/>
          <p14:tracePt t="32482" x="4008438" y="4283075"/>
          <p14:tracePt t="32483" x="4011613" y="4283075"/>
          <p14:tracePt t="32485" x="4016375" y="4283075"/>
          <p14:tracePt t="32486" x="4019550" y="4283075"/>
          <p14:tracePt t="32488" x="4019550" y="4279900"/>
          <p14:tracePt t="32488" x="4024313" y="4279900"/>
          <p14:tracePt t="32492" x="4027488" y="4279900"/>
          <p14:tracePt t="32495" x="4027488" y="4275138"/>
          <p14:tracePt t="32499" x="4032250" y="4275138"/>
          <p14:tracePt t="32540" x="4032250" y="4271963"/>
          <p14:tracePt t="32606" x="4027488" y="4271963"/>
          <p14:tracePt t="32614" x="4024313" y="4271963"/>
          <p14:tracePt t="32619" x="4019550" y="4271963"/>
          <p14:tracePt t="32623" x="4016375" y="4271963"/>
          <p14:tracePt t="32628" x="4011613" y="4271963"/>
          <p14:tracePt t="32639" x="4008438" y="4271963"/>
          <p14:tracePt t="32650" x="4003675" y="4271963"/>
          <p14:tracePt t="32660" x="4000500" y="4271963"/>
          <p14:tracePt t="32672" x="3995738" y="4271963"/>
          <p14:tracePt t="32677" x="3992563" y="4271963"/>
          <p14:tracePt t="32682" x="3987800" y="4271963"/>
          <p14:tracePt t="32685" x="3984625" y="4271963"/>
          <p14:tracePt t="32689" x="3979863" y="4271963"/>
          <p14:tracePt t="32692" x="3976688" y="4271963"/>
          <p14:tracePt t="32697" x="3971925" y="4271963"/>
          <p14:tracePt t="32702" x="3967163" y="4271963"/>
          <p14:tracePt t="32706" x="3963988" y="4271963"/>
          <p14:tracePt t="32709" x="3959225" y="4271963"/>
          <p14:tracePt t="32715" x="3956050" y="4271963"/>
          <p14:tracePt t="32722" x="3951288" y="4271963"/>
          <p14:tracePt t="32726" x="3948113" y="4271963"/>
          <p14:tracePt t="32730" x="3943350" y="4271963"/>
          <p14:tracePt t="32734" x="3940175" y="4271963"/>
          <p14:tracePt t="32737" x="3935413" y="4271963"/>
          <p14:tracePt t="32739" x="3932238" y="4271963"/>
          <p14:tracePt t="32742" x="3927475" y="4271963"/>
          <p14:tracePt t="32744" x="3924300" y="4271963"/>
          <p14:tracePt t="32746" x="3919538" y="4271963"/>
          <p14:tracePt t="32749" x="3916363" y="4271963"/>
          <p14:tracePt t="32751" x="3916363" y="4275138"/>
          <p14:tracePt t="32754" x="3911600" y="4275138"/>
          <p14:tracePt t="32755" x="3908425" y="4275138"/>
          <p14:tracePt t="32757" x="3903663" y="4275138"/>
          <p14:tracePt t="32762" x="3900488" y="4275138"/>
          <p14:tracePt t="32764" x="3895725" y="4279900"/>
          <p14:tracePt t="32768" x="3892550" y="4279900"/>
          <p14:tracePt t="32769" x="3887788" y="4279900"/>
          <p14:tracePt t="32773" x="3884613" y="4279900"/>
          <p14:tracePt t="32777" x="3879850" y="4279900"/>
          <p14:tracePt t="32780" x="3875088" y="4279900"/>
          <p14:tracePt t="32794" x="3871913" y="4279900"/>
          <p14:tracePt t="32880" x="3867150" y="4279900"/>
          <p14:tracePt t="32893" x="3863975" y="4279900"/>
          <p14:tracePt t="32896" x="3859213" y="4279900"/>
          <p14:tracePt t="32897" x="3859213" y="4283075"/>
          <p14:tracePt t="32899" x="3856038" y="4283075"/>
          <p14:tracePt t="32900" x="3851275" y="4283075"/>
          <p14:tracePt t="32903" x="3851275" y="4287838"/>
          <p14:tracePt t="32906" x="3848100" y="4287838"/>
          <p14:tracePt t="32908" x="3843338" y="4291013"/>
          <p14:tracePt t="32909" x="3840163" y="4291013"/>
          <p14:tracePt t="32911" x="3835400" y="4295775"/>
          <p14:tracePt t="32916" x="3832225" y="4295775"/>
          <p14:tracePt t="32918" x="3827463" y="4295775"/>
          <p14:tracePt t="32918" x="3824288" y="4300538"/>
          <p14:tracePt t="32920" x="3819525" y="4300538"/>
          <p14:tracePt t="32922" x="3816350" y="4300538"/>
          <p14:tracePt t="32923" x="3811588" y="4300538"/>
          <p14:tracePt t="32926" x="3808413" y="4300538"/>
          <p14:tracePt t="32927" x="3803650" y="4303713"/>
          <p14:tracePt t="32929" x="3800475" y="4303713"/>
          <p14:tracePt t="32931" x="3795713" y="4308475"/>
          <p14:tracePt t="32935" x="3790950" y="4311650"/>
          <p14:tracePt t="32937" x="3787775" y="4311650"/>
          <p14:tracePt t="32939" x="3783013" y="4311650"/>
          <p14:tracePt t="32942" x="3779838" y="4316413"/>
          <p14:tracePt t="32943" x="3775075" y="4316413"/>
          <p14:tracePt t="32945" x="3771900" y="4319588"/>
          <p14:tracePt t="32947" x="3767138" y="4319588"/>
          <p14:tracePt t="32949" x="3763963" y="4319588"/>
          <p14:tracePt t="32951" x="3759200" y="4319588"/>
          <p14:tracePt t="32952" x="3759200" y="4324350"/>
          <p14:tracePt t="32954" x="3756025" y="4324350"/>
          <p14:tracePt t="32957" x="3756025" y="4327525"/>
          <p14:tracePt t="32962" x="3751263" y="4332288"/>
          <p14:tracePt t="32965" x="3748088" y="4332288"/>
          <p14:tracePt t="32967" x="3748088" y="4335463"/>
          <p14:tracePt t="32969" x="3743325" y="4335463"/>
          <p14:tracePt t="32979" x="3743325" y="4340225"/>
          <p14:tracePt t="32984" x="3743325" y="4343400"/>
          <p14:tracePt t="32992" x="3743325" y="4348163"/>
          <p14:tracePt t="32999" x="3743325" y="4351338"/>
          <p14:tracePt t="33002" x="3743325" y="4356100"/>
          <p14:tracePt t="33005" x="3748088" y="4356100"/>
          <p14:tracePt t="33006" x="3748088" y="4359275"/>
          <p14:tracePt t="33007" x="3751263" y="4359275"/>
          <p14:tracePt t="33011" x="3756025" y="4364038"/>
          <p14:tracePt t="33012" x="3759200" y="4364038"/>
          <p14:tracePt t="33013" x="3759200" y="4367213"/>
          <p14:tracePt t="33015" x="3763963" y="4367213"/>
          <p14:tracePt t="33015" x="3767138" y="4367213"/>
          <p14:tracePt t="33016" x="3771900" y="4371975"/>
          <p14:tracePt t="33019" x="3779838" y="4375150"/>
          <p14:tracePt t="33019" x="3787775" y="4375150"/>
          <p14:tracePt t="33020" x="3790950" y="4379913"/>
          <p14:tracePt t="33021" x="3800475" y="4379913"/>
          <p14:tracePt t="33022" x="3808413" y="4383088"/>
          <p14:tracePt t="33023" x="3811588" y="4387850"/>
          <p14:tracePt t="33024" x="3819525" y="4387850"/>
          <p14:tracePt t="33026" x="3824288" y="4387850"/>
          <p14:tracePt t="33027" x="3832225" y="4392613"/>
          <p14:tracePt t="33027" x="3840163" y="4395788"/>
          <p14:tracePt t="33028" x="3848100" y="4395788"/>
          <p14:tracePt t="33029" x="3856038" y="4400550"/>
          <p14:tracePt t="33030" x="3863975" y="4400550"/>
          <p14:tracePt t="33031" x="3871913" y="4403725"/>
          <p14:tracePt t="33032" x="3892550" y="4411663"/>
          <p14:tracePt t="33033" x="3900488" y="4411663"/>
          <p14:tracePt t="33035" x="3916363" y="4416425"/>
          <p14:tracePt t="33035" x="3924300" y="4416425"/>
          <p14:tracePt t="33036" x="3935413" y="4419600"/>
          <p14:tracePt t="33037" x="3951288" y="4419600"/>
          <p14:tracePt t="33038" x="3963988" y="4424363"/>
          <p14:tracePt t="33039" x="3979863" y="4427538"/>
          <p14:tracePt t="33040" x="3992563" y="4427538"/>
          <p14:tracePt t="33041" x="4008438" y="4432300"/>
          <p14:tracePt t="33042" x="4024313" y="4432300"/>
          <p14:tracePt t="33043" x="4040188" y="4440238"/>
          <p14:tracePt t="33045" x="4051300" y="4440238"/>
          <p14:tracePt t="33045" x="4071938" y="4440238"/>
          <p14:tracePt t="33047" x="4087813" y="4443413"/>
          <p14:tracePt t="33047" x="4103688" y="4443413"/>
          <p14:tracePt t="33049" x="4140200" y="4448175"/>
          <p14:tracePt t="33051" x="4156075" y="4448175"/>
          <p14:tracePt t="33051" x="4171950" y="4448175"/>
          <p14:tracePt t="33052" x="4195763" y="4451350"/>
          <p14:tracePt t="33053" x="4216400" y="4451350"/>
          <p14:tracePt t="33054" x="4232275" y="4451350"/>
          <p14:tracePt t="33055" x="4252913" y="4456113"/>
          <p14:tracePt t="33056" x="4264025" y="4456113"/>
          <p14:tracePt t="33057" x="4287838" y="4456113"/>
          <p14:tracePt t="33059" x="4303713" y="4456113"/>
          <p14:tracePt t="33059" x="4324350" y="4456113"/>
          <p14:tracePt t="33061" x="4340225" y="4456113"/>
          <p14:tracePt t="33062" x="4356100" y="4464050"/>
          <p14:tracePt t="33062" x="4379913" y="4464050"/>
          <p14:tracePt t="33064" x="4400550" y="4464050"/>
          <p14:tracePt t="33065" x="4432300" y="4464050"/>
          <p14:tracePt t="33067" x="4471988" y="4464050"/>
          <p14:tracePt t="33068" x="4484688" y="4464050"/>
          <p14:tracePt t="33069" x="4500563" y="4464050"/>
          <p14:tracePt t="33070" x="4511675" y="4464050"/>
          <p14:tracePt t="33071" x="4529138" y="4464050"/>
          <p14:tracePt t="33072" x="4552950" y="4464050"/>
          <p14:tracePt t="33073" x="4568825" y="4464050"/>
          <p14:tracePt t="33074" x="4576763" y="4464050"/>
          <p14:tracePt t="33076" x="4587875" y="4464050"/>
          <p14:tracePt t="33076" x="4600575" y="4464050"/>
          <p14:tracePt t="33077" x="4621213" y="4464050"/>
          <p14:tracePt t="33079" x="4629150" y="4464050"/>
          <p14:tracePt t="33079" x="4645025" y="4464050"/>
          <p14:tracePt t="33081" x="4652963" y="4464050"/>
          <p14:tracePt t="33081" x="4664075" y="4464050"/>
          <p14:tracePt t="33083" x="4672013" y="4464050"/>
          <p14:tracePt t="33083" x="4687888" y="4464050"/>
          <p14:tracePt t="33085" x="4700588" y="4456113"/>
          <p14:tracePt t="33085" x="4708525" y="4456113"/>
          <p14:tracePt t="33087" x="4716463" y="4451350"/>
          <p14:tracePt t="33087" x="4729163" y="4451350"/>
          <p14:tracePt t="33088" x="4737100" y="4451350"/>
          <p14:tracePt t="33089" x="4745038" y="4451350"/>
          <p14:tracePt t="33090" x="4748213" y="4448175"/>
          <p14:tracePt t="33091" x="4752975" y="4448175"/>
          <p14:tracePt t="33093" x="4756150" y="4448175"/>
          <p14:tracePt t="33094" x="4764088" y="4443413"/>
          <p14:tracePt t="33094" x="4772025" y="4443413"/>
          <p14:tracePt t="33097" x="4779963" y="4443413"/>
          <p14:tracePt t="33098" x="4784725" y="4440238"/>
          <p14:tracePt t="33099" x="4789488" y="4440238"/>
          <p14:tracePt t="33099" x="4792663" y="4440238"/>
          <p14:tracePt t="33100" x="4797425" y="4440238"/>
          <p14:tracePt t="33101" x="4800600" y="4440238"/>
          <p14:tracePt t="33103" x="4805363" y="4435475"/>
          <p14:tracePt t="33104" x="4808538" y="4435475"/>
          <p14:tracePt t="33106" x="4808538" y="4432300"/>
          <p14:tracePt t="33107" x="4813300" y="4432300"/>
          <p14:tracePt t="33110" x="4813300" y="4427538"/>
          <p14:tracePt t="33120" x="4813300" y="4424363"/>
          <p14:tracePt t="33129" x="4813300" y="4419600"/>
          <p14:tracePt t="33134" x="4813300" y="4416425"/>
          <p14:tracePt t="33139" x="4813300" y="4411663"/>
          <p14:tracePt t="33142" x="4813300" y="4408488"/>
          <p14:tracePt t="33145" x="4813300" y="4403725"/>
          <p14:tracePt t="33147" x="4813300" y="4400550"/>
          <p14:tracePt t="33152" x="4813300" y="4395788"/>
          <p14:tracePt t="33155" x="4813300" y="4392613"/>
          <p14:tracePt t="33159" x="4813300" y="4387850"/>
          <p14:tracePt t="33161" x="4813300" y="4383088"/>
          <p14:tracePt t="33163" x="4808538" y="4379913"/>
          <p14:tracePt t="33166" x="4805363" y="4375150"/>
          <p14:tracePt t="33169" x="4805363" y="4371975"/>
          <p14:tracePt t="33171" x="4800600" y="4371975"/>
          <p14:tracePt t="33173" x="4800600" y="4367213"/>
          <p14:tracePt t="33176" x="4797425" y="4367213"/>
          <p14:tracePt t="33177" x="4797425" y="4364038"/>
          <p14:tracePt t="33178" x="4792663" y="4359275"/>
          <p14:tracePt t="33182" x="4789488" y="4359275"/>
          <p14:tracePt t="33186" x="4784725" y="4359275"/>
          <p14:tracePt t="33188" x="4784725" y="4356100"/>
          <p14:tracePt t="33192" x="4779963" y="4356100"/>
          <p14:tracePt t="33224" x="4776788" y="4356100"/>
          <p14:tracePt t="33277" x="4779963" y="4356100"/>
          <p14:tracePt t="33279" x="4784725" y="4356100"/>
          <p14:tracePt t="33283" x="4789488" y="4356100"/>
          <p14:tracePt t="33284" x="4792663" y="4359275"/>
          <p14:tracePt t="33286" x="4797425" y="4359275"/>
          <p14:tracePt t="33290" x="4800600" y="4359275"/>
          <p14:tracePt t="33292" x="4805363" y="4359275"/>
          <p14:tracePt t="33296" x="4808538" y="4359275"/>
          <p14:tracePt t="33298" x="4813300" y="4364038"/>
          <p14:tracePt t="33302" x="4816475" y="4364038"/>
          <p14:tracePt t="33304" x="4821238" y="4364038"/>
          <p14:tracePt t="33306" x="4824413" y="4364038"/>
          <p14:tracePt t="33309" x="4829175" y="4364038"/>
          <p14:tracePt t="33311" x="4832350" y="4364038"/>
          <p14:tracePt t="33311" x="4837113" y="4364038"/>
          <p14:tracePt t="33314" x="4840288" y="4367213"/>
          <p14:tracePt t="33316" x="4845050" y="4367213"/>
          <p14:tracePt t="33318" x="4848225" y="4367213"/>
          <p14:tracePt t="33318" x="4852988" y="4367213"/>
          <p14:tracePt t="33320" x="4856163" y="4367213"/>
          <p14:tracePt t="33322" x="4860925" y="4367213"/>
          <p14:tracePt t="33323" x="4864100" y="4367213"/>
          <p14:tracePt t="33326" x="4868863" y="4367213"/>
          <p14:tracePt t="33327" x="4872038" y="4367213"/>
          <p14:tracePt t="33327" x="4876800" y="4367213"/>
          <p14:tracePt t="33330" x="4881563" y="4367213"/>
          <p14:tracePt t="33330" x="4884738" y="4367213"/>
          <p14:tracePt t="33332" x="4889500" y="4367213"/>
          <p14:tracePt t="33332" x="4892675" y="4367213"/>
          <p14:tracePt t="33334" x="4897438" y="4367213"/>
          <p14:tracePt t="33335" x="4905375" y="4367213"/>
          <p14:tracePt t="33336" x="4908550" y="4367213"/>
          <p14:tracePt t="33337" x="4913313" y="4367213"/>
          <p14:tracePt t="33338" x="4916488" y="4367213"/>
          <p14:tracePt t="33339" x="4924425" y="4367213"/>
          <p14:tracePt t="33340" x="4929188" y="4367213"/>
          <p14:tracePt t="33341" x="4932363" y="4367213"/>
          <p14:tracePt t="33343" x="4937125" y="4367213"/>
          <p14:tracePt t="33343" x="4945063" y="4371975"/>
          <p14:tracePt t="33345" x="4948238" y="4371975"/>
          <p14:tracePt t="33345" x="4956175" y="4371975"/>
          <p14:tracePt t="33347" x="4964113" y="4371975"/>
          <p14:tracePt t="33348" x="4973638" y="4371975"/>
          <p14:tracePt t="33348" x="4976813" y="4371975"/>
          <p14:tracePt t="33349" x="4981575" y="4371975"/>
          <p14:tracePt t="33350" x="4992688" y="4371975"/>
          <p14:tracePt t="33351" x="5000625" y="4371975"/>
          <p14:tracePt t="33352" x="5008563" y="4371975"/>
          <p14:tracePt t="33353" x="5016500" y="4371975"/>
          <p14:tracePt t="33355" x="5021263" y="4371975"/>
          <p14:tracePt t="33355" x="5032375" y="4371975"/>
          <p14:tracePt t="33356" x="5040313" y="4371975"/>
          <p14:tracePt t="33357" x="5048250" y="4371975"/>
          <p14:tracePt t="33359" x="5056188" y="4371975"/>
          <p14:tracePt t="33360" x="5065713" y="4371975"/>
          <p14:tracePt t="33360" x="5073650" y="4371975"/>
          <p14:tracePt t="33361" x="5081588" y="4371975"/>
          <p14:tracePt t="33362" x="5089525" y="4371975"/>
          <p14:tracePt t="33364" x="5097463" y="4371975"/>
          <p14:tracePt t="33365" x="5108575" y="4371975"/>
          <p14:tracePt t="33365" x="5121275" y="4371975"/>
          <p14:tracePt t="33366" x="5129213" y="4371975"/>
          <p14:tracePt t="33367" x="5140325" y="4371975"/>
          <p14:tracePt t="33368" x="5149850" y="4371975"/>
          <p14:tracePt t="33369" x="5157788" y="4371975"/>
          <p14:tracePt t="33370" x="5168900" y="4371975"/>
          <p14:tracePt t="33371" x="5181600" y="4371975"/>
          <p14:tracePt t="33372" x="5189538" y="4371975"/>
          <p14:tracePt t="33373" x="5200650" y="4371975"/>
          <p14:tracePt t="33374" x="5208588" y="4371975"/>
          <p14:tracePt t="33376" x="5221288" y="4371975"/>
          <p14:tracePt t="33377" x="5232400" y="4371975"/>
          <p14:tracePt t="33377" x="5245100" y="4371975"/>
          <p14:tracePt t="33378" x="5253038" y="4371975"/>
          <p14:tracePt t="33379" x="5265738" y="4371975"/>
          <p14:tracePt t="33380" x="5281613" y="4371975"/>
          <p14:tracePt t="33381" x="5292725" y="4371975"/>
          <p14:tracePt t="33382" x="5300663" y="4371975"/>
          <p14:tracePt t="33383" x="5316538" y="4371975"/>
          <p14:tracePt t="33384" x="5324475" y="4371975"/>
          <p14:tracePt t="33385" x="5337175" y="4371975"/>
          <p14:tracePt t="33386" x="5345113" y="4367213"/>
          <p14:tracePt t="33388" x="5360988" y="4367213"/>
          <p14:tracePt t="33388" x="5368925" y="4367213"/>
          <p14:tracePt t="33389" x="5381625" y="4367213"/>
          <p14:tracePt t="33390" x="5397500" y="4367213"/>
          <p14:tracePt t="33391" x="5405438" y="4367213"/>
          <p14:tracePt t="33393" x="5416550" y="4364038"/>
          <p14:tracePt t="33394" x="5426075" y="4364038"/>
          <p14:tracePt t="33394" x="5441950" y="4364038"/>
          <p14:tracePt t="33395" x="5453063" y="4364038"/>
          <p14:tracePt t="33396" x="5468938" y="4364038"/>
          <p14:tracePt t="33397" x="5476875" y="4359275"/>
          <p14:tracePt t="33399" x="5489575" y="4359275"/>
          <p14:tracePt t="33399" x="5497513" y="4359275"/>
          <p14:tracePt t="33400" x="5513388" y="4359275"/>
          <p14:tracePt t="33401" x="5526088" y="4359275"/>
          <p14:tracePt t="33402" x="5534025" y="4356100"/>
          <p14:tracePt t="33403" x="5549900" y="4356100"/>
          <p14:tracePt t="33404" x="5557838" y="4356100"/>
          <p14:tracePt t="33405" x="5568950" y="4356100"/>
          <p14:tracePt t="33406" x="5584825" y="4356100"/>
          <p14:tracePt t="33407" x="5592763" y="4356100"/>
          <p14:tracePt t="33409" x="5613400" y="4356100"/>
          <p14:tracePt t="33410" x="5626100" y="4356100"/>
          <p14:tracePt t="33411" x="5641975" y="4348163"/>
          <p14:tracePt t="33412" x="5649913" y="4348163"/>
          <p14:tracePt t="33413" x="5657850" y="4348163"/>
          <p14:tracePt t="33414" x="5673725" y="4343400"/>
          <p14:tracePt t="33415" x="5684838" y="4343400"/>
          <p14:tracePt t="33416" x="5694363" y="4343400"/>
          <p14:tracePt t="33417" x="5702300" y="4343400"/>
          <p14:tracePt t="33418" x="5710238" y="4340225"/>
          <p14:tracePt t="33419" x="5726113" y="4340225"/>
          <p14:tracePt t="33420" x="5737225" y="4340225"/>
          <p14:tracePt t="33421" x="5745163" y="4335463"/>
          <p14:tracePt t="33422" x="5753100" y="4335463"/>
          <p14:tracePt t="33423" x="5761038" y="4335463"/>
          <p14:tracePt t="33426" x="5786438" y="4332288"/>
          <p14:tracePt t="33427" x="5794375" y="4332288"/>
          <p14:tracePt t="33427" x="5802313" y="4332288"/>
          <p14:tracePt t="33428" x="5810250" y="4332288"/>
          <p14:tracePt t="33429" x="5818188" y="4327525"/>
          <p14:tracePt t="33430" x="5826125" y="4327525"/>
          <p14:tracePt t="33431" x="5834063" y="4327525"/>
          <p14:tracePt t="33432" x="5845175" y="4324350"/>
          <p14:tracePt t="33433" x="5853113" y="4324350"/>
          <p14:tracePt t="33434" x="5861050" y="4324350"/>
          <p14:tracePt t="33435" x="5868988" y="4319588"/>
          <p14:tracePt t="33436" x="5878513" y="4319588"/>
          <p14:tracePt t="33437" x="5886450" y="4311650"/>
          <p14:tracePt t="33438" x="5894388" y="4311650"/>
          <p14:tracePt t="33439" x="5902325" y="4311650"/>
          <p14:tracePt t="33441" x="5905500" y="4311650"/>
          <p14:tracePt t="33441" x="5918200" y="4308475"/>
          <p14:tracePt t="33443" x="5921375" y="4308475"/>
          <p14:tracePt t="33444" x="5929313" y="4308475"/>
          <p14:tracePt t="33444" x="5937250" y="4308475"/>
          <p14:tracePt t="33445" x="5945188" y="4308475"/>
          <p14:tracePt t="33446" x="5953125" y="4303713"/>
          <p14:tracePt t="33447" x="5957888" y="4303713"/>
          <p14:tracePt t="33448" x="5965825" y="4303713"/>
          <p14:tracePt t="33449" x="5970588" y="4300538"/>
          <p14:tracePt t="33450" x="5978525" y="4300538"/>
          <p14:tracePt t="33451" x="5986463" y="4300538"/>
          <p14:tracePt t="33452" x="5989638" y="4300538"/>
          <p14:tracePt t="33453" x="5997575" y="4295775"/>
          <p14:tracePt t="33454" x="6002338" y="4295775"/>
          <p14:tracePt t="33455" x="6010275" y="4295775"/>
          <p14:tracePt t="33457" x="6018213" y="4291013"/>
          <p14:tracePt t="33457" x="6021388" y="4291013"/>
          <p14:tracePt t="33459" x="6029325" y="4291013"/>
          <p14:tracePt t="33460" x="6037263" y="4291013"/>
          <p14:tracePt t="33461" x="6042025" y="4287838"/>
          <p14:tracePt t="33461" x="6054725" y="4287838"/>
          <p14:tracePt t="33462" x="6057900" y="4287838"/>
          <p14:tracePt t="33463" x="6065838" y="4287838"/>
          <p14:tracePt t="33464" x="6073775" y="4287838"/>
          <p14:tracePt t="33465" x="6078538" y="4287838"/>
          <p14:tracePt t="33466" x="6086475" y="4283075"/>
          <p14:tracePt t="33467" x="6094413" y="4283075"/>
          <p14:tracePt t="33468" x="6097588" y="4283075"/>
          <p14:tracePt t="33469" x="6105525" y="4283075"/>
          <p14:tracePt t="33470" x="6113463" y="4283075"/>
          <p14:tracePt t="33471" x="6121400" y="4279900"/>
          <p14:tracePt t="33472" x="6129338" y="4279900"/>
          <p14:tracePt t="33473" x="6137275" y="4279900"/>
          <p14:tracePt t="33474" x="6146800" y="4279900"/>
          <p14:tracePt t="33476" x="6154738" y="4275138"/>
          <p14:tracePt t="33477" x="6162675" y="4275138"/>
          <p14:tracePt t="33477" x="6170613" y="4275138"/>
          <p14:tracePt t="33478" x="6178550" y="4275138"/>
          <p14:tracePt t="33479" x="6189663" y="4271963"/>
          <p14:tracePt t="33480" x="6197600" y="4271963"/>
          <p14:tracePt t="33481" x="6210300" y="4271963"/>
          <p14:tracePt t="33482" x="6218238" y="4267200"/>
          <p14:tracePt t="33483" x="6226175" y="4267200"/>
          <p14:tracePt t="33484" x="6234113" y="4267200"/>
          <p14:tracePt t="33485" x="6242050" y="4267200"/>
          <p14:tracePt t="33486" x="6257925" y="4267200"/>
          <p14:tracePt t="33487" x="6265863" y="4267200"/>
          <p14:tracePt t="33488" x="6273800" y="4267200"/>
          <p14:tracePt t="33489" x="6281738" y="4264025"/>
          <p14:tracePt t="33490" x="6289675" y="4264025"/>
          <p14:tracePt t="33491" x="6302375" y="4264025"/>
          <p14:tracePt t="33493" x="6313488" y="4264025"/>
          <p14:tracePt t="33494" x="6323013" y="4264025"/>
          <p14:tracePt t="33494" x="6330950" y="4259263"/>
          <p14:tracePt t="33495" x="6342063" y="4259263"/>
          <p14:tracePt t="33496" x="6350000" y="4259263"/>
          <p14:tracePt t="33497" x="6365875" y="4259263"/>
          <p14:tracePt t="33498" x="6373813" y="4259263"/>
          <p14:tracePt t="33499" x="6381750" y="4259263"/>
          <p14:tracePt t="33500" x="6389688" y="4259263"/>
          <p14:tracePt t="33501" x="6402388" y="4259263"/>
          <p14:tracePt t="33502" x="6418263" y="4259263"/>
          <p14:tracePt t="33503" x="6426200" y="4259263"/>
          <p14:tracePt t="33504" x="6434138" y="4256088"/>
          <p14:tracePt t="33505" x="6442075" y="4256088"/>
          <p14:tracePt t="33506" x="6454775" y="4256088"/>
          <p14:tracePt t="33507" x="6470650" y="4256088"/>
          <p14:tracePt t="33509" x="6478588" y="4256088"/>
          <p14:tracePt t="33510" x="6494463" y="4256088"/>
          <p14:tracePt t="33511" x="6507163" y="4256088"/>
          <p14:tracePt t="33512" x="6523038" y="4256088"/>
          <p14:tracePt t="33513" x="6530975" y="4256088"/>
          <p14:tracePt t="33514" x="6538913" y="4256088"/>
          <p14:tracePt t="33515" x="6546850" y="4256088"/>
          <p14:tracePt t="33516" x="6554788" y="4256088"/>
          <p14:tracePt t="33517" x="6565900" y="4256088"/>
          <p14:tracePt t="33518" x="6573838" y="4256088"/>
          <p14:tracePt t="33519" x="6581775" y="4256088"/>
          <p14:tracePt t="33520" x="6589713" y="4256088"/>
          <p14:tracePt t="33521" x="6607175" y="4256088"/>
          <p14:tracePt t="33522" x="6615113" y="4256088"/>
          <p14:tracePt t="33523" x="6623050" y="4256088"/>
          <p14:tracePt t="33524" x="6630988" y="4256088"/>
          <p14:tracePt t="33526" x="6634163" y="4256088"/>
          <p14:tracePt t="33526" x="6642100" y="4256088"/>
          <p14:tracePt t="33527" x="6654800" y="4256088"/>
          <p14:tracePt t="33528" x="6662738" y="4256088"/>
          <p14:tracePt t="33530" x="6670675" y="4256088"/>
          <p14:tracePt t="33530" x="6673850" y="4256088"/>
          <p14:tracePt t="33531" x="6686550" y="4256088"/>
          <p14:tracePt t="33532" x="6694488" y="4256088"/>
          <p14:tracePt t="33533" x="6707188" y="4256088"/>
          <p14:tracePt t="33534" x="6715125" y="4256088"/>
          <p14:tracePt t="33535" x="6723063" y="4256088"/>
          <p14:tracePt t="33536" x="6726238" y="4256088"/>
          <p14:tracePt t="33537" x="6738938" y="4256088"/>
          <p14:tracePt t="33539" x="6746875" y="4256088"/>
          <p14:tracePt t="33540" x="6750050" y="4256088"/>
          <p14:tracePt t="33541" x="6757988" y="4256088"/>
          <p14:tracePt t="33543" x="6765925" y="4259263"/>
          <p14:tracePt t="33543" x="6770688" y="4259263"/>
          <p14:tracePt t="33544" x="6778625" y="4259263"/>
          <p14:tracePt t="33545" x="6783388" y="4259263"/>
          <p14:tracePt t="33546" x="6786563" y="4259263"/>
          <p14:tracePt t="33547" x="6794500" y="4259263"/>
          <p14:tracePt t="33549" x="6799263" y="4264025"/>
          <p14:tracePt t="33549" x="6802438" y="4264025"/>
          <p14:tracePt t="33550" x="6807200" y="4264025"/>
          <p14:tracePt t="33551" x="6810375" y="4264025"/>
          <p14:tracePt t="33552" x="6818313" y="4264025"/>
          <p14:tracePt t="33553" x="6823075" y="4264025"/>
          <p14:tracePt t="33554" x="6823075" y="4267200"/>
          <p14:tracePt t="33555" x="6826250" y="4267200"/>
          <p14:tracePt t="33556" x="6831013" y="4267200"/>
          <p14:tracePt t="33557" x="6834188" y="4267200"/>
          <p14:tracePt t="33559" x="6842125" y="4267200"/>
          <p14:tracePt t="33560" x="6846888" y="4267200"/>
          <p14:tracePt t="33562" x="6850063" y="4267200"/>
          <p14:tracePt t="33563" x="6854825" y="4267200"/>
          <p14:tracePt t="33564" x="6858000" y="4267200"/>
          <p14:tracePt t="33566" x="6862763" y="4267200"/>
          <p14:tracePt t="33569" x="6867525" y="4267200"/>
          <p14:tracePt t="33570" x="6867525" y="4271963"/>
          <p14:tracePt t="33572" x="6870700" y="4271963"/>
          <p14:tracePt t="33577" x="6875463" y="4271963"/>
          <p14:tracePt t="33667" x="6870700" y="4271963"/>
          <p14:tracePt t="33669" x="6867525" y="4271963"/>
          <p14:tracePt t="33672" x="6862763" y="4271963"/>
          <p14:tracePt t="33673" x="6862763" y="4275138"/>
          <p14:tracePt t="33675" x="6858000" y="4275138"/>
          <p14:tracePt t="33676" x="6854825" y="4275138"/>
          <p14:tracePt t="33677" x="6850063" y="4275138"/>
          <p14:tracePt t="33678" x="6842125" y="4279900"/>
          <p14:tracePt t="33679" x="6838950" y="4279900"/>
          <p14:tracePt t="33680" x="6834188" y="4279900"/>
          <p14:tracePt t="33681" x="6831013" y="4279900"/>
          <p14:tracePt t="33682" x="6826250" y="4279900"/>
          <p14:tracePt t="33683" x="6823075" y="4279900"/>
          <p14:tracePt t="33684" x="6815138" y="4283075"/>
          <p14:tracePt t="33685" x="6810375" y="4283075"/>
          <p14:tracePt t="33686" x="6807200" y="4283075"/>
          <p14:tracePt t="33687" x="6802438" y="4283075"/>
          <p14:tracePt t="33688" x="6794500" y="4283075"/>
          <p14:tracePt t="33689" x="6786563" y="4283075"/>
          <p14:tracePt t="33691" x="6778625" y="4283075"/>
          <p14:tracePt t="33691" x="6765925" y="4287838"/>
          <p14:tracePt t="33692" x="6757988" y="4287838"/>
          <p14:tracePt t="33693" x="6750050" y="4287838"/>
          <p14:tracePt t="33694" x="6742113" y="4287838"/>
          <p14:tracePt t="33695" x="6731000" y="4287838"/>
          <p14:tracePt t="33697" x="6723063" y="4287838"/>
          <p14:tracePt t="33697" x="6707188" y="4291013"/>
          <p14:tracePt t="33698" x="6699250" y="4291013"/>
          <p14:tracePt t="33699" x="6686550" y="4291013"/>
          <p14:tracePt t="33700" x="6670675" y="4291013"/>
          <p14:tracePt t="33701" x="6657975" y="4291013"/>
          <p14:tracePt t="33702" x="6646863" y="4291013"/>
          <p14:tracePt t="33703" x="6630988" y="4295775"/>
          <p14:tracePt t="33704" x="6618288" y="4295775"/>
          <p14:tracePt t="33705" x="6602413" y="4295775"/>
          <p14:tracePt t="33706" x="6581775" y="4295775"/>
          <p14:tracePt t="33707" x="6570663" y="4295775"/>
          <p14:tracePt t="33709" x="6546850" y="4295775"/>
          <p14:tracePt t="33710" x="6530975" y="4295775"/>
          <p14:tracePt t="33711" x="6510338" y="4295775"/>
          <p14:tracePt t="33712" x="6497638" y="4295775"/>
          <p14:tracePt t="33712" x="6478588" y="4295775"/>
          <p14:tracePt t="33713" x="6454775" y="4295775"/>
          <p14:tracePt t="33714" x="6434138" y="4295775"/>
          <p14:tracePt t="33715" x="6415088" y="4295775"/>
          <p14:tracePt t="33716" x="6394450" y="4295775"/>
          <p14:tracePt t="33717" x="6378575" y="4300538"/>
          <p14:tracePt t="33718" x="6350000" y="4300538"/>
          <p14:tracePt t="33719" x="6323013" y="4300538"/>
          <p14:tracePt t="33720" x="6297613" y="4300538"/>
          <p14:tracePt t="33722" x="6278563" y="4300538"/>
          <p14:tracePt t="33722" x="6254750" y="4300538"/>
          <p14:tracePt t="33723" x="6218238" y="4300538"/>
          <p14:tracePt t="33724" x="6189663" y="4300538"/>
          <p14:tracePt t="33726" x="6173788" y="4300538"/>
          <p14:tracePt t="33727" x="6146800" y="4300538"/>
          <p14:tracePt t="33727" x="6121400" y="4300538"/>
          <p14:tracePt t="33728" x="6094413" y="4300538"/>
          <p14:tracePt t="33729" x="6057900" y="4300538"/>
          <p14:tracePt t="33730" x="6034088" y="4300538"/>
          <p14:tracePt t="33731" x="6005513" y="4300538"/>
          <p14:tracePt t="33732" x="5978525" y="4300538"/>
          <p14:tracePt t="33733" x="5937250" y="4300538"/>
          <p14:tracePt t="33734" x="5910263" y="4300538"/>
          <p14:tracePt t="33735" x="5873750" y="4300538"/>
          <p14:tracePt t="33736" x="5849938" y="4300538"/>
          <p14:tracePt t="33737" x="5821363" y="4300538"/>
          <p14:tracePt t="33738" x="5797550" y="4300538"/>
          <p14:tracePt t="33739" x="5753100" y="4308475"/>
          <p14:tracePt t="33740" x="5726113" y="4308475"/>
          <p14:tracePt t="33741" x="5697538" y="4308475"/>
          <p14:tracePt t="33742" x="5665788" y="4308475"/>
          <p14:tracePt t="33743" x="5629275" y="4308475"/>
          <p14:tracePt t="33744" x="5592763" y="4308475"/>
          <p14:tracePt t="33745" x="5568950" y="4308475"/>
          <p14:tracePt t="33746" x="5541963" y="4308475"/>
          <p14:tracePt t="33747" x="5513388" y="4311650"/>
          <p14:tracePt t="33748" x="5489575" y="4311650"/>
          <p14:tracePt t="33749" x="5445125" y="4311650"/>
          <p14:tracePt t="33750" x="5416550" y="4311650"/>
          <p14:tracePt t="33751" x="5392738" y="4311650"/>
          <p14:tracePt t="33752" x="5365750" y="4311650"/>
          <p14:tracePt t="33753" x="5337175" y="4311650"/>
          <p14:tracePt t="33754" x="5297488" y="4311650"/>
          <p14:tracePt t="33755" x="5268913" y="4311650"/>
          <p14:tracePt t="33756" x="5245100" y="4311650"/>
          <p14:tracePt t="33757" x="5216525" y="4311650"/>
          <p14:tracePt t="33759" x="5197475" y="4311650"/>
          <p14:tracePt t="33760" x="5157788" y="4319588"/>
          <p14:tracePt t="33761" x="5132388" y="4319588"/>
          <p14:tracePt t="33761" x="5105400" y="4319588"/>
          <p14:tracePt t="33762" x="5084763" y="4324350"/>
          <p14:tracePt t="33763" x="5056188" y="4324350"/>
          <p14:tracePt t="33764" x="5024438" y="4324350"/>
          <p14:tracePt t="33765" x="4997450" y="4324350"/>
          <p14:tracePt t="33766" x="4976813" y="4324350"/>
          <p14:tracePt t="33767" x="4953000" y="4327525"/>
          <p14:tracePt t="33768" x="4932363" y="4327525"/>
          <p14:tracePt t="33769" x="4892675" y="4327525"/>
          <p14:tracePt t="33770" x="4872038" y="4332288"/>
          <p14:tracePt t="33771" x="4852988" y="4332288"/>
          <p14:tracePt t="33772" x="4829175" y="4332288"/>
          <p14:tracePt t="33773" x="4808538" y="4332288"/>
          <p14:tracePt t="33774" x="4776788" y="4332288"/>
          <p14:tracePt t="33776" x="4756150" y="4332288"/>
          <p14:tracePt t="33776" x="4740275" y="4332288"/>
          <p14:tracePt t="33777" x="4721225" y="4332288"/>
          <p14:tracePt t="33778" x="4692650" y="4332288"/>
          <p14:tracePt t="33779" x="4664075" y="4340225"/>
          <p14:tracePt t="33780" x="4648200" y="4340225"/>
          <p14:tracePt t="33781" x="4629150" y="4340225"/>
          <p14:tracePt t="33782" x="4608513" y="4340225"/>
          <p14:tracePt t="33783" x="4587875" y="4340225"/>
          <p14:tracePt t="33784" x="4564063" y="4340225"/>
          <p14:tracePt t="33785" x="4545013" y="4340225"/>
          <p14:tracePt t="33786" x="4524375" y="4340225"/>
          <p14:tracePt t="33787" x="4503738" y="4343400"/>
          <p14:tracePt t="33788" x="4492625" y="4343400"/>
          <p14:tracePt t="33789" x="4468813" y="4343400"/>
          <p14:tracePt t="33790" x="4452938" y="4343400"/>
          <p14:tracePt t="33791" x="4432300" y="4343400"/>
          <p14:tracePt t="33792" x="4419600" y="4343400"/>
          <p14:tracePt t="33793" x="4400550" y="4343400"/>
          <p14:tracePt t="33794" x="4387850" y="4343400"/>
          <p14:tracePt t="33795" x="4360863" y="4343400"/>
          <p14:tracePt t="33796" x="4348163" y="4343400"/>
          <p14:tracePt t="33797" x="4327525" y="4343400"/>
          <p14:tracePt t="33798" x="4316413" y="4343400"/>
          <p14:tracePt t="33799" x="4295775" y="4343400"/>
          <p14:tracePt t="33800" x="4284663" y="4343400"/>
          <p14:tracePt t="33801" x="4264025" y="4343400"/>
          <p14:tracePt t="33802" x="4248150" y="4348163"/>
          <p14:tracePt t="33803" x="4235450" y="4348163"/>
          <p14:tracePt t="33804" x="4224338" y="4348163"/>
          <p14:tracePt t="33805" x="4203700" y="4348163"/>
          <p14:tracePt t="33806" x="4184650" y="4348163"/>
          <p14:tracePt t="33807" x="4171950" y="4348163"/>
          <p14:tracePt t="33809" x="4156075" y="4351338"/>
          <p14:tracePt t="33810" x="4135438" y="4351338"/>
          <p14:tracePt t="33810" x="4124325" y="4351338"/>
          <p14:tracePt t="33811" x="4108450" y="4351338"/>
          <p14:tracePt t="33812" x="4095750" y="4351338"/>
          <p14:tracePt t="33813" x="4084638" y="4351338"/>
          <p14:tracePt t="33814" x="4068763" y="4351338"/>
          <p14:tracePt t="33815" x="4043363" y="4351338"/>
          <p14:tracePt t="33816" x="4027488" y="4351338"/>
          <p14:tracePt t="33817" x="4016375" y="4351338"/>
          <p14:tracePt t="33818" x="4003675" y="4351338"/>
          <p14:tracePt t="33819" x="3984625" y="4351338"/>
          <p14:tracePt t="33820" x="3967163" y="4351338"/>
          <p14:tracePt t="33821" x="3956050" y="4351338"/>
          <p14:tracePt t="33822" x="3940175" y="4351338"/>
          <p14:tracePt t="33823" x="3927475" y="4351338"/>
          <p14:tracePt t="33824" x="3908425" y="4359275"/>
          <p14:tracePt t="33826" x="3895725" y="4359275"/>
          <p14:tracePt t="33826" x="3879850" y="4359275"/>
          <p14:tracePt t="33827" x="3867150" y="4359275"/>
          <p14:tracePt t="33828" x="3856038" y="4359275"/>
          <p14:tracePt t="33829" x="3835400" y="4359275"/>
          <p14:tracePt t="33830" x="3819525" y="4359275"/>
          <p14:tracePt t="33831" x="3811588" y="4359275"/>
          <p14:tracePt t="33832" x="3800475" y="4359275"/>
          <p14:tracePt t="33833" x="3783013" y="4359275"/>
          <p14:tracePt t="33834" x="3771900" y="4359275"/>
          <p14:tracePt t="33835" x="3751263" y="4359275"/>
          <p14:tracePt t="33836" x="3740150" y="4359275"/>
          <p14:tracePt t="33837" x="3724275" y="4359275"/>
          <p14:tracePt t="33838" x="3716338" y="4359275"/>
          <p14:tracePt t="33839" x="3703638" y="4359275"/>
          <p14:tracePt t="33840" x="3683000" y="4359275"/>
          <p14:tracePt t="33841" x="3671888" y="4359275"/>
          <p14:tracePt t="33843" x="3663950" y="4359275"/>
          <p14:tracePt t="33843" x="3648075" y="4359275"/>
          <p14:tracePt t="33844" x="3635375" y="4359275"/>
          <p14:tracePt t="33845" x="3619500" y="4359275"/>
          <p14:tracePt t="33846" x="3606800" y="4359275"/>
          <p14:tracePt t="33847" x="3598863" y="4359275"/>
          <p14:tracePt t="33848" x="3587750" y="4359275"/>
          <p14:tracePt t="33849" x="3575050" y="4359275"/>
          <p14:tracePt t="33850" x="3563938" y="4359275"/>
          <p14:tracePt t="33851" x="3551238" y="4359275"/>
          <p14:tracePt t="33852" x="3543300" y="4359275"/>
          <p14:tracePt t="33853" x="3535363" y="4359275"/>
          <p14:tracePt t="33854" x="3519488" y="4359275"/>
          <p14:tracePt t="33855" x="3506788" y="4359275"/>
          <p14:tracePt t="33856" x="3498850" y="4359275"/>
          <p14:tracePt t="33857" x="3490913" y="4359275"/>
          <p14:tracePt t="33859" x="3482975" y="4359275"/>
          <p14:tracePt t="33859" x="3475038" y="4359275"/>
          <p14:tracePt t="33860" x="3459163" y="4359275"/>
          <p14:tracePt t="33861" x="3451225" y="4359275"/>
          <p14:tracePt t="33862" x="3443288" y="4359275"/>
          <p14:tracePt t="33863" x="3435350" y="4359275"/>
          <p14:tracePt t="33864" x="3427413" y="4359275"/>
          <p14:tracePt t="33865" x="3419475" y="4359275"/>
          <p14:tracePt t="33866" x="3411538" y="4359275"/>
          <p14:tracePt t="33867" x="3403600" y="4359275"/>
          <p14:tracePt t="33868" x="3395663" y="4359275"/>
          <p14:tracePt t="33869" x="3390900" y="4359275"/>
          <p14:tracePt t="33870" x="3379788" y="4359275"/>
          <p14:tracePt t="33871" x="3371850" y="4359275"/>
          <p14:tracePt t="33872" x="3367088" y="4359275"/>
          <p14:tracePt t="33873" x="3359150" y="4359275"/>
          <p14:tracePt t="33874" x="3351213" y="4359275"/>
          <p14:tracePt t="33876" x="3343275" y="4359275"/>
          <p14:tracePt t="33876" x="3335338" y="4359275"/>
          <p14:tracePt t="33877" x="3330575" y="4359275"/>
          <p14:tracePt t="33878" x="3322638" y="4359275"/>
          <p14:tracePt t="33879" x="3319463" y="4359275"/>
          <p14:tracePt t="33880" x="3311525" y="4359275"/>
          <p14:tracePt t="33881" x="3303588" y="4359275"/>
          <p14:tracePt t="33882" x="3298825" y="4359275"/>
          <p14:tracePt t="33883" x="3290888" y="4359275"/>
          <p14:tracePt t="33884" x="3287713" y="4359275"/>
          <p14:tracePt t="33885" x="3282950" y="4359275"/>
          <p14:tracePt t="33886" x="3275013" y="4359275"/>
          <p14:tracePt t="33887" x="3271838" y="4359275"/>
          <p14:tracePt t="33889" x="3267075" y="4359275"/>
          <p14:tracePt t="33890" x="3263900" y="4359275"/>
          <p14:tracePt t="33891" x="3259138" y="4359275"/>
          <p14:tracePt t="33893" x="3255963" y="4359275"/>
          <p14:tracePt t="33893" x="3251200" y="4359275"/>
          <p14:tracePt t="33894" x="3246438" y="4359275"/>
          <p14:tracePt t="33895" x="3243263" y="4359275"/>
          <p14:tracePt t="33896" x="3238500" y="4359275"/>
          <p14:tracePt t="33897" x="3235325" y="4359275"/>
          <p14:tracePt t="33899" x="3230563" y="4359275"/>
          <p14:tracePt t="33901" x="3227388" y="4359275"/>
          <p14:tracePt t="33902" x="3222625" y="4359275"/>
          <p14:tracePt t="33904" x="3219450" y="4359275"/>
          <p14:tracePt t="33906" x="3214688" y="4359275"/>
          <p14:tracePt t="33909" x="3211513" y="4359275"/>
          <p14:tracePt t="33909" x="3206750" y="4359275"/>
          <p14:tracePt t="33911" x="3203575" y="4359275"/>
          <p14:tracePt t="33912" x="3198813" y="4359275"/>
          <p14:tracePt t="33914" x="3195638" y="4356100"/>
          <p14:tracePt t="33916" x="3190875" y="4356100"/>
          <p14:tracePt t="33919" x="3187700" y="4356100"/>
          <p14:tracePt t="33921" x="3182938" y="4356100"/>
          <p14:tracePt t="33922" x="3179763" y="4356100"/>
          <p14:tracePt t="33924" x="3175000" y="4356100"/>
          <p14:tracePt t="33926" x="3171825" y="4356100"/>
          <p14:tracePt t="33927" x="3167063" y="4356100"/>
          <p14:tracePt t="33928" x="3163888" y="4356100"/>
          <p14:tracePt t="33930" x="3159125" y="4356100"/>
          <p14:tracePt t="33931" x="3154363" y="4351338"/>
          <p14:tracePt t="33933" x="3151188" y="4351338"/>
          <p14:tracePt t="33935" x="3146425" y="4351338"/>
          <p14:tracePt t="33937" x="3143250" y="4351338"/>
          <p14:tracePt t="33937" x="3138488" y="4351338"/>
          <p14:tracePt t="33939" x="3135313" y="4351338"/>
          <p14:tracePt t="33941" x="3130550" y="4351338"/>
          <p14:tracePt t="33942" x="3127375" y="4351338"/>
          <p14:tracePt t="33943" x="3122613" y="4351338"/>
          <p14:tracePt t="33944" x="3119438" y="4351338"/>
          <p14:tracePt t="33944" x="3114675" y="4348163"/>
          <p14:tracePt t="33945" x="3111500" y="4348163"/>
          <p14:tracePt t="33947" x="3106738" y="4348163"/>
          <p14:tracePt t="33948" x="3103563" y="4348163"/>
          <p14:tracePt t="33949" x="3098800" y="4348163"/>
          <p14:tracePt t="33950" x="3095625" y="4348163"/>
          <p14:tracePt t="33951" x="3090863" y="4348163"/>
          <p14:tracePt t="33952" x="3087688" y="4348163"/>
          <p14:tracePt t="33953" x="3082925" y="4348163"/>
          <p14:tracePt t="33954" x="3079750" y="4348163"/>
          <p14:tracePt t="33955" x="3074988" y="4348163"/>
          <p14:tracePt t="33956" x="3067050" y="4348163"/>
          <p14:tracePt t="33957" x="3062288" y="4348163"/>
          <p14:tracePt t="33959" x="3054350" y="4343400"/>
          <p14:tracePt t="33960" x="3051175" y="4343400"/>
          <p14:tracePt t="33961" x="3046413" y="4343400"/>
          <p14:tracePt t="33962" x="3038475" y="4343400"/>
          <p14:tracePt t="33963" x="3035300" y="4343400"/>
          <p14:tracePt t="33964" x="3030538" y="4343400"/>
          <p14:tracePt t="33965" x="3022600" y="4343400"/>
          <p14:tracePt t="33966" x="3014663" y="4343400"/>
          <p14:tracePt t="33967" x="3011488" y="4343400"/>
          <p14:tracePt t="33968" x="3003550" y="4343400"/>
          <p14:tracePt t="33969" x="2998788" y="4343400"/>
          <p14:tracePt t="33970" x="2990850" y="4343400"/>
          <p14:tracePt t="33972" x="2982913" y="4343400"/>
          <p14:tracePt t="33972" x="2974975" y="4343400"/>
          <p14:tracePt t="33973" x="2970213" y="4343400"/>
          <p14:tracePt t="33974" x="2962275" y="4343400"/>
          <p14:tracePt t="33976" x="2954338" y="4343400"/>
          <p14:tracePt t="33976" x="2951163" y="4343400"/>
          <p14:tracePt t="33977" x="2938463" y="4343400"/>
          <p14:tracePt t="33978" x="2930525" y="4343400"/>
          <p14:tracePt t="33979" x="2922588" y="4340225"/>
          <p14:tracePt t="33980" x="2919413" y="4340225"/>
          <p14:tracePt t="33981" x="2906713" y="4340225"/>
          <p14:tracePt t="33982" x="2898775" y="4340225"/>
          <p14:tracePt t="33983" x="2890838" y="4340225"/>
          <p14:tracePt t="33984" x="2882900" y="4340225"/>
          <p14:tracePt t="33985" x="2874963" y="4340225"/>
          <p14:tracePt t="33986" x="2867025" y="4340225"/>
          <p14:tracePt t="33987" x="2851150" y="4340225"/>
          <p14:tracePt t="33988" x="2843213" y="4340225"/>
          <p14:tracePt t="33989" x="2835275" y="4340225"/>
          <p14:tracePt t="33990" x="2827338" y="4340225"/>
          <p14:tracePt t="33991" x="2814638" y="4340225"/>
          <p14:tracePt t="33993" x="2798763" y="4340225"/>
          <p14:tracePt t="33994" x="2790825" y="4340225"/>
          <p14:tracePt t="33994" x="2782888" y="4340225"/>
          <p14:tracePt t="33995" x="2770188" y="4340225"/>
          <p14:tracePt t="33996" x="2762250" y="4340225"/>
          <p14:tracePt t="33997" x="2751138" y="4340225"/>
          <p14:tracePt t="33998" x="2735263" y="4340225"/>
          <p14:tracePt t="33999" x="2727325" y="4340225"/>
          <p14:tracePt t="34000" x="2714625" y="4340225"/>
          <p14:tracePt t="34001" x="2698750" y="4340225"/>
          <p14:tracePt t="34003" x="2690813" y="4340225"/>
          <p14:tracePt t="34003" x="2678113" y="4340225"/>
          <p14:tracePt t="34004" x="2670175" y="4340225"/>
          <p14:tracePt t="34005" x="2654300" y="4340225"/>
          <p14:tracePt t="34006" x="2646363" y="4340225"/>
          <p14:tracePt t="34007" x="2627313" y="4340225"/>
          <p14:tracePt t="34009" x="2617788" y="4340225"/>
          <p14:tracePt t="34010" x="2606675" y="4335463"/>
          <p14:tracePt t="34010" x="2590800" y="4335463"/>
          <p14:tracePt t="34011" x="2578100" y="4335463"/>
          <p14:tracePt t="34012" x="2566988" y="4335463"/>
          <p14:tracePt t="34013" x="2551113" y="4335463"/>
          <p14:tracePt t="34014" x="2543175" y="4335463"/>
          <p14:tracePt t="34015" x="2530475" y="4335463"/>
          <p14:tracePt t="34016" x="2514600" y="4335463"/>
          <p14:tracePt t="34018" x="2490788" y="4335463"/>
          <p14:tracePt t="34019" x="2474913" y="4335463"/>
          <p14:tracePt t="34020" x="2466975" y="4335463"/>
          <p14:tracePt t="34021" x="2446338" y="4335463"/>
          <p14:tracePt t="34022" x="2433638" y="4335463"/>
          <p14:tracePt t="34023" x="2425700" y="4335463"/>
          <p14:tracePt t="34024" x="2409825" y="4335463"/>
          <p14:tracePt t="34026" x="2398713" y="4335463"/>
          <p14:tracePt t="34026" x="2386013" y="4335463"/>
          <p14:tracePt t="34027" x="2370138" y="4335463"/>
          <p14:tracePt t="34028" x="2359025" y="4335463"/>
          <p14:tracePt t="34029" x="2341563" y="4335463"/>
          <p14:tracePt t="34030" x="2330450" y="4335463"/>
          <p14:tracePt t="34031" x="2314575" y="4335463"/>
          <p14:tracePt t="34032" x="2301875" y="4327525"/>
          <p14:tracePt t="34034" x="2290763" y="4327525"/>
          <p14:tracePt t="34034" x="2274888" y="4327525"/>
          <p14:tracePt t="34035" x="2266950" y="4327525"/>
          <p14:tracePt t="34036" x="2254250" y="4327525"/>
          <p14:tracePt t="34037" x="2233613" y="4327525"/>
          <p14:tracePt t="34038" x="2225675" y="4327525"/>
          <p14:tracePt t="34039" x="2209800" y="4327525"/>
          <p14:tracePt t="34040" x="2198688" y="4327525"/>
          <p14:tracePt t="34041" x="2190750" y="4324350"/>
          <p14:tracePt t="34043" x="2170113" y="4324350"/>
          <p14:tracePt t="34043" x="2157413" y="4324350"/>
          <p14:tracePt t="34044" x="2149475" y="4324350"/>
          <p14:tracePt t="34045" x="2133600" y="4324350"/>
          <p14:tracePt t="34046" x="2125663" y="4324350"/>
          <p14:tracePt t="34047" x="2106613" y="4324350"/>
          <p14:tracePt t="34048" x="2098675" y="4324350"/>
          <p14:tracePt t="34050" x="2085975" y="4324350"/>
          <p14:tracePt t="34050" x="2078038" y="4324350"/>
          <p14:tracePt t="34051" x="2070100" y="4324350"/>
          <p14:tracePt t="34052" x="2054225" y="4324350"/>
          <p14:tracePt t="34053" x="2046288" y="4324350"/>
          <p14:tracePt t="34054" x="2038350" y="4319588"/>
          <p14:tracePt t="34055" x="2030413" y="4319588"/>
          <p14:tracePt t="34056" x="2022475" y="4319588"/>
          <p14:tracePt t="34057" x="2009775" y="4319588"/>
          <p14:tracePt t="34059" x="2001838" y="4319588"/>
          <p14:tracePt t="34060" x="1998663" y="4319588"/>
          <p14:tracePt t="34060" x="1990725" y="4319588"/>
          <p14:tracePt t="34061" x="1981200" y="4319588"/>
          <p14:tracePt t="34062" x="1978025" y="4319588"/>
          <p14:tracePt t="34063" x="1970088" y="4319588"/>
          <p14:tracePt t="34064" x="1965325" y="4316413"/>
          <p14:tracePt t="34066" x="1962150" y="4316413"/>
          <p14:tracePt t="34066" x="1957388" y="4316413"/>
          <p14:tracePt t="34067" x="1949450" y="4316413"/>
          <p14:tracePt t="34068" x="1946275" y="4316413"/>
          <p14:tracePt t="34069" x="1941513" y="4316413"/>
          <p14:tracePt t="34070" x="1938338" y="4316413"/>
          <p14:tracePt t="34072" x="1930400" y="4311650"/>
          <p14:tracePt t="34074" x="1925638" y="4311650"/>
          <p14:tracePt t="34077" x="1922463" y="4311650"/>
          <p14:tracePt t="34079" x="1917700" y="4311650"/>
          <p14:tracePt t="34082" x="1914525" y="4311650"/>
          <p14:tracePt t="34086" x="1909763" y="4311650"/>
          <p14:tracePt t="34087" x="1909763" y="4308475"/>
          <p14:tracePt t="34093" x="1906588" y="4308475"/>
          <p14:tracePt t="34180" x="1909763" y="4308475"/>
          <p14:tracePt t="34182" x="1914525" y="4308475"/>
          <p14:tracePt t="34185" x="1917700" y="4308475"/>
          <p14:tracePt t="34187" x="1922463" y="4308475"/>
          <p14:tracePt t="34191" x="1925638" y="4308475"/>
          <p14:tracePt t="34193" x="1930400" y="4308475"/>
          <p14:tracePt t="34195" x="1933575" y="4308475"/>
          <p14:tracePt t="34195" x="1938338" y="4308475"/>
          <p14:tracePt t="34196" x="1941513" y="4308475"/>
          <p14:tracePt t="34198" x="1946275" y="4308475"/>
          <p14:tracePt t="34199" x="1954213" y="4308475"/>
          <p14:tracePt t="34201" x="1957388" y="4308475"/>
          <p14:tracePt t="34201" x="1962150" y="4308475"/>
          <p14:tracePt t="34202" x="1965325" y="4308475"/>
          <p14:tracePt t="34203" x="1973263" y="4303713"/>
          <p14:tracePt t="34204" x="1978025" y="4303713"/>
          <p14:tracePt t="34206" x="1985963" y="4303713"/>
          <p14:tracePt t="34207" x="1990725" y="4303713"/>
          <p14:tracePt t="34209" x="1993900" y="4303713"/>
          <p14:tracePt t="34210" x="2001838" y="4303713"/>
          <p14:tracePt t="34210" x="2009775" y="4303713"/>
          <p14:tracePt t="34211" x="2014538" y="4303713"/>
          <p14:tracePt t="34212" x="2022475" y="4300538"/>
          <p14:tracePt t="34213" x="2030413" y="4300538"/>
          <p14:tracePt t="34214" x="2038350" y="4300538"/>
          <p14:tracePt t="34216" x="2046288" y="4300538"/>
          <p14:tracePt t="34216" x="2054225" y="4300538"/>
          <p14:tracePt t="34217" x="2062163" y="4300538"/>
          <p14:tracePt t="34218" x="2070100" y="4295775"/>
          <p14:tracePt t="34219" x="2085975" y="4295775"/>
          <p14:tracePt t="34220" x="2093913" y="4295775"/>
          <p14:tracePt t="34223" x="2109788" y="4295775"/>
          <p14:tracePt t="34223" x="2122488" y="4295775"/>
          <p14:tracePt t="34224" x="2133600" y="4291013"/>
          <p14:tracePt t="34226" x="2141538" y="4291013"/>
          <p14:tracePt t="34227" x="2154238" y="4291013"/>
          <p14:tracePt t="34227" x="2162175" y="4291013"/>
          <p14:tracePt t="34228" x="2170113" y="4291013"/>
          <p14:tracePt t="34229" x="2190750" y="4287838"/>
          <p14:tracePt t="34230" x="2198688" y="4287838"/>
          <p14:tracePt t="34231" x="2206625" y="4287838"/>
          <p14:tracePt t="34232" x="2222500" y="4283075"/>
          <p14:tracePt t="34233" x="2230438" y="4283075"/>
          <p14:tracePt t="34234" x="2249488" y="4283075"/>
          <p14:tracePt t="34235" x="2259013" y="4283075"/>
          <p14:tracePt t="34237" x="2270125" y="4279900"/>
          <p14:tracePt t="34238" x="2293938" y="4279900"/>
          <p14:tracePt t="34239" x="2306638" y="4279900"/>
          <p14:tracePt t="34240" x="2317750" y="4279900"/>
          <p14:tracePt t="34241" x="2330450" y="4275138"/>
          <p14:tracePt t="34243" x="2338388" y="4275138"/>
          <p14:tracePt t="34244" x="2351088" y="4275138"/>
          <p14:tracePt t="34244" x="2362200" y="4275138"/>
          <p14:tracePt t="34245" x="2374900" y="4271963"/>
          <p14:tracePt t="34247" x="2382838" y="4271963"/>
          <p14:tracePt t="34248" x="2393950" y="4271963"/>
          <p14:tracePt t="34248" x="2401888" y="4264025"/>
          <p14:tracePt t="34250" x="2417763" y="4264025"/>
          <p14:tracePt t="34250" x="2425700" y="4264025"/>
          <p14:tracePt t="34252" x="2433638" y="4259263"/>
          <p14:tracePt t="34252" x="2443163" y="4259263"/>
          <p14:tracePt t="34253" x="2451100" y="4259263"/>
          <p14:tracePt t="34254" x="2462213" y="4259263"/>
          <p14:tracePt t="34255" x="2474913" y="4259263"/>
          <p14:tracePt t="34257" x="2482850" y="4256088"/>
          <p14:tracePt t="34259" x="2506663" y="4256088"/>
          <p14:tracePt t="34260" x="2509838" y="4256088"/>
          <p14:tracePt t="34261" x="2517775" y="4256088"/>
          <p14:tracePt t="34262" x="2525713" y="4256088"/>
          <p14:tracePt t="34263" x="2535238" y="4251325"/>
          <p14:tracePt t="34264" x="2543175" y="4251325"/>
          <p14:tracePt t="34266" x="2546350" y="4251325"/>
          <p14:tracePt t="34266" x="2554288" y="4251325"/>
          <p14:tracePt t="34267" x="2559050" y="4248150"/>
          <p14:tracePt t="34268" x="2566988" y="4248150"/>
          <p14:tracePt t="34269" x="2574925" y="4248150"/>
          <p14:tracePt t="34270" x="2578100" y="4248150"/>
          <p14:tracePt t="34271" x="2582863" y="4243388"/>
          <p14:tracePt t="34272" x="2586038" y="4243388"/>
          <p14:tracePt t="34273" x="2590800" y="4243388"/>
          <p14:tracePt t="34274" x="2593975" y="4243388"/>
          <p14:tracePt t="34276" x="2598738" y="4243388"/>
          <p14:tracePt t="34277" x="2601913" y="4243388"/>
          <p14:tracePt t="34277" x="2606675" y="4243388"/>
          <p14:tracePt t="34278" x="2609850" y="4243388"/>
          <p14:tracePt t="34279" x="2617788" y="4243388"/>
          <p14:tracePt t="34281" x="2622550" y="4243388"/>
          <p14:tracePt t="34282" x="2627313" y="4243388"/>
          <p14:tracePt t="34284" x="2630488" y="4243388"/>
          <p14:tracePt t="34285" x="2635250" y="4240213"/>
          <p14:tracePt t="34289" x="2638425" y="4240213"/>
          <p14:tracePt t="34291" x="2638425" y="4235450"/>
          <p14:tracePt t="34292" x="2643188" y="4235450"/>
          <p14:tracePt t="34394" x="2638425" y="4235450"/>
          <p14:tracePt t="34407" x="2635250" y="4240213"/>
          <p14:tracePt t="34413" x="2630488" y="4240213"/>
          <p14:tracePt t="34513" x="2627313" y="4240213"/>
          <p14:tracePt t="34533" x="2627313" y="4243388"/>
          <p14:tracePt t="34805" x="2627313" y="4248150"/>
          <p14:tracePt t="34827" x="2622550" y="4251325"/>
          <p14:tracePt t="34833" x="2617788" y="4256088"/>
          <p14:tracePt t="34836" x="2617788" y="4259263"/>
          <p14:tracePt t="34838" x="2614613" y="4259263"/>
          <p14:tracePt t="34843" x="2609850" y="4264025"/>
          <p14:tracePt t="34847" x="2606675" y="4267200"/>
          <p14:tracePt t="34852" x="2601913" y="4271963"/>
          <p14:tracePt t="34857" x="2598738" y="4271963"/>
          <p14:tracePt t="34858" x="2598738" y="4275138"/>
          <p14:tracePt t="34865" x="2593975" y="4279900"/>
          <p14:tracePt t="34869" x="2590800" y="4279900"/>
          <p14:tracePt t="34872" x="2586038" y="4279900"/>
          <p14:tracePt t="34877" x="2582863" y="4279900"/>
          <p14:tracePt t="34881" x="2578100" y="4283075"/>
          <p14:tracePt t="34885" x="2574925" y="4283075"/>
          <p14:tracePt t="34889" x="2570163" y="4283075"/>
          <p14:tracePt t="34895" x="2566988" y="4283075"/>
          <p14:tracePt t="34899" x="2566988" y="4287838"/>
          <p14:tracePt t="34903" x="2562225" y="4287838"/>
          <p14:tracePt t="34913" x="2559050" y="4287838"/>
          <p14:tracePt t="34916" x="2559050" y="4291013"/>
          <p14:tracePt t="34921" x="2554288" y="4291013"/>
          <p14:tracePt t="34923" x="2551113" y="4291013"/>
          <p14:tracePt t="34926" x="2546350" y="4295775"/>
          <p14:tracePt t="34929" x="2538413" y="4295775"/>
          <p14:tracePt t="34930" x="2535238" y="4295775"/>
          <p14:tracePt t="34932" x="2530475" y="4300538"/>
          <p14:tracePt t="34933" x="2525713" y="4300538"/>
          <p14:tracePt t="34935" x="2522538" y="4300538"/>
          <p14:tracePt t="34936" x="2517775" y="4300538"/>
          <p14:tracePt t="34939" x="2514600" y="4303713"/>
          <p14:tracePt t="34942" x="2501900" y="4308475"/>
          <p14:tracePt t="34945" x="2493963" y="4308475"/>
          <p14:tracePt t="34946" x="2486025" y="4311650"/>
          <p14:tracePt t="34948" x="2478088" y="4311650"/>
          <p14:tracePt t="34949" x="2474913" y="4311650"/>
          <p14:tracePt t="34950" x="2470150" y="4311650"/>
          <p14:tracePt t="34953" x="2462213" y="4311650"/>
          <p14:tracePt t="34954" x="2459038" y="4316413"/>
          <p14:tracePt t="34955" x="2454275" y="4316413"/>
          <p14:tracePt t="34955" x="2451100" y="4316413"/>
          <p14:tracePt t="34956" x="2446338" y="4316413"/>
          <p14:tracePt t="34957" x="2443163" y="4316413"/>
          <p14:tracePt t="34959" x="2443163" y="4319588"/>
          <p14:tracePt t="34960" x="2438400" y="4319588"/>
          <p14:tracePt t="34961" x="2430463" y="4319588"/>
          <p14:tracePt t="34963" x="2425700" y="4319588"/>
          <p14:tracePt t="34964" x="2422525" y="4319588"/>
          <p14:tracePt t="34965" x="2417763" y="4319588"/>
          <p14:tracePt t="34967" x="2414588" y="4319588"/>
          <p14:tracePt t="34967" x="2409825" y="4324350"/>
          <p14:tracePt t="34968" x="2406650" y="4324350"/>
          <p14:tracePt t="34970" x="2401888" y="4324350"/>
          <p14:tracePt t="34972" x="2398713" y="4324350"/>
          <p14:tracePt t="34972" x="2393950" y="4324350"/>
          <p14:tracePt t="34973" x="2390775" y="4327525"/>
          <p14:tracePt t="34976" x="2386013" y="4327525"/>
          <p14:tracePt t="34977" x="2382838" y="4327525"/>
          <p14:tracePt t="34977" x="2378075" y="4327525"/>
          <p14:tracePt t="34978" x="2378075" y="4332288"/>
          <p14:tracePt t="34979" x="2374900" y="4332288"/>
          <p14:tracePt t="34980" x="2370138" y="4332288"/>
          <p14:tracePt t="34981" x="2366963" y="4332288"/>
          <p14:tracePt t="34982" x="2362200" y="4332288"/>
          <p14:tracePt t="34983" x="2359025" y="4332288"/>
          <p14:tracePt t="34984" x="2354263" y="4335463"/>
          <p14:tracePt t="34987" x="2351088" y="4340225"/>
          <p14:tracePt t="34988" x="2346325" y="4340225"/>
          <p14:tracePt t="34989" x="2341563" y="4340225"/>
          <p14:tracePt t="34990" x="2338388" y="4340225"/>
          <p14:tracePt t="34991" x="2333625" y="4340225"/>
          <p14:tracePt t="34992" x="2330450" y="4340225"/>
          <p14:tracePt t="34994" x="2325688" y="4343400"/>
          <p14:tracePt t="34994" x="2322513" y="4343400"/>
          <p14:tracePt t="34995" x="2317750" y="4343400"/>
          <p14:tracePt t="34997" x="2314575" y="4348163"/>
          <p14:tracePt t="34998" x="2309813" y="4348163"/>
          <p14:tracePt t="35001" x="2306638" y="4348163"/>
          <p14:tracePt t="35002" x="2301875" y="4351338"/>
          <p14:tracePt t="35004" x="2293938" y="4351338"/>
          <p14:tracePt t="35004" x="2290763" y="4351338"/>
          <p14:tracePt t="35005" x="2286000" y="4351338"/>
          <p14:tracePt t="35006" x="2282825" y="4351338"/>
          <p14:tracePt t="35007" x="2282825" y="4356100"/>
          <p14:tracePt t="35009" x="2274888" y="4356100"/>
          <p14:tracePt t="35010" x="2270125" y="4356100"/>
          <p14:tracePt t="35012" x="2266950" y="4356100"/>
          <p14:tracePt t="35015" x="2262188" y="4356100"/>
          <p14:tracePt t="35016" x="2259013" y="4356100"/>
          <p14:tracePt t="35017" x="2254250" y="4359275"/>
          <p14:tracePt t="35018" x="2249488" y="4359275"/>
          <p14:tracePt t="35019" x="2246313" y="4359275"/>
          <p14:tracePt t="35020" x="2241550" y="4359275"/>
          <p14:tracePt t="35022" x="2238375" y="4359275"/>
          <p14:tracePt t="35023" x="2233613" y="4359275"/>
          <p14:tracePt t="35024" x="2230438" y="4359275"/>
          <p14:tracePt t="35027" x="2225675" y="4359275"/>
          <p14:tracePt t="35028" x="2222500" y="4359275"/>
          <p14:tracePt t="35029" x="2222500" y="4364038"/>
          <p14:tracePt t="35030" x="2217738" y="4364038"/>
          <p14:tracePt t="35031" x="2214563" y="4364038"/>
          <p14:tracePt t="35032" x="2209800" y="4364038"/>
          <p14:tracePt t="35033" x="2206625" y="4364038"/>
          <p14:tracePt t="35035" x="2201863" y="4364038"/>
          <p14:tracePt t="35036" x="2198688" y="4364038"/>
          <p14:tracePt t="35037" x="2198688" y="4367213"/>
          <p14:tracePt t="35038" x="2193925" y="4367213"/>
          <p14:tracePt t="35039" x="2190750" y="4367213"/>
          <p14:tracePt t="35043" x="2185988" y="4367213"/>
          <p14:tracePt t="35044" x="2182813" y="4367213"/>
          <p14:tracePt t="35045" x="2178050" y="4367213"/>
          <p14:tracePt t="35046" x="2174875" y="4367213"/>
          <p14:tracePt t="35047" x="2174875" y="4371975"/>
          <p14:tracePt t="35048" x="2170113" y="4371975"/>
          <p14:tracePt t="35049" x="2165350" y="4371975"/>
          <p14:tracePt t="35051" x="2162175" y="4371975"/>
          <p14:tracePt t="35052" x="2157413" y="4371975"/>
          <p14:tracePt t="35054" x="2154238" y="4371975"/>
          <p14:tracePt t="35057" x="2149475" y="4371975"/>
          <p14:tracePt t="35059" x="2146300" y="4375150"/>
          <p14:tracePt t="35066" x="2141538" y="4379913"/>
          <p14:tracePt t="35067" x="2138363" y="4379913"/>
          <p14:tracePt t="35069" x="2133600" y="4379913"/>
          <p14:tracePt t="35071" x="2130425" y="4379913"/>
          <p14:tracePt t="35074" x="2125663" y="4379913"/>
          <p14:tracePt t="35078" x="2122488" y="4379913"/>
          <p14:tracePt t="35080" x="2122488" y="4383088"/>
          <p14:tracePt t="35081" x="2117725" y="4383088"/>
          <p14:tracePt t="35082" x="2114550" y="4383088"/>
          <p14:tracePt t="35083" x="2109788" y="4383088"/>
          <p14:tracePt t="35086" x="2106613" y="4383088"/>
          <p14:tracePt t="35094" x="2098675" y="4387850"/>
          <p14:tracePt t="35096" x="2093913" y="4387850"/>
          <p14:tracePt t="35099" x="2093913" y="4392613"/>
          <p14:tracePt t="35099" x="2090738" y="4392613"/>
          <p14:tracePt t="35103" x="2085975" y="4392613"/>
          <p14:tracePt t="35104" x="2082800" y="4392613"/>
          <p14:tracePt t="35105" x="2078038" y="4392613"/>
          <p14:tracePt t="35106" x="2073275" y="4392613"/>
          <p14:tracePt t="35109" x="2070100" y="4392613"/>
          <p14:tracePt t="35111" x="2065338" y="4392613"/>
          <p14:tracePt t="35117" x="2062163" y="4392613"/>
          <p14:tracePt t="35117" x="2062163" y="4395788"/>
          <p14:tracePt t="35118" x="2057400" y="4395788"/>
          <p14:tracePt t="35121" x="2054225" y="4395788"/>
          <p14:tracePt t="35125" x="2049463" y="4395788"/>
          <p14:tracePt t="35128" x="2049463" y="4400550"/>
          <p14:tracePt t="35131" x="2046288" y="4400550"/>
          <p14:tracePt t="35131" x="2041525" y="4400550"/>
          <p14:tracePt t="35134" x="2038350" y="4400550"/>
          <p14:tracePt t="35136" x="2033588" y="4400550"/>
          <p14:tracePt t="35139" x="2030413" y="4400550"/>
          <p14:tracePt t="35141" x="2025650" y="4400550"/>
          <p14:tracePt t="35147" x="2022475" y="4400550"/>
          <p14:tracePt t="35147" x="2017713" y="4400550"/>
          <p14:tracePt t="35148" x="2017713" y="4403725"/>
          <p14:tracePt t="35149" x="2014538" y="4403725"/>
          <p14:tracePt t="35152" x="2009775" y="4403725"/>
          <p14:tracePt t="35155" x="2006600" y="4403725"/>
          <p14:tracePt t="35155" x="2006600" y="4408488"/>
          <p14:tracePt t="35157" x="2001838" y="4408488"/>
          <p14:tracePt t="35160" x="1998663" y="4408488"/>
          <p14:tracePt t="35160" x="1993900" y="4408488"/>
          <p14:tracePt t="35165" x="1990725" y="4408488"/>
          <p14:tracePt t="35167" x="1985963" y="4408488"/>
          <p14:tracePt t="35167" x="1985963" y="4411663"/>
          <p14:tracePt t="35172" x="1981200" y="4411663"/>
          <p14:tracePt t="35174" x="1978025" y="4411663"/>
          <p14:tracePt t="35177" x="1978025" y="4416425"/>
          <p14:tracePt t="35179" x="1973263" y="4416425"/>
          <p14:tracePt t="35183" x="1970088" y="4416425"/>
          <p14:tracePt t="35187" x="1970088" y="4419600"/>
          <p14:tracePt t="35189" x="1965325" y="4419600"/>
          <p14:tracePt t="35191" x="1962150" y="4419600"/>
          <p14:tracePt t="35194" x="1957388" y="4419600"/>
          <p14:tracePt t="35202" x="1954213" y="4419600"/>
          <p14:tracePt t="35204" x="1954213" y="4424363"/>
          <p14:tracePt t="35209" x="1949450" y="4424363"/>
          <p14:tracePt t="35211" x="1946275" y="4424363"/>
          <p14:tracePt t="35218" x="1941513" y="4424363"/>
          <p14:tracePt t="35222" x="1938338" y="4424363"/>
          <p14:tracePt t="35223" x="1933575" y="4424363"/>
          <p14:tracePt t="35226" x="1930400" y="4424363"/>
          <p14:tracePt t="35227" x="1930400" y="4427538"/>
          <p14:tracePt t="35228" x="1925638" y="4427538"/>
          <p14:tracePt t="35232" x="1922463" y="4427538"/>
          <p14:tracePt t="35234" x="1917700" y="4427538"/>
          <p14:tracePt t="35235" x="1914525" y="4427538"/>
          <p14:tracePt t="35238" x="1909763" y="4427538"/>
          <p14:tracePt t="35241" x="1906588" y="4427538"/>
          <p14:tracePt t="35245" x="1901825" y="4427538"/>
          <p14:tracePt t="35246" x="1901825" y="4432300"/>
          <p14:tracePt t="35247" x="1898650" y="4432300"/>
          <p14:tracePt t="35248" x="1893888" y="4432300"/>
          <p14:tracePt t="35250" x="1889125" y="4432300"/>
          <p14:tracePt t="35252" x="1885950" y="4432300"/>
          <p14:tracePt t="35254" x="1881188" y="4432300"/>
          <p14:tracePt t="35257" x="1878013" y="4432300"/>
          <p14:tracePt t="35259" x="1873250" y="4435475"/>
          <p14:tracePt t="35262" x="1870075" y="4435475"/>
          <p14:tracePt t="35265" x="1865313" y="4435475"/>
          <p14:tracePt t="35267" x="1862138" y="4435475"/>
          <p14:tracePt t="35272" x="1857375" y="4435475"/>
          <p14:tracePt t="35274" x="1854200" y="4435475"/>
          <p14:tracePt t="35274" x="1854200" y="4440238"/>
          <p14:tracePt t="35276" x="1849438" y="4440238"/>
          <p14:tracePt t="35277" x="1846263" y="4440238"/>
          <p14:tracePt t="35280" x="1841500" y="4440238"/>
          <p14:tracePt t="35283" x="1838325" y="4440238"/>
          <p14:tracePt t="35285" x="1833563" y="4440238"/>
          <p14:tracePt t="35287" x="1830388" y="4440238"/>
          <p14:tracePt t="35289" x="1825625" y="4440238"/>
          <p14:tracePt t="35293" x="1822450" y="4440238"/>
          <p14:tracePt t="35297" x="1817688" y="4440238"/>
          <p14:tracePt t="35300" x="1814513" y="4440238"/>
          <p14:tracePt t="35303" x="1809750" y="4440238"/>
          <p14:tracePt t="35306" x="1804988" y="4440238"/>
          <p14:tracePt t="35308" x="1801813" y="4440238"/>
          <p14:tracePt t="35311" x="1797050" y="4440238"/>
          <p14:tracePt t="35316" x="1793875" y="4440238"/>
          <p14:tracePt t="35319" x="1789113" y="4440238"/>
          <p14:tracePt t="35322" x="1785938" y="4440238"/>
          <p14:tracePt t="35325" x="1781175" y="4440238"/>
          <p14:tracePt t="35333" x="1778000" y="4440238"/>
          <p14:tracePt t="35336" x="1773238" y="4440238"/>
          <p14:tracePt t="35341" x="1770063" y="4440238"/>
          <p14:tracePt t="35346" x="1765300" y="4440238"/>
          <p14:tracePt t="35353" x="1762125" y="4440238"/>
          <p14:tracePt t="35366" x="1757363" y="4440238"/>
          <p14:tracePt t="35898" x="1762125" y="4440238"/>
          <p14:tracePt t="36020" x="1765300" y="4440238"/>
          <p14:tracePt t="36028" x="1770063" y="4440238"/>
          <p14:tracePt t="36031" x="1770063" y="4435475"/>
          <p14:tracePt t="36036" x="1773238" y="4432300"/>
          <p14:tracePt t="36039" x="1778000" y="4432300"/>
          <p14:tracePt t="36041" x="1778000" y="4427538"/>
          <p14:tracePt t="36044" x="1781175" y="4427538"/>
          <p14:tracePt t="36049" x="1785938" y="4424363"/>
          <p14:tracePt t="36054" x="1789113" y="4424363"/>
          <p14:tracePt t="36059" x="1793875" y="4419600"/>
          <p14:tracePt t="36064" x="1797050" y="4419600"/>
          <p14:tracePt t="36071" x="1801813" y="4419600"/>
          <p14:tracePt t="36080" x="1801813" y="4416425"/>
          <p14:tracePt t="36186" x="1804988" y="4416425"/>
          <p14:tracePt t="36195" x="1809750" y="4416425"/>
          <p14:tracePt t="36198" x="1814513" y="4416425"/>
          <p14:tracePt t="36201" x="1817688" y="4416425"/>
          <p14:tracePt t="36204" x="1822450" y="4416425"/>
          <p14:tracePt t="36206" x="1825625" y="4416425"/>
          <p14:tracePt t="36208" x="1833563" y="4411663"/>
          <p14:tracePt t="36209" x="1838325" y="4411663"/>
          <p14:tracePt t="36212" x="1846263" y="4408488"/>
          <p14:tracePt t="36213" x="1849438" y="4408488"/>
          <p14:tracePt t="36214" x="1854200" y="4408488"/>
          <p14:tracePt t="36217" x="1862138" y="4408488"/>
          <p14:tracePt t="36219" x="1865313" y="4408488"/>
          <p14:tracePt t="36220" x="1870075" y="4408488"/>
          <p14:tracePt t="36220" x="1873250" y="4408488"/>
          <p14:tracePt t="36223" x="1885950" y="4408488"/>
          <p14:tracePt t="36224" x="1889125" y="4408488"/>
          <p14:tracePt t="36226" x="1901825" y="4408488"/>
          <p14:tracePt t="36227" x="1906588" y="4408488"/>
          <p14:tracePt t="36229" x="1909763" y="4408488"/>
          <p14:tracePt t="36230" x="1914525" y="4408488"/>
          <p14:tracePt t="36231" x="1917700" y="4408488"/>
          <p14:tracePt t="36233" x="1925638" y="4408488"/>
          <p14:tracePt t="36233" x="1930400" y="4408488"/>
          <p14:tracePt t="36234" x="1933575" y="4408488"/>
          <p14:tracePt t="36236" x="1938338" y="4408488"/>
          <p14:tracePt t="36237" x="1946275" y="4408488"/>
          <p14:tracePt t="36237" x="1949450" y="4408488"/>
          <p14:tracePt t="36238" x="1954213" y="4403725"/>
          <p14:tracePt t="36239" x="1957388" y="4403725"/>
          <p14:tracePt t="36241" x="1965325" y="4403725"/>
          <p14:tracePt t="36243" x="1973263" y="4403725"/>
          <p14:tracePt t="36244" x="1978025" y="4403725"/>
          <p14:tracePt t="36245" x="1981200" y="4403725"/>
          <p14:tracePt t="36246" x="1990725" y="4403725"/>
          <p14:tracePt t="36247" x="1993900" y="4403725"/>
          <p14:tracePt t="36247" x="1998663" y="4403725"/>
          <p14:tracePt t="36248" x="2001838" y="4403725"/>
          <p14:tracePt t="36249" x="2009775" y="4403725"/>
          <p14:tracePt t="36250" x="2014538" y="4403725"/>
          <p14:tracePt t="36251" x="2017713" y="4403725"/>
          <p14:tracePt t="36253" x="2025650" y="4403725"/>
          <p14:tracePt t="36254" x="2030413" y="4403725"/>
          <p14:tracePt t="36255" x="2033588" y="4403725"/>
          <p14:tracePt t="36256" x="2041525" y="4403725"/>
          <p14:tracePt t="36257" x="2046288" y="4403725"/>
          <p14:tracePt t="36258" x="2049463" y="4403725"/>
          <p14:tracePt t="36260" x="2054225" y="4403725"/>
          <p14:tracePt t="36260" x="2062163" y="4403725"/>
          <p14:tracePt t="36261" x="2065338" y="4403725"/>
          <p14:tracePt t="36262" x="2070100" y="4403725"/>
          <p14:tracePt t="36263" x="2073275" y="4403725"/>
          <p14:tracePt t="36264" x="2078038" y="4403725"/>
          <p14:tracePt t="36266" x="2085975" y="4403725"/>
          <p14:tracePt t="36267" x="2090738" y="4403725"/>
          <p14:tracePt t="36268" x="2093913" y="4403725"/>
          <p14:tracePt t="36269" x="2098675" y="4403725"/>
          <p14:tracePt t="36270" x="2101850" y="4403725"/>
          <p14:tracePt t="36271" x="2106613" y="4403725"/>
          <p14:tracePt t="36272" x="2109788" y="4403725"/>
          <p14:tracePt t="36273" x="2114550" y="4403725"/>
          <p14:tracePt t="36274" x="2117725" y="4403725"/>
          <p14:tracePt t="36276" x="2122488" y="4403725"/>
          <p14:tracePt t="36277" x="2125663" y="4403725"/>
          <p14:tracePt t="36279" x="2130425" y="4403725"/>
          <p14:tracePt t="36279" x="2133600" y="4403725"/>
          <p14:tracePt t="36281" x="2138363" y="4408488"/>
          <p14:tracePt t="36281" x="2141538" y="4408488"/>
          <p14:tracePt t="36282" x="2146300" y="4408488"/>
          <p14:tracePt t="36284" x="2149475" y="4408488"/>
          <p14:tracePt t="36285" x="2154238" y="4408488"/>
          <p14:tracePt t="36286" x="2157413" y="4408488"/>
          <p14:tracePt t="36287" x="2162175" y="4408488"/>
          <p14:tracePt t="36289" x="2165350" y="4408488"/>
          <p14:tracePt t="36290" x="2170113" y="4408488"/>
          <p14:tracePt t="36291" x="2174875" y="4411663"/>
          <p14:tracePt t="36293" x="2178050" y="4411663"/>
          <p14:tracePt t="36294" x="2182813" y="4411663"/>
          <p14:tracePt t="36295" x="2185988" y="4411663"/>
          <p14:tracePt t="36296" x="2190750" y="4411663"/>
          <p14:tracePt t="36297" x="2193925" y="4411663"/>
          <p14:tracePt t="36298" x="2198688" y="4416425"/>
          <p14:tracePt t="36299" x="2201863" y="4416425"/>
          <p14:tracePt t="36301" x="2206625" y="4416425"/>
          <p14:tracePt t="36302" x="2209800" y="4416425"/>
          <p14:tracePt t="36304" x="2214563" y="4419600"/>
          <p14:tracePt t="36305" x="2217738" y="4419600"/>
          <p14:tracePt t="36306" x="2222500" y="4419600"/>
          <p14:tracePt t="36308" x="2225675" y="4419600"/>
          <p14:tracePt t="36310" x="2230438" y="4424363"/>
          <p14:tracePt t="36311" x="2233613" y="4424363"/>
          <p14:tracePt t="36312" x="2238375" y="4424363"/>
          <p14:tracePt t="36314" x="2241550" y="4424363"/>
          <p14:tracePt t="36316" x="2246313" y="4424363"/>
          <p14:tracePt t="36319" x="2249488" y="4424363"/>
          <p14:tracePt t="36322" x="2254250" y="4424363"/>
          <p14:tracePt t="36322" x="2259013" y="4424363"/>
          <p14:tracePt t="36325" x="2259013" y="4427538"/>
          <p14:tracePt t="36326" x="2262188" y="4427538"/>
          <p14:tracePt t="36327" x="2266950" y="4427538"/>
          <p14:tracePt t="36329" x="2270125" y="4427538"/>
          <p14:tracePt t="36331" x="2274888" y="4427538"/>
          <p14:tracePt t="36335" x="2278063" y="4427538"/>
          <p14:tracePt t="36338" x="2282825" y="4427538"/>
          <p14:tracePt t="36343" x="2286000" y="4427538"/>
          <p14:tracePt t="36349" x="2290763" y="4427538"/>
          <p14:tracePt t="36355" x="2293938" y="4427538"/>
          <p14:tracePt t="36356" x="2293938" y="4432300"/>
          <p14:tracePt t="36368" x="2298700" y="4432300"/>
          <p14:tracePt t="36383" x="2301875" y="4432300"/>
          <p14:tracePt t="36390" x="2306638" y="4432300"/>
          <p14:tracePt t="36393" x="2309813" y="4432300"/>
          <p14:tracePt t="36397" x="2314575" y="4432300"/>
          <p14:tracePt t="36399" x="2317750" y="4432300"/>
          <p14:tracePt t="36402" x="2322513" y="4432300"/>
          <p14:tracePt t="36403" x="2325688" y="4432300"/>
          <p14:tracePt t="36403" x="2325688" y="4427538"/>
          <p14:tracePt t="36405" x="2330450" y="4427538"/>
          <p14:tracePt t="36407" x="2333625" y="4427538"/>
          <p14:tracePt t="36409" x="2341563" y="4427538"/>
          <p14:tracePt t="36412" x="2346325" y="4424363"/>
          <p14:tracePt t="36412" x="2351088" y="4424363"/>
          <p14:tracePt t="36414" x="2354263" y="4424363"/>
          <p14:tracePt t="36414" x="2359025" y="4424363"/>
          <p14:tracePt t="36415" x="2362200" y="4424363"/>
          <p14:tracePt t="36416" x="2362200" y="4419600"/>
          <p14:tracePt t="36417" x="2366963" y="4419600"/>
          <p14:tracePt t="36419" x="2370138" y="4419600"/>
          <p14:tracePt t="36420" x="2374900" y="4419600"/>
          <p14:tracePt t="36421" x="2378075" y="4419600"/>
          <p14:tracePt t="36422" x="2382838" y="4416425"/>
          <p14:tracePt t="36423" x="2386013" y="4416425"/>
          <p14:tracePt t="36425" x="2390775" y="4416425"/>
          <p14:tracePt t="36426" x="2393950" y="4416425"/>
          <p14:tracePt t="36427" x="2398713" y="4416425"/>
          <p14:tracePt t="36427" x="2406650" y="4411663"/>
          <p14:tracePt t="36428" x="2409825" y="4411663"/>
          <p14:tracePt t="36430" x="2414588" y="4411663"/>
          <p14:tracePt t="36431" x="2417763" y="4411663"/>
          <p14:tracePt t="36432" x="2422525" y="4411663"/>
          <p14:tracePt t="36433" x="2425700" y="4408488"/>
          <p14:tracePt t="36434" x="2430463" y="4408488"/>
          <p14:tracePt t="36435" x="2433638" y="4408488"/>
          <p14:tracePt t="36436" x="2438400" y="4408488"/>
          <p14:tracePt t="36437" x="2443163" y="4403725"/>
          <p14:tracePt t="36438" x="2446338" y="4403725"/>
          <p14:tracePt t="36439" x="2451100" y="4403725"/>
          <p14:tracePt t="36441" x="2454275" y="4403725"/>
          <p14:tracePt t="36443" x="2459038" y="4403725"/>
          <p14:tracePt t="36443" x="2466975" y="4403725"/>
          <p14:tracePt t="36444" x="2470150" y="4400550"/>
          <p14:tracePt t="36445" x="2474913" y="4400550"/>
          <p14:tracePt t="36446" x="2478088" y="4400550"/>
          <p14:tracePt t="36447" x="2482850" y="4400550"/>
          <p14:tracePt t="36448" x="2486025" y="4400550"/>
          <p14:tracePt t="36449" x="2490788" y="4400550"/>
          <p14:tracePt t="36450" x="2493963" y="4400550"/>
          <p14:tracePt t="36451" x="2498725" y="4400550"/>
          <p14:tracePt t="36452" x="2501900" y="4400550"/>
          <p14:tracePt t="36455" x="2506663" y="4400550"/>
          <p14:tracePt t="36456" x="2509838" y="4400550"/>
          <p14:tracePt t="36457" x="2514600" y="4400550"/>
          <p14:tracePt t="36458" x="2517775" y="4400550"/>
          <p14:tracePt t="36459" x="2522538" y="4400550"/>
          <p14:tracePt t="36460" x="2525713" y="4400550"/>
          <p14:tracePt t="36461" x="2525713" y="4395788"/>
          <p14:tracePt t="36462" x="2530475" y="4395788"/>
          <p14:tracePt t="36464" x="2535238" y="4395788"/>
          <p14:tracePt t="36466" x="2538413" y="4395788"/>
          <p14:tracePt t="36468" x="2543175" y="4395788"/>
          <p14:tracePt t="36470" x="2546350" y="4395788"/>
          <p14:tracePt t="36472" x="2551113" y="4392613"/>
          <p14:tracePt t="36474" x="2554288" y="4392613"/>
          <p14:tracePt t="36477" x="2559050" y="4392613"/>
          <p14:tracePt t="36479" x="2562225" y="4392613"/>
          <p14:tracePt t="36481" x="2566988" y="4392613"/>
          <p14:tracePt t="36485" x="2570163" y="4392613"/>
          <p14:tracePt t="36487" x="2574925" y="4392613"/>
          <p14:tracePt t="36489" x="2578100" y="4392613"/>
          <p14:tracePt t="36493" x="2582863" y="4392613"/>
          <p14:tracePt t="36499" x="2586038" y="4392613"/>
          <p14:tracePt t="36502" x="2590800" y="4392613"/>
          <p14:tracePt t="36504" x="2593975" y="4392613"/>
          <p14:tracePt t="36507" x="2598738" y="4392613"/>
          <p14:tracePt t="36509" x="2601913" y="4392613"/>
          <p14:tracePt t="36513" x="2606675" y="4392613"/>
          <p14:tracePt t="36515" x="2609850" y="4392613"/>
          <p14:tracePt t="36518" x="2614613" y="4392613"/>
          <p14:tracePt t="36520" x="2617788" y="4392613"/>
          <p14:tracePt t="36523" x="2622550" y="4392613"/>
          <p14:tracePt t="36528" x="2627313" y="4392613"/>
          <p14:tracePt t="36532" x="2630488" y="4392613"/>
          <p14:tracePt t="36543" x="2635250" y="4392613"/>
          <p14:tracePt t="36573" x="2635250" y="4395788"/>
          <p14:tracePt t="36902" x="2635250" y="4392613"/>
          <p14:tracePt t="36987" x="2638425" y="4392613"/>
          <p14:tracePt t="36989" x="2643188" y="4392613"/>
          <p14:tracePt t="36992" x="2646363" y="4392613"/>
          <p14:tracePt t="36993" x="2651125" y="4392613"/>
          <p14:tracePt t="36996" x="2662238" y="4392613"/>
          <p14:tracePt t="36998" x="2667000" y="4392613"/>
          <p14:tracePt t="37000" x="2674938" y="4392613"/>
          <p14:tracePt t="37002" x="2682875" y="4392613"/>
          <p14:tracePt t="37003" x="2690813" y="4395788"/>
          <p14:tracePt t="37004" x="2693988" y="4395788"/>
          <p14:tracePt t="37007" x="2706688" y="4395788"/>
          <p14:tracePt t="37008" x="2719388" y="4395788"/>
          <p14:tracePt t="37011" x="2727325" y="4395788"/>
          <p14:tracePt t="37012" x="2735263" y="4395788"/>
          <p14:tracePt t="37014" x="2746375" y="4395788"/>
          <p14:tracePt t="37015" x="2754313" y="4395788"/>
          <p14:tracePt t="37016" x="2759075" y="4400550"/>
          <p14:tracePt t="37017" x="2774950" y="4400550"/>
          <p14:tracePt t="37019" x="2782888" y="4400550"/>
          <p14:tracePt t="37021" x="2794000" y="4400550"/>
          <p14:tracePt t="37023" x="2806700" y="4400550"/>
          <p14:tracePt t="37024" x="2814638" y="4400550"/>
          <p14:tracePt t="37025" x="2822575" y="4400550"/>
          <p14:tracePt t="37026" x="2830513" y="4400550"/>
          <p14:tracePt t="37027" x="2843213" y="4400550"/>
          <p14:tracePt t="37028" x="2851150" y="4400550"/>
          <p14:tracePt t="37029" x="2854325" y="4400550"/>
          <p14:tracePt t="37030" x="2862263" y="4400550"/>
          <p14:tracePt t="37031" x="2867025" y="4400550"/>
          <p14:tracePt t="37032" x="2874963" y="4403725"/>
          <p14:tracePt t="37034" x="2878138" y="4403725"/>
          <p14:tracePt t="37034" x="2882900" y="4403725"/>
          <p14:tracePt t="37035" x="2895600" y="4403725"/>
          <p14:tracePt t="37037" x="2903538" y="4403725"/>
          <p14:tracePt t="37038" x="2911475" y="4403725"/>
          <p14:tracePt t="37039" x="2919413" y="4403725"/>
          <p14:tracePt t="37040" x="2922588" y="4403725"/>
          <p14:tracePt t="37041" x="2930525" y="4403725"/>
          <p14:tracePt t="37043" x="2935288" y="4403725"/>
          <p14:tracePt t="37043" x="2943225" y="4403725"/>
          <p14:tracePt t="37044" x="2951163" y="4403725"/>
          <p14:tracePt t="37046" x="2954338" y="4403725"/>
          <p14:tracePt t="37046" x="2959100" y="4403725"/>
          <p14:tracePt t="37047" x="2967038" y="4408488"/>
          <p14:tracePt t="37049" x="2970213" y="4408488"/>
          <p14:tracePt t="37050" x="2974975" y="4408488"/>
          <p14:tracePt t="37050" x="2982913" y="4408488"/>
          <p14:tracePt t="37051" x="2987675" y="4408488"/>
          <p14:tracePt t="37052" x="2990850" y="4408488"/>
          <p14:tracePt t="37053" x="2998788" y="4408488"/>
          <p14:tracePt t="37055" x="3003550" y="4408488"/>
          <p14:tracePt t="37056" x="3006725" y="4408488"/>
          <p14:tracePt t="37057" x="3014663" y="4408488"/>
          <p14:tracePt t="37058" x="3019425" y="4408488"/>
          <p14:tracePt t="37059" x="3022600" y="4408488"/>
          <p14:tracePt t="37060" x="3027363" y="4408488"/>
          <p14:tracePt t="37061" x="3030538" y="4408488"/>
          <p14:tracePt t="37062" x="3035300" y="4408488"/>
          <p14:tracePt t="37063" x="3038475" y="4408488"/>
          <p14:tracePt t="37066" x="3046413" y="4408488"/>
          <p14:tracePt t="37067" x="3051175" y="4408488"/>
          <p14:tracePt t="37068" x="3054350" y="4408488"/>
          <p14:tracePt t="37069" x="3059113" y="4408488"/>
          <p14:tracePt t="37070" x="3062288" y="4408488"/>
          <p14:tracePt t="37071" x="3067050" y="4408488"/>
          <p14:tracePt t="37072" x="3071813" y="4408488"/>
          <p14:tracePt t="37073" x="3074988" y="4408488"/>
          <p14:tracePt t="37076" x="3082925" y="4408488"/>
          <p14:tracePt t="37080" x="3087688" y="4408488"/>
          <p14:tracePt t="37082" x="3090863" y="4408488"/>
          <p14:tracePt t="37083" x="3095625" y="4408488"/>
          <p14:tracePt t="37086" x="3098800" y="4408488"/>
          <p14:tracePt t="37090" x="3103563" y="4408488"/>
          <p14:tracePt t="37096" x="3106738" y="4408488"/>
          <p14:tracePt t="37316" x="3111500" y="4408488"/>
          <p14:tracePt t="37320" x="3114675" y="4408488"/>
          <p14:tracePt t="37323" x="3119438" y="4408488"/>
          <p14:tracePt t="37325" x="3122613" y="4408488"/>
          <p14:tracePt t="37331" x="3127375" y="4408488"/>
          <p14:tracePt t="37335" x="3130550" y="4408488"/>
          <p14:tracePt t="37337" x="3135313" y="4408488"/>
          <p14:tracePt t="37339" x="3138488" y="4408488"/>
          <p14:tracePt t="37341" x="3143250" y="4408488"/>
          <p14:tracePt t="37345" x="3146425" y="4408488"/>
          <p14:tracePt t="37349" x="3151188" y="4408488"/>
          <p14:tracePt t="37350" x="3154363" y="4408488"/>
          <p14:tracePt t="37351" x="3159125" y="4408488"/>
          <p14:tracePt t="37352" x="3163888" y="4408488"/>
          <p14:tracePt t="37355" x="3167063" y="4403725"/>
          <p14:tracePt t="37358" x="3171825" y="4403725"/>
          <p14:tracePt t="37359" x="3175000" y="4403725"/>
          <p14:tracePt t="37360" x="3179763" y="4403725"/>
          <p14:tracePt t="37362" x="3182938" y="4403725"/>
          <p14:tracePt t="37363" x="3187700" y="4403725"/>
          <p14:tracePt t="37364" x="3190875" y="4403725"/>
          <p14:tracePt t="37365" x="3195638" y="4403725"/>
          <p14:tracePt t="37366" x="3198813" y="4403725"/>
          <p14:tracePt t="37367" x="3203575" y="4403725"/>
          <p14:tracePt t="37368" x="3206750" y="4403725"/>
          <p14:tracePt t="37370" x="3211513" y="4403725"/>
          <p14:tracePt t="37371" x="3214688" y="4403725"/>
          <p14:tracePt t="37372" x="3219450" y="4403725"/>
          <p14:tracePt t="37373" x="3222625" y="4403725"/>
          <p14:tracePt t="37374" x="3230563" y="4403725"/>
          <p14:tracePt t="37376" x="3238500" y="4403725"/>
          <p14:tracePt t="37378" x="3246438" y="4403725"/>
          <p14:tracePt t="37378" x="3251200" y="4403725"/>
          <p14:tracePt t="37379" x="3255963" y="4403725"/>
          <p14:tracePt t="37381" x="3263900" y="4403725"/>
          <p14:tracePt t="37382" x="3267075" y="4403725"/>
          <p14:tracePt t="37383" x="3271838" y="4403725"/>
          <p14:tracePt t="37384" x="3279775" y="4403725"/>
          <p14:tracePt t="37385" x="3282950" y="4403725"/>
          <p14:tracePt t="37386" x="3287713" y="4403725"/>
          <p14:tracePt t="37387" x="3290888" y="4403725"/>
          <p14:tracePt t="37388" x="3298825" y="4403725"/>
          <p14:tracePt t="37389" x="3303588" y="4403725"/>
          <p14:tracePt t="37390" x="3306763" y="4403725"/>
          <p14:tracePt t="37391" x="3314700" y="4403725"/>
          <p14:tracePt t="37393" x="3319463" y="4403725"/>
          <p14:tracePt t="37394" x="3322638" y="4403725"/>
          <p14:tracePt t="37395" x="3327400" y="4403725"/>
          <p14:tracePt t="37396" x="3330575" y="4403725"/>
          <p14:tracePt t="37397" x="3335338" y="4403725"/>
          <p14:tracePt t="37398" x="3338513" y="4403725"/>
          <p14:tracePt t="37399" x="3348038" y="4403725"/>
          <p14:tracePt t="37400" x="3351213" y="4403725"/>
          <p14:tracePt t="37401" x="3355975" y="4403725"/>
          <p14:tracePt t="37402" x="3359150" y="4403725"/>
          <p14:tracePt t="37403" x="3363913" y="4403725"/>
          <p14:tracePt t="37405" x="3367088" y="4403725"/>
          <p14:tracePt t="37409" x="3375025" y="4403725"/>
          <p14:tracePt t="37410" x="3379788" y="4403725"/>
          <p14:tracePt t="37411" x="3382963" y="4403725"/>
          <p14:tracePt t="37413" x="3387725" y="4403725"/>
          <p14:tracePt t="37414" x="3390900" y="4403725"/>
          <p14:tracePt t="37417" x="3395663" y="4403725"/>
          <p14:tracePt t="37419" x="3398838" y="4403725"/>
          <p14:tracePt t="37423" x="3403600" y="4403725"/>
          <p14:tracePt t="37469" x="3406775" y="4403725"/>
          <p14:tracePt t="37483" x="3411538" y="4403725"/>
          <p14:tracePt t="37486" x="3419475" y="4403725"/>
          <p14:tracePt t="37490" x="3427413" y="4403725"/>
          <p14:tracePt t="37492" x="3435350" y="4403725"/>
          <p14:tracePt t="37494" x="3440113" y="4408488"/>
          <p14:tracePt t="37496" x="3443288" y="4408488"/>
          <p14:tracePt t="37498" x="3448050" y="4408488"/>
          <p14:tracePt t="37500" x="3451225" y="4408488"/>
          <p14:tracePt t="37502" x="3459163" y="4408488"/>
          <p14:tracePt t="37507" x="3479800" y="4408488"/>
          <p14:tracePt t="37508" x="3487738" y="4408488"/>
          <p14:tracePt t="37509" x="3490913" y="4408488"/>
          <p14:tracePt t="37511" x="3495675" y="4408488"/>
          <p14:tracePt t="37512" x="3498850" y="4411663"/>
          <p14:tracePt t="37512" x="3503613" y="4411663"/>
          <p14:tracePt t="37513" x="3506788" y="4411663"/>
          <p14:tracePt t="37515" x="3511550" y="4411663"/>
          <p14:tracePt t="37516" x="3514725" y="4411663"/>
          <p14:tracePt t="37517" x="3524250" y="4411663"/>
          <p14:tracePt t="37518" x="3532188" y="4411663"/>
          <p14:tracePt t="37519" x="3535363" y="4416425"/>
          <p14:tracePt t="37520" x="3540125" y="4416425"/>
          <p14:tracePt t="37521" x="3548063" y="4416425"/>
          <p14:tracePt t="37523" x="3551238" y="4416425"/>
          <p14:tracePt t="37524" x="3556000" y="4416425"/>
          <p14:tracePt t="37526" x="3563938" y="4416425"/>
          <p14:tracePt t="37528" x="3567113" y="4416425"/>
          <p14:tracePt t="37529" x="3571875" y="4416425"/>
          <p14:tracePt t="37530" x="3575050" y="4416425"/>
          <p14:tracePt t="37531" x="3587750" y="4419600"/>
          <p14:tracePt t="37532" x="3590925" y="4419600"/>
          <p14:tracePt t="37533" x="3595688" y="4419600"/>
          <p14:tracePt t="37534" x="3598863" y="4419600"/>
          <p14:tracePt t="37535" x="3603625" y="4419600"/>
          <p14:tracePt t="37536" x="3606800" y="4419600"/>
          <p14:tracePt t="37537" x="3616325" y="4419600"/>
          <p14:tracePt t="37538" x="3619500" y="4419600"/>
          <p14:tracePt t="37539" x="3627438" y="4419600"/>
          <p14:tracePt t="37540" x="3632200" y="4419600"/>
          <p14:tracePt t="37541" x="3635375" y="4419600"/>
          <p14:tracePt t="37543" x="3643313" y="4419600"/>
          <p14:tracePt t="37543" x="3648075" y="4419600"/>
          <p14:tracePt t="37544" x="3656013" y="4419600"/>
          <p14:tracePt t="37545" x="3659188" y="4424363"/>
          <p14:tracePt t="37547" x="3667125" y="4424363"/>
          <p14:tracePt t="37548" x="3671888" y="4424363"/>
          <p14:tracePt t="37549" x="3679825" y="4424363"/>
          <p14:tracePt t="37550" x="3683000" y="4424363"/>
          <p14:tracePt t="37551" x="3687763" y="4424363"/>
          <p14:tracePt t="37552" x="3695700" y="4427538"/>
          <p14:tracePt t="37553" x="3703638" y="4427538"/>
          <p14:tracePt t="37554" x="3708400" y="4427538"/>
          <p14:tracePt t="37555" x="3711575" y="4427538"/>
          <p14:tracePt t="37556" x="3716338" y="4427538"/>
          <p14:tracePt t="37557" x="3724275" y="4427538"/>
          <p14:tracePt t="37558" x="3727450" y="4427538"/>
          <p14:tracePt t="37560" x="3732213" y="4432300"/>
          <p14:tracePt t="37561" x="3740150" y="4432300"/>
          <p14:tracePt t="37562" x="3743325" y="4432300"/>
          <p14:tracePt t="37563" x="3751263" y="4432300"/>
          <p14:tracePt t="37565" x="3756025" y="4432300"/>
          <p14:tracePt t="37566" x="3759200" y="4432300"/>
          <p14:tracePt t="37566" x="3763963" y="4432300"/>
          <p14:tracePt t="37567" x="3767138" y="4432300"/>
          <p14:tracePt t="37568" x="3771900" y="4432300"/>
          <p14:tracePt t="37569" x="3775075" y="4432300"/>
          <p14:tracePt t="37570" x="3779838" y="4432300"/>
          <p14:tracePt t="37571" x="3783013" y="4435475"/>
          <p14:tracePt t="37574" x="3787775" y="4435475"/>
          <p14:tracePt t="37576" x="3790950" y="4435475"/>
          <p14:tracePt t="37577" x="3795713" y="4435475"/>
          <p14:tracePt t="37579" x="3800475" y="4435475"/>
          <p14:tracePt t="37582" x="3803650" y="4435475"/>
          <p14:tracePt t="37583" x="3808413" y="4435475"/>
          <p14:tracePt t="37587" x="3811588" y="4435475"/>
          <p14:tracePt t="37595" x="3816350" y="4435475"/>
          <p14:tracePt t="37710" x="3811588" y="4435475"/>
          <p14:tracePt t="37736" x="3808413" y="4435475"/>
          <p14:tracePt t="38072" x="3803650" y="4435475"/>
          <p14:tracePt t="38075" x="3800475" y="4435475"/>
          <p14:tracePt t="38082" x="3795713" y="4435475"/>
          <p14:tracePt t="38094" x="3783013" y="4435475"/>
          <p14:tracePt t="38099" x="3775075" y="4435475"/>
          <p14:tracePt t="38101" x="3771900" y="4435475"/>
          <p14:tracePt t="38103" x="3767138" y="4435475"/>
          <p14:tracePt t="38105" x="3763963" y="4435475"/>
          <p14:tracePt t="38108" x="3759200" y="4435475"/>
          <p14:tracePt t="38111" x="3751263" y="4435475"/>
          <p14:tracePt t="38114" x="3748088" y="4435475"/>
          <p14:tracePt t="38116" x="3743325" y="4435475"/>
          <p14:tracePt t="38118" x="3740150" y="4435475"/>
          <p14:tracePt t="38119" x="3735388" y="4435475"/>
          <p14:tracePt t="38121" x="3732213" y="4435475"/>
          <p14:tracePt t="38123" x="3724275" y="4435475"/>
          <p14:tracePt t="38125" x="3719513" y="4435475"/>
          <p14:tracePt t="38127" x="3716338" y="4435475"/>
          <p14:tracePt t="38130" x="3708400" y="4435475"/>
          <p14:tracePt t="38133" x="3703638" y="4435475"/>
          <p14:tracePt t="38135" x="3698875" y="4435475"/>
          <p14:tracePt t="38136" x="3695700" y="4435475"/>
          <p14:tracePt t="38138" x="3690938" y="4435475"/>
          <p14:tracePt t="38139" x="3687763" y="4432300"/>
          <p14:tracePt t="38140" x="3683000" y="4432300"/>
          <p14:tracePt t="38144" x="3679825" y="4432300"/>
          <p14:tracePt t="38145" x="3675063" y="4432300"/>
          <p14:tracePt t="38145" x="3671888" y="4432300"/>
          <p14:tracePt t="38148" x="3667125" y="4432300"/>
          <p14:tracePt t="38154" x="3663950" y="4432300"/>
          <p14:tracePt t="38163" x="3659188" y="4432300"/>
          <p14:tracePt t="38198" x="3659188" y="4427538"/>
          <p14:tracePt t="38370" x="3656013" y="4427538"/>
          <p14:tracePt t="38374" x="3651250" y="4427538"/>
          <p14:tracePt t="38379" x="3648075" y="4427538"/>
          <p14:tracePt t="38382" x="3643313" y="4432300"/>
          <p14:tracePt t="38384" x="3640138" y="4432300"/>
          <p14:tracePt t="38386" x="3635375" y="4432300"/>
          <p14:tracePt t="38388" x="3632200" y="4432300"/>
          <p14:tracePt t="38391" x="3627438" y="4432300"/>
          <p14:tracePt t="38395" x="3627438" y="4435475"/>
          <p14:tracePt t="38397" x="3624263" y="4435475"/>
          <p14:tracePt t="38399" x="3619500" y="4435475"/>
          <p14:tracePt t="38400" x="3616325" y="4440238"/>
          <p14:tracePt t="38402" x="3611563" y="4440238"/>
          <p14:tracePt t="38404" x="3606800" y="4440238"/>
          <p14:tracePt t="38406" x="3603625" y="4443413"/>
          <p14:tracePt t="38409" x="3598863" y="4443413"/>
          <p14:tracePt t="38411" x="3590925" y="4443413"/>
          <p14:tracePt t="38413" x="3587750" y="4448175"/>
          <p14:tracePt t="38417" x="3582988" y="4448175"/>
          <p14:tracePt t="38419" x="3579813" y="4448175"/>
          <p14:tracePt t="38420" x="3575050" y="4451350"/>
          <p14:tracePt t="38424" x="3571875" y="4451350"/>
          <p14:tracePt t="38427" x="3567113" y="4451350"/>
          <p14:tracePt t="38430" x="3563938" y="4451350"/>
          <p14:tracePt t="38432" x="3559175" y="4451350"/>
          <p14:tracePt t="38435" x="3556000" y="4451350"/>
          <p14:tracePt t="38439" x="3556000" y="4456113"/>
          <p14:tracePt t="38440" x="3551238" y="4456113"/>
          <p14:tracePt t="38443" x="3548063" y="4456113"/>
          <p14:tracePt t="38452" x="3543300" y="4456113"/>
          <p14:tracePt t="38455" x="3540125" y="4456113"/>
          <p14:tracePt t="38458" x="3535363" y="4456113"/>
          <p14:tracePt t="38462" x="3532188" y="4456113"/>
          <p14:tracePt t="38466" x="3527425" y="4456113"/>
          <p14:tracePt t="38476" x="3524250" y="4456113"/>
          <p14:tracePt t="38486" x="3519488" y="4456113"/>
          <p14:tracePt t="38650" x="3514725" y="4456113"/>
          <p14:tracePt t="38772" x="3511550" y="4456113"/>
          <p14:tracePt t="38776" x="3506788" y="4456113"/>
          <p14:tracePt t="38781" x="3503613" y="4456113"/>
          <p14:tracePt t="38786" x="3498850" y="4459288"/>
          <p14:tracePt t="38788" x="3495675" y="4459288"/>
          <p14:tracePt t="38790" x="3490913" y="4459288"/>
          <p14:tracePt t="38793" x="3487738" y="4459288"/>
          <p14:tracePt t="38795" x="3479800" y="4459288"/>
          <p14:tracePt t="38797" x="3479800" y="4464050"/>
          <p14:tracePt t="38798" x="3475038" y="4464050"/>
          <p14:tracePt t="38801" x="3471863" y="4464050"/>
          <p14:tracePt t="38803" x="3467100" y="4464050"/>
          <p14:tracePt t="38805" x="3463925" y="4464050"/>
          <p14:tracePt t="38810" x="3459163" y="4464050"/>
          <p14:tracePt t="38813" x="3455988" y="4464050"/>
          <p14:tracePt t="38814" x="3451225" y="4464050"/>
          <p14:tracePt t="38816" x="3448050" y="4467225"/>
          <p14:tracePt t="38818" x="3443288" y="4467225"/>
          <p14:tracePt t="38821" x="3440113" y="4467225"/>
          <p14:tracePt t="38825" x="3435350" y="4467225"/>
          <p14:tracePt t="38827" x="3430588" y="4467225"/>
          <p14:tracePt t="38832" x="3427413" y="4471988"/>
          <p14:tracePt t="38838" x="3422650" y="4471988"/>
          <p14:tracePt t="38894" x="3422650" y="4475163"/>
          <p14:tracePt t="38895" x="3419475" y="4475163"/>
          <p14:tracePt t="38898" x="3414713" y="4475163"/>
          <p14:tracePt t="38902" x="3411538" y="4475163"/>
          <p14:tracePt t="38904" x="3406775" y="4475163"/>
          <p14:tracePt t="38908" x="3403600" y="4475163"/>
          <p14:tracePt t="38911" x="3398838" y="4475163"/>
          <p14:tracePt t="38913" x="3395663" y="4475163"/>
          <p14:tracePt t="38916" x="3390900" y="4475163"/>
          <p14:tracePt t="38919" x="3387725" y="4475163"/>
          <p14:tracePt t="38920" x="3387725" y="4479925"/>
          <p14:tracePt t="38923" x="3382963" y="4479925"/>
          <p14:tracePt t="38931" x="3379788" y="4484688"/>
          <p14:tracePt t="38934" x="3375025" y="4484688"/>
          <p14:tracePt t="38937" x="3371850" y="4484688"/>
          <p14:tracePt t="38941" x="3367088" y="4484688"/>
          <p14:tracePt t="38944" x="3363913" y="4484688"/>
          <p14:tracePt t="38948" x="3359150" y="4484688"/>
          <p14:tracePt t="38951" x="3359150" y="4487863"/>
          <p14:tracePt t="38952" x="3355975" y="4487863"/>
          <p14:tracePt t="38956" x="3351213" y="4487863"/>
          <p14:tracePt t="38962" x="3348038" y="4487863"/>
          <p14:tracePt t="38995" x="3343275" y="4487863"/>
          <p14:tracePt t="39059" x="3343275" y="4492625"/>
          <p14:tracePt t="40508" x="3348038" y="4492625"/>
          <p14:tracePt t="40596" x="3351213" y="4492625"/>
          <p14:tracePt t="40796" x="3355975" y="4492625"/>
          <p14:tracePt t="40857" x="3351213" y="4492625"/>
          <p14:tracePt t="40871" x="3348038" y="4492625"/>
          <p14:tracePt t="40883" x="3348038" y="4487863"/>
          <p14:tracePt t="40930" x="3343275" y="4487863"/>
          <p14:tracePt t="40958" x="3338513" y="4487863"/>
          <p14:tracePt t="40963" x="3335338" y="4487863"/>
          <p14:tracePt t="40968" x="3330575" y="4487863"/>
          <p14:tracePt t="40975" x="3327400" y="4487863"/>
          <p14:tracePt t="40978" x="3327400" y="4484688"/>
          <p14:tracePt t="41218" x="3327400" y="4487863"/>
          <p14:tracePt t="42111" x="3330575" y="4487863"/>
          <p14:tracePt t="44094" x="3335338" y="4487863"/>
          <p14:tracePt t="44097" x="3343275" y="4487863"/>
          <p14:tracePt t="44099" x="3348038" y="4484688"/>
          <p14:tracePt t="44100" x="3355975" y="4484688"/>
          <p14:tracePt t="44102" x="3363913" y="4484688"/>
          <p14:tracePt t="44104" x="3375025" y="4479925"/>
          <p14:tracePt t="44106" x="3390900" y="4479925"/>
          <p14:tracePt t="44107" x="3403600" y="4475163"/>
          <p14:tracePt t="44111" x="3451225" y="4467225"/>
          <p14:tracePt t="44114" x="3503613" y="4456113"/>
          <p14:tracePt t="44117" x="3563938" y="4440238"/>
          <p14:tracePt t="44119" x="3632200" y="4432300"/>
          <p14:tracePt t="44122" x="3698875" y="4419600"/>
          <p14:tracePt t="44123" x="3727450" y="4411663"/>
          <p14:tracePt t="44124" x="3783013" y="4408488"/>
          <p14:tracePt t="44126" x="3819525" y="4400550"/>
          <p14:tracePt t="44129" x="3935413" y="4375150"/>
          <p14:tracePt t="44132" x="4068763" y="4359275"/>
          <p14:tracePt t="44133" x="4103688" y="4351338"/>
          <p14:tracePt t="44135" x="4184650" y="4340225"/>
          <p14:tracePt t="44138" x="4368800" y="4316413"/>
          <p14:tracePt t="44139" x="4411663" y="4308475"/>
          <p14:tracePt t="44140" x="4456113" y="4308475"/>
          <p14:tracePt t="44141" x="4516438" y="4300538"/>
          <p14:tracePt t="44142" x="4552950" y="4295775"/>
          <p14:tracePt t="44144" x="4595813" y="4287838"/>
          <p14:tracePt t="44144" x="4632325" y="4287838"/>
          <p14:tracePt t="44146" x="4676775" y="4283075"/>
          <p14:tracePt t="44146" x="4713288" y="4275138"/>
          <p14:tracePt t="44147" x="4764088" y="4271963"/>
          <p14:tracePt t="44148" x="4800600" y="4271963"/>
          <p14:tracePt t="44149" x="4837113" y="4264025"/>
          <p14:tracePt t="44150" x="4868863" y="4264025"/>
          <p14:tracePt t="44151" x="4913313" y="4259263"/>
          <p14:tracePt t="44152" x="4948238" y="4259263"/>
          <p14:tracePt t="44153" x="4976813" y="4251325"/>
          <p14:tracePt t="44154" x="5005388" y="4248150"/>
          <p14:tracePt t="44155" x="5029200" y="4248150"/>
          <p14:tracePt t="44156" x="5056188" y="4240213"/>
          <p14:tracePt t="44158" x="5100638" y="4240213"/>
          <p14:tracePt t="44158" x="5129213" y="4240213"/>
          <p14:tracePt t="44160" x="5149850" y="4235450"/>
          <p14:tracePt t="44160" x="5173663" y="4235450"/>
          <p14:tracePt t="44162" x="5237163" y="4235450"/>
          <p14:tracePt t="44163" x="5253038" y="4232275"/>
          <p14:tracePt t="44164" x="5281613" y="4232275"/>
          <p14:tracePt t="44165" x="5300663" y="4232275"/>
          <p14:tracePt t="44166" x="5321300" y="4232275"/>
          <p14:tracePt t="44167" x="5353050" y="4232275"/>
          <p14:tracePt t="44168" x="5373688" y="4232275"/>
          <p14:tracePt t="44169" x="5384800" y="4227513"/>
          <p14:tracePt t="44170" x="5405438" y="4227513"/>
          <p14:tracePt t="44171" x="5426075" y="4227513"/>
          <p14:tracePt t="44172" x="5449888" y="4227513"/>
          <p14:tracePt t="44174" x="5468938" y="4227513"/>
          <p14:tracePt t="44175" x="5500688" y="4227513"/>
          <p14:tracePt t="44177" x="5521325" y="4227513"/>
          <p14:tracePt t="44177" x="5541963" y="4227513"/>
          <p14:tracePt t="44178" x="5553075" y="4227513"/>
          <p14:tracePt t="44179" x="5573713" y="4224338"/>
          <p14:tracePt t="44180" x="5584825" y="4224338"/>
          <p14:tracePt t="44181" x="5605463" y="4224338"/>
          <p14:tracePt t="44182" x="5626100" y="4216400"/>
          <p14:tracePt t="44183" x="5637213" y="4216400"/>
          <p14:tracePt t="44184" x="5657850" y="4216400"/>
          <p14:tracePt t="44185" x="5673725" y="4216400"/>
          <p14:tracePt t="44186" x="5684838" y="4211638"/>
          <p14:tracePt t="44187" x="5710238" y="4211638"/>
          <p14:tracePt t="44188" x="5726113" y="4211638"/>
          <p14:tracePt t="44189" x="5745163" y="4208463"/>
          <p14:tracePt t="44190" x="5757863" y="4208463"/>
          <p14:tracePt t="44191" x="5773738" y="4208463"/>
          <p14:tracePt t="44192" x="5797550" y="4208463"/>
          <p14:tracePt t="44193" x="5813425" y="4203700"/>
          <p14:tracePt t="44194" x="5829300" y="4203700"/>
          <p14:tracePt t="44195" x="5849938" y="4203700"/>
          <p14:tracePt t="44196" x="5865813" y="4203700"/>
          <p14:tracePt t="44197" x="5889625" y="4203700"/>
          <p14:tracePt t="44198" x="5910263" y="4198938"/>
          <p14:tracePt t="44199" x="5929313" y="4198938"/>
          <p14:tracePt t="44200" x="5942013" y="4198938"/>
          <p14:tracePt t="44201" x="5962650" y="4198938"/>
          <p14:tracePt t="44202" x="5994400" y="4191000"/>
          <p14:tracePt t="44203" x="6010275" y="4191000"/>
          <p14:tracePt t="44204" x="6026150" y="4191000"/>
          <p14:tracePt t="44205" x="6045200" y="4191000"/>
          <p14:tracePt t="44206" x="6065838" y="4191000"/>
          <p14:tracePt t="44207" x="6097588" y="4191000"/>
          <p14:tracePt t="44208" x="6118225" y="4187825"/>
          <p14:tracePt t="44210" x="6137275" y="4187825"/>
          <p14:tracePt t="44211" x="6157913" y="4187825"/>
          <p14:tracePt t="44212" x="6173788" y="4187825"/>
          <p14:tracePt t="44212" x="6205538" y="4187825"/>
          <p14:tracePt t="44213" x="6226175" y="4187825"/>
          <p14:tracePt t="44214" x="6246813" y="4187825"/>
          <p14:tracePt t="44215" x="6273800" y="4183063"/>
          <p14:tracePt t="44216" x="6289675" y="4183063"/>
          <p14:tracePt t="44217" x="6318250" y="4183063"/>
          <p14:tracePt t="44218" x="6334125" y="4183063"/>
          <p14:tracePt t="44219" x="6362700" y="4183063"/>
          <p14:tracePt t="44221" x="6381750" y="4183063"/>
          <p14:tracePt t="44221" x="6397625" y="4183063"/>
          <p14:tracePt t="44222" x="6434138" y="4175125"/>
          <p14:tracePt t="44223" x="6454775" y="4175125"/>
          <p14:tracePt t="44224" x="6470650" y="4175125"/>
          <p14:tracePt t="44225" x="6489700" y="4175125"/>
          <p14:tracePt t="44227" x="6510338" y="4171950"/>
          <p14:tracePt t="44227" x="6538913" y="4171950"/>
          <p14:tracePt t="44228" x="6554788" y="4171950"/>
          <p14:tracePt t="44229" x="6573838" y="4171950"/>
          <p14:tracePt t="44230" x="6594475" y="4171950"/>
          <p14:tracePt t="44232" x="6615113" y="4167188"/>
          <p14:tracePt t="44232" x="6638925" y="4167188"/>
          <p14:tracePt t="44233" x="6657975" y="4167188"/>
          <p14:tracePt t="44234" x="6673850" y="4167188"/>
          <p14:tracePt t="44235" x="6694488" y="4164013"/>
          <p14:tracePt t="44236" x="6710363" y="4164013"/>
          <p14:tracePt t="44237" x="6731000" y="4164013"/>
          <p14:tracePt t="44238" x="6750050" y="4164013"/>
          <p14:tracePt t="44239" x="6770688" y="4164013"/>
          <p14:tracePt t="44240" x="6783388" y="4164013"/>
          <p14:tracePt t="44241" x="6802438" y="4164013"/>
          <p14:tracePt t="44242" x="6823075" y="4164013"/>
          <p14:tracePt t="44244" x="6838950" y="4164013"/>
          <p14:tracePt t="44245" x="6875463" y="4156075"/>
          <p14:tracePt t="44246" x="6886575" y="4156075"/>
          <p14:tracePt t="44247" x="6907213" y="4156075"/>
          <p14:tracePt t="44248" x="6926263" y="4156075"/>
          <p14:tracePt t="44249" x="6938963" y="4156075"/>
          <p14:tracePt t="44250" x="6954838" y="4156075"/>
          <p14:tracePt t="44252" x="6967538" y="4156075"/>
          <p14:tracePt t="44253" x="7007225" y="4156075"/>
          <p14:tracePt t="44254" x="7018338" y="4156075"/>
          <p14:tracePt t="44255" x="7034213" y="4156075"/>
          <p14:tracePt t="44256" x="7046913" y="4156075"/>
          <p14:tracePt t="44257" x="7067550" y="4156075"/>
          <p14:tracePt t="44258" x="7086600" y="4156075"/>
          <p14:tracePt t="44260" x="7099300" y="4156075"/>
          <p14:tracePt t="44261" x="7126288" y="4156075"/>
          <p14:tracePt t="44262" x="7138988" y="4156075"/>
          <p14:tracePt t="44263" x="7159625" y="4156075"/>
          <p14:tracePt t="44264" x="7167563" y="4156075"/>
          <p14:tracePt t="44265" x="7183438" y="4156075"/>
          <p14:tracePt t="44266" x="7194550" y="4156075"/>
          <p14:tracePt t="44268" x="7227888" y="4156075"/>
          <p14:tracePt t="44269" x="7243763" y="4156075"/>
          <p14:tracePt t="44270" x="7251700" y="4156075"/>
          <p14:tracePt t="44271" x="7262813" y="4156075"/>
          <p14:tracePt t="44272" x="7275513" y="4156075"/>
          <p14:tracePt t="44273" x="7291388" y="4156075"/>
          <p14:tracePt t="44274" x="7302500" y="4156075"/>
          <p14:tracePt t="44275" x="7310438" y="4156075"/>
          <p14:tracePt t="44277" x="7327900" y="4156075"/>
          <p14:tracePt t="44277" x="7339013" y="4156075"/>
          <p14:tracePt t="44278" x="7354888" y="4156075"/>
          <p14:tracePt t="44279" x="7362825" y="4156075"/>
          <p14:tracePt t="44280" x="7370763" y="4156075"/>
          <p14:tracePt t="44281" x="7378700" y="4156075"/>
          <p14:tracePt t="44282" x="7391400" y="4156075"/>
          <p14:tracePt t="44283" x="7407275" y="4164013"/>
          <p14:tracePt t="44285" x="7415213" y="4164013"/>
          <p14:tracePt t="44285" x="7423150" y="4164013"/>
          <p14:tracePt t="44286" x="7427913" y="4164013"/>
          <p14:tracePt t="44287" x="7439025" y="4167188"/>
          <p14:tracePt t="44288" x="7443788" y="4167188"/>
          <p14:tracePt t="44289" x="7451725" y="4167188"/>
          <p14:tracePt t="44290" x="7454900" y="4167188"/>
          <p14:tracePt t="44291" x="7462838" y="4167188"/>
          <p14:tracePt t="44292" x="7467600" y="4167188"/>
          <p14:tracePt t="44293" x="7470775" y="4167188"/>
          <p14:tracePt t="44294" x="7475538" y="4167188"/>
          <p14:tracePt t="44295" x="7478713" y="4167188"/>
          <p14:tracePt t="44296" x="7483475" y="4167188"/>
          <p14:tracePt t="44297" x="7486650" y="4167188"/>
          <p14:tracePt t="44298" x="7491413" y="4167188"/>
          <p14:tracePt t="44299" x="7494588" y="4167188"/>
          <p14:tracePt t="44300" x="7499350" y="4167188"/>
          <p14:tracePt t="44301" x="7504113" y="4167188"/>
          <p14:tracePt t="44302" x="7507288" y="4171950"/>
          <p14:tracePt t="44303" x="7512050" y="4171950"/>
          <p14:tracePt t="44305" x="7515225" y="4171950"/>
          <p14:tracePt t="44308" x="7519988" y="4171950"/>
          <p14:tracePt t="44310" x="7523163" y="4171950"/>
          <p14:tracePt t="44311" x="7527925" y="4171950"/>
          <p14:tracePt t="44313" x="7531100" y="4171950"/>
          <p14:tracePt t="44314" x="7535863" y="4171950"/>
          <p14:tracePt t="44317" x="7539038" y="4171950"/>
          <p14:tracePt t="44317" x="7543800" y="4171950"/>
          <p14:tracePt t="44318" x="7546975" y="4171950"/>
          <p14:tracePt t="44320" x="7551738" y="4171950"/>
          <p14:tracePt t="44321" x="7554913" y="4171950"/>
          <p14:tracePt t="44324" x="7559675" y="4171950"/>
          <p14:tracePt t="44325" x="7562850" y="4171950"/>
          <p14:tracePt t="44327" x="7567613" y="4171950"/>
          <p14:tracePt t="44328" x="7575550" y="4171950"/>
          <p14:tracePt t="44329" x="7578725" y="4171950"/>
          <p14:tracePt t="44331" x="7583488" y="4171950"/>
          <p14:tracePt t="44331" x="7588250" y="4171950"/>
          <p14:tracePt t="44332" x="7591425" y="4171950"/>
          <p14:tracePt t="44333" x="7599363" y="4171950"/>
          <p14:tracePt t="44334" x="7604125" y="4171950"/>
          <p14:tracePt t="44336" x="7607300" y="4171950"/>
          <p14:tracePt t="44337" x="7612063" y="4171950"/>
          <p14:tracePt t="44338" x="7620000" y="4171950"/>
          <p14:tracePt t="44339" x="7623175" y="4171950"/>
          <p14:tracePt t="44340" x="7631113" y="4171950"/>
          <p14:tracePt t="44341" x="7639050" y="4171950"/>
          <p14:tracePt t="44342" x="7643813" y="4175125"/>
          <p14:tracePt t="44344" x="7651750" y="4175125"/>
          <p14:tracePt t="44344" x="7659688" y="4175125"/>
          <p14:tracePt t="44345" x="7667625" y="4175125"/>
          <p14:tracePt t="44347" x="7670800" y="4179888"/>
          <p14:tracePt t="44347" x="7680325" y="4179888"/>
          <p14:tracePt t="44348" x="7688263" y="4179888"/>
          <p14:tracePt t="44349" x="7696200" y="4179888"/>
          <p14:tracePt t="44350" x="7699375" y="4183063"/>
          <p14:tracePt t="44351" x="7707313" y="4183063"/>
          <p14:tracePt t="44352" x="7715250" y="4183063"/>
          <p14:tracePt t="44353" x="7723188" y="4183063"/>
          <p14:tracePt t="44354" x="7731125" y="4183063"/>
          <p14:tracePt t="44355" x="7739063" y="4183063"/>
          <p14:tracePt t="44356" x="7747000" y="4183063"/>
          <p14:tracePt t="44357" x="7754938" y="4183063"/>
          <p14:tracePt t="44358" x="7762875" y="4183063"/>
          <p14:tracePt t="44360" x="7772400" y="4183063"/>
          <p14:tracePt t="44362" x="7783513" y="4183063"/>
          <p14:tracePt t="44362" x="7791450" y="4187825"/>
          <p14:tracePt t="44363" x="7807325" y="4187825"/>
          <p14:tracePt t="44364" x="7815263" y="4187825"/>
          <p14:tracePt t="44365" x="7820025" y="4187825"/>
          <p14:tracePt t="44366" x="7827963" y="4187825"/>
          <p14:tracePt t="44367" x="7835900" y="4187825"/>
          <p14:tracePt t="44368" x="7843838" y="4187825"/>
          <p14:tracePt t="44369" x="7854950" y="4187825"/>
          <p14:tracePt t="44370" x="7864475" y="4187825"/>
          <p14:tracePt t="44371" x="7872413" y="4187825"/>
          <p14:tracePt t="44372" x="7880350" y="4187825"/>
          <p14:tracePt t="44373" x="7888288" y="4187825"/>
          <p14:tracePt t="44374" x="7896225" y="4187825"/>
          <p14:tracePt t="44375" x="7904163" y="4187825"/>
          <p14:tracePt t="44377" x="7907338" y="4187825"/>
          <p14:tracePt t="44378" x="7915275" y="4187825"/>
          <p14:tracePt t="44379" x="7923213" y="4187825"/>
          <p14:tracePt t="44379" x="7939088" y="4187825"/>
          <p14:tracePt t="44380" x="7943850" y="4187825"/>
          <p14:tracePt t="44381" x="7948613" y="4187825"/>
          <p14:tracePt t="44382" x="7959725" y="4187825"/>
          <p14:tracePt t="44383" x="7967663" y="4187825"/>
          <p14:tracePt t="44384" x="7975600" y="4187825"/>
          <p14:tracePt t="44385" x="7983538" y="4187825"/>
          <p14:tracePt t="44386" x="7991475" y="4187825"/>
          <p14:tracePt t="44387" x="7999413" y="4187825"/>
          <p14:tracePt t="44388" x="8007350" y="4187825"/>
          <p14:tracePt t="44389" x="8015288" y="4187825"/>
          <p14:tracePt t="44390" x="8023225" y="4187825"/>
          <p14:tracePt t="44391" x="8031163" y="4183063"/>
          <p14:tracePt t="44392" x="8040688" y="4183063"/>
          <p14:tracePt t="44394" x="8056563" y="4183063"/>
          <p14:tracePt t="44395" x="8067675" y="4183063"/>
          <p14:tracePt t="44395" x="8075613" y="4183063"/>
          <p14:tracePt t="44396" x="8083550" y="4179888"/>
          <p14:tracePt t="44397" x="8091488" y="4179888"/>
          <p14:tracePt t="44398" x="8107363" y="4179888"/>
          <p14:tracePt t="44399" x="8120063" y="4179888"/>
          <p14:tracePt t="44400" x="8135938" y="4175125"/>
          <p14:tracePt t="44401" x="8148638" y="4175125"/>
          <p14:tracePt t="44402" x="8164513" y="4175125"/>
          <p14:tracePt t="44403" x="8180388" y="4175125"/>
          <p14:tracePt t="44404" x="8196263" y="4175125"/>
          <p14:tracePt t="44405" x="8207375" y="4175125"/>
          <p14:tracePt t="44406" x="8224838" y="4171950"/>
          <p14:tracePt t="44407" x="8235950" y="4171950"/>
          <p14:tracePt t="44408" x="8251825" y="4171950"/>
          <p14:tracePt t="44410" x="8275638" y="4171950"/>
          <p14:tracePt t="44411" x="8288338" y="4171950"/>
          <p14:tracePt t="44411" x="8304213" y="4171950"/>
          <p14:tracePt t="44412" x="8316913" y="4171950"/>
          <p14:tracePt t="44413" x="8335963" y="4164013"/>
          <p14:tracePt t="44414" x="8356600" y="4164013"/>
          <p14:tracePt t="44415" x="8367713" y="4164013"/>
          <p14:tracePt t="44416" x="8388350" y="4164013"/>
          <p14:tracePt t="44418" x="8404225" y="4159250"/>
          <p14:tracePt t="44418" x="8416925" y="4159250"/>
          <p14:tracePt t="44419" x="8440738" y="4159250"/>
          <p14:tracePt t="44420" x="8456613" y="4159250"/>
          <p14:tracePt t="44421" x="8467725" y="4159250"/>
          <p14:tracePt t="44423" x="8488363" y="4159250"/>
          <p14:tracePt t="44423" x="8504238" y="4156075"/>
          <p14:tracePt t="44424" x="8520113" y="4156075"/>
          <p14:tracePt t="44425" x="8535988" y="4156075"/>
          <p14:tracePt t="44427" x="8548688" y="4156075"/>
          <p14:tracePt t="44428" x="8564563" y="4156075"/>
          <p14:tracePt t="44428" x="8580438" y="4156075"/>
          <p14:tracePt t="44429" x="8601075" y="4156075"/>
          <p14:tracePt t="44430" x="8616950" y="4156075"/>
          <p14:tracePt t="44431" x="8628063" y="4151313"/>
          <p14:tracePt t="44432" x="8640763" y="4151313"/>
          <p14:tracePt t="44433" x="8651875" y="4151313"/>
          <p14:tracePt t="44434" x="8667750" y="4151313"/>
          <p14:tracePt t="44435" x="8685213" y="4151313"/>
          <p14:tracePt t="44436" x="8696325" y="4151313"/>
          <p14:tracePt t="44437" x="8704263" y="4151313"/>
          <p14:tracePt t="44438" x="8720138" y="4151313"/>
          <p14:tracePt t="44439" x="8732838" y="4148138"/>
          <p14:tracePt t="44440" x="8740775" y="4148138"/>
          <p14:tracePt t="44441" x="8756650" y="4148138"/>
          <p14:tracePt t="44442" x="8764588" y="4148138"/>
          <p14:tracePt t="44444" x="8772525" y="4148138"/>
          <p14:tracePt t="44444" x="8785225" y="4148138"/>
          <p14:tracePt t="44446" x="8793163" y="4148138"/>
          <p14:tracePt t="44446" x="8801100" y="4143375"/>
          <p14:tracePt t="44447" x="8809038" y="4143375"/>
          <p14:tracePt t="44448" x="8812213" y="4143375"/>
          <p14:tracePt t="44449" x="8820150" y="4143375"/>
          <p14:tracePt t="44450" x="8828088" y="4143375"/>
          <p14:tracePt t="44451" x="8836025" y="4135438"/>
          <p14:tracePt t="44452" x="8843963" y="4135438"/>
          <p14:tracePt t="44453" x="8856663" y="4135438"/>
          <p14:tracePt t="44455" x="8864600" y="4135438"/>
          <p14:tracePt t="44456" x="8872538" y="4135438"/>
          <p14:tracePt t="44457" x="8877300" y="4135438"/>
          <p14:tracePt t="44458" x="8885238" y="4135438"/>
          <p14:tracePt t="44460" x="8896350" y="4135438"/>
          <p14:tracePt t="44462" x="8901113" y="4135438"/>
          <p14:tracePt t="44463" x="8909050" y="4135438"/>
          <p14:tracePt t="44463" x="8912225" y="4135438"/>
          <p14:tracePt t="44464" x="8920163" y="4135438"/>
          <p14:tracePt t="44465" x="8924925" y="4132263"/>
          <p14:tracePt t="44466" x="8932863" y="4132263"/>
          <p14:tracePt t="44467" x="8936038" y="4132263"/>
          <p14:tracePt t="44468" x="8940800" y="4132263"/>
          <p14:tracePt t="44469" x="8945563" y="4132263"/>
          <p14:tracePt t="44470" x="8953500" y="4127500"/>
          <p14:tracePt t="44472" x="8956675" y="4127500"/>
          <p14:tracePt t="44473" x="8961438" y="4127500"/>
          <p14:tracePt t="44474" x="8964613" y="4127500"/>
          <p14:tracePt t="44475" x="8969375" y="4124325"/>
          <p14:tracePt t="44477" x="8972550" y="4124325"/>
          <p14:tracePt t="44478" x="8977313" y="4124325"/>
          <p14:tracePt t="44478" x="8980488" y="4124325"/>
          <p14:tracePt t="44479" x="8985250" y="4124325"/>
          <p14:tracePt t="44480" x="8988425" y="4124325"/>
          <p14:tracePt t="44481" x="8996363" y="4124325"/>
          <p14:tracePt t="44482" x="8996363" y="4119563"/>
          <p14:tracePt t="44483" x="9001125" y="4119563"/>
          <p14:tracePt t="44484" x="9004300" y="4119563"/>
          <p14:tracePt t="44485" x="9012238" y="4119563"/>
          <p14:tracePt t="44486" x="9017000" y="4116388"/>
          <p14:tracePt t="44487" x="9020175" y="4116388"/>
          <p14:tracePt t="44489" x="9024938" y="4116388"/>
          <p14:tracePt t="44489" x="9028113" y="4111625"/>
          <p14:tracePt t="44490" x="9032875" y="4111625"/>
          <p14:tracePt t="44491" x="9037638" y="4111625"/>
          <p14:tracePt t="44492" x="9040813" y="4111625"/>
          <p14:tracePt t="44495" x="9045575" y="4106863"/>
          <p14:tracePt t="44495" x="9048750" y="4106863"/>
          <p14:tracePt t="44497" x="9053513" y="4106863"/>
          <p14:tracePt t="44498" x="9056688" y="4103688"/>
          <p14:tracePt t="44499" x="9061450" y="4103688"/>
          <p14:tracePt t="44501" x="9064625" y="4098925"/>
          <p14:tracePt t="44502" x="9069388" y="4098925"/>
          <p14:tracePt t="44504" x="9072563" y="4098925"/>
          <p14:tracePt t="44505" x="9072563" y="4095750"/>
          <p14:tracePt t="44506" x="9077325" y="4095750"/>
          <p14:tracePt t="44508" x="9077325" y="4090988"/>
          <p14:tracePt t="44510" x="9080500" y="4090988"/>
          <p14:tracePt t="44513" x="9085263" y="4090988"/>
          <p14:tracePt t="44515" x="9085263" y="4087813"/>
          <p14:tracePt t="44517" x="9085263" y="4083050"/>
          <p14:tracePt t="44520" x="9085263" y="4079875"/>
          <p14:tracePt t="44522" x="9085263" y="4075113"/>
          <p14:tracePt t="44524" x="9085263" y="4071938"/>
          <p14:tracePt t="44527" x="9088438" y="4067175"/>
          <p14:tracePt t="44528" x="9088438" y="4064000"/>
          <p14:tracePt t="44530" x="9088438" y="4059238"/>
          <p14:tracePt t="44530" x="9088438" y="4056063"/>
          <p14:tracePt t="44531" x="9088438" y="4051300"/>
          <p14:tracePt t="44532" x="9093200" y="4051300"/>
          <p14:tracePt t="44534" x="9093200" y="4048125"/>
          <p14:tracePt t="44534" x="9093200" y="4043363"/>
          <p14:tracePt t="44535" x="9093200" y="4040188"/>
          <p14:tracePt t="44536" x="9093200" y="4035425"/>
          <p14:tracePt t="44537" x="9093200" y="4027488"/>
          <p14:tracePt t="44538" x="9093200" y="4024313"/>
          <p14:tracePt t="44539" x="9093200" y="4019550"/>
          <p14:tracePt t="44540" x="9093200" y="4011613"/>
          <p14:tracePt t="44541" x="9093200" y="4006850"/>
          <p14:tracePt t="44542" x="9093200" y="3998913"/>
          <p14:tracePt t="44544" x="9093200" y="3995738"/>
          <p14:tracePt t="44544" x="9093200" y="3990975"/>
          <p14:tracePt t="44545" x="9093200" y="3979863"/>
          <p14:tracePt t="44546" x="9093200" y="3971925"/>
          <p14:tracePt t="44547" x="9093200" y="3963988"/>
          <p14:tracePt t="44548" x="9093200" y="3956050"/>
          <p14:tracePt t="44549" x="9093200" y="3948113"/>
          <p14:tracePt t="44550" x="9093200" y="3940175"/>
          <p14:tracePt t="44551" x="9093200" y="3930650"/>
          <p14:tracePt t="44552" x="9093200" y="3919538"/>
          <p14:tracePt t="44553" x="9093200" y="3911600"/>
          <p14:tracePt t="44554" x="9093200" y="3903663"/>
          <p14:tracePt t="44555" x="9093200" y="3887788"/>
          <p14:tracePt t="44556" x="9093200" y="3879850"/>
          <p14:tracePt t="44557" x="9093200" y="3871913"/>
          <p14:tracePt t="44558" x="9093200" y="3863975"/>
          <p14:tracePt t="44560" x="9093200" y="3851275"/>
          <p14:tracePt t="44561" x="9093200" y="3835400"/>
          <p14:tracePt t="44561" x="9093200" y="3827463"/>
          <p14:tracePt t="44562" x="9093200" y="3814763"/>
          <p14:tracePt t="44563" x="9088438" y="3806825"/>
          <p14:tracePt t="44565" x="9088438" y="3790950"/>
          <p14:tracePt t="44566" x="9088438" y="3779838"/>
          <p14:tracePt t="44566" x="9085263" y="3763963"/>
          <p14:tracePt t="44567" x="9085263" y="3756025"/>
          <p14:tracePt t="44568" x="9085263" y="3743325"/>
          <p14:tracePt t="44569" x="9085263" y="3735388"/>
          <p14:tracePt t="44570" x="9080500" y="3719513"/>
          <p14:tracePt t="44571" x="9080500" y="3706813"/>
          <p14:tracePt t="44572" x="9080500" y="3690938"/>
          <p14:tracePt t="44573" x="9080500" y="3683000"/>
          <p14:tracePt t="44574" x="9080500" y="3671888"/>
          <p14:tracePt t="44575" x="9077325" y="3663950"/>
          <p14:tracePt t="44577" x="9077325" y="3643313"/>
          <p14:tracePt t="44577" x="9069388" y="3627438"/>
          <p14:tracePt t="44578" x="9069388" y="3619500"/>
          <p14:tracePt t="44579" x="9069388" y="3606800"/>
          <p14:tracePt t="44580" x="9064625" y="3590925"/>
          <p14:tracePt t="44581" x="9061450" y="3579813"/>
          <p14:tracePt t="44582" x="9061450" y="3571875"/>
          <p14:tracePt t="44583" x="9056688" y="3554413"/>
          <p14:tracePt t="44584" x="9056688" y="3543300"/>
          <p14:tracePt t="44585" x="9053513" y="3535363"/>
          <p14:tracePt t="44586" x="9053513" y="3514725"/>
          <p14:tracePt t="44587" x="9048750" y="3506788"/>
          <p14:tracePt t="44588" x="9048750" y="3498850"/>
          <p14:tracePt t="44589" x="9040813" y="3482975"/>
          <p14:tracePt t="44590" x="9037638" y="3475038"/>
          <p14:tracePt t="44591" x="9032875" y="3454400"/>
          <p14:tracePt t="44592" x="9032875" y="3446463"/>
          <p14:tracePt t="44594" x="9028113" y="3438525"/>
          <p14:tracePt t="44594" x="9024938" y="3422650"/>
          <p14:tracePt t="44598" x="9017000" y="3387725"/>
          <p14:tracePt t="44598" x="9009063" y="3378200"/>
          <p14:tracePt t="44599" x="9004300" y="3370263"/>
          <p14:tracePt t="44600" x="9001125" y="3354388"/>
          <p14:tracePt t="44601" x="8996363" y="3343275"/>
          <p14:tracePt t="44602" x="8993188" y="3335338"/>
          <p14:tracePt t="44603" x="8988425" y="3322638"/>
          <p14:tracePt t="44604" x="8988425" y="3311525"/>
          <p14:tracePt t="44605" x="8985250" y="3303588"/>
          <p14:tracePt t="44606" x="8972550" y="3286125"/>
          <p14:tracePt t="44607" x="8969375" y="3278188"/>
          <p14:tracePt t="44608" x="8964613" y="3270250"/>
          <p14:tracePt t="44610" x="8961438" y="3262313"/>
          <p14:tracePt t="44610" x="8956675" y="3254375"/>
          <p14:tracePt t="44611" x="8953500" y="3238500"/>
          <p14:tracePt t="44615" x="8940800" y="3211513"/>
          <p14:tracePt t="44615" x="8932863" y="3203575"/>
          <p14:tracePt t="44617" x="8924925" y="3190875"/>
          <p14:tracePt t="44617" x="8920163" y="3182938"/>
          <p14:tracePt t="44618" x="8916988" y="3170238"/>
          <p14:tracePt t="44619" x="8912225" y="3162300"/>
          <p14:tracePt t="44620" x="8909050" y="3154363"/>
          <p14:tracePt t="44621" x="8896350" y="3146425"/>
          <p14:tracePt t="44622" x="8888413" y="3135313"/>
          <p14:tracePt t="44623" x="8885238" y="3127375"/>
          <p14:tracePt t="44624" x="8880475" y="3119438"/>
          <p14:tracePt t="44625" x="8872538" y="3111500"/>
          <p14:tracePt t="44627" x="8861425" y="3098800"/>
          <p14:tracePt t="44627" x="8856663" y="3090863"/>
          <p14:tracePt t="44628" x="8848725" y="3082925"/>
          <p14:tracePt t="44630" x="8843963" y="3074988"/>
          <p14:tracePt t="44631" x="8836025" y="3067050"/>
          <p14:tracePt t="44631" x="8824913" y="3054350"/>
          <p14:tracePt t="44632" x="8816975" y="3051175"/>
          <p14:tracePt t="44633" x="8809038" y="3043238"/>
          <p14:tracePt t="44634" x="8804275" y="3038475"/>
          <p14:tracePt t="44635" x="8796338" y="3030538"/>
          <p14:tracePt t="44637" x="8780463" y="3022600"/>
          <p14:tracePt t="44637" x="8777288" y="3009900"/>
          <p14:tracePt t="44638" x="8769350" y="3006725"/>
          <p14:tracePt t="44639" x="8751888" y="2998788"/>
          <p14:tracePt t="44640" x="8743950" y="2994025"/>
          <p14:tracePt t="44641" x="8732838" y="2978150"/>
          <p14:tracePt t="44642" x="8720138" y="2974975"/>
          <p14:tracePt t="44644" x="8712200" y="2967038"/>
          <p14:tracePt t="44644" x="8704263" y="2962275"/>
          <p14:tracePt t="44645" x="8696325" y="2951163"/>
          <p14:tracePt t="44647" x="8685213" y="2946400"/>
          <p14:tracePt t="44649" x="8656638" y="2935288"/>
          <p14:tracePt t="44649" x="8648700" y="2922588"/>
          <p14:tracePt t="44650" x="8640763" y="2917825"/>
          <p14:tracePt t="44651" x="8624888" y="2909888"/>
          <p14:tracePt t="44652" x="8612188" y="2906713"/>
          <p14:tracePt t="44653" x="8604250" y="2894013"/>
          <p14:tracePt t="44654" x="8588375" y="2890838"/>
          <p14:tracePt t="44655" x="8580438" y="2886075"/>
          <p14:tracePt t="44656" x="8564563" y="2882900"/>
          <p14:tracePt t="44657" x="8551863" y="2874963"/>
          <p14:tracePt t="44658" x="8543925" y="2870200"/>
          <p14:tracePt t="44660" x="8528050" y="2859088"/>
          <p14:tracePt t="44660" x="8520113" y="2854325"/>
          <p14:tracePt t="44661" x="8504238" y="2851150"/>
          <p14:tracePt t="44663" x="8493125" y="2846388"/>
          <p14:tracePt t="44664" x="8483600" y="2843213"/>
          <p14:tracePt t="44665" x="8467725" y="2833688"/>
          <p14:tracePt t="44665" x="8459788" y="2830513"/>
          <p14:tracePt t="44666" x="8451850" y="2825750"/>
          <p14:tracePt t="44667" x="8435975" y="2822575"/>
          <p14:tracePt t="44668" x="8424863" y="2817813"/>
          <p14:tracePt t="44669" x="8412163" y="2814638"/>
          <p14:tracePt t="44671" x="8404225" y="2814638"/>
          <p14:tracePt t="44671" x="8391525" y="2809875"/>
          <p14:tracePt t="44672" x="8383588" y="2806700"/>
          <p14:tracePt t="44673" x="8375650" y="2798763"/>
          <p14:tracePt t="44674" x="8359775" y="2794000"/>
          <p14:tracePt t="44675" x="8351838" y="2794000"/>
          <p14:tracePt t="44677" x="8343900" y="2790825"/>
          <p14:tracePt t="44677" x="8335963" y="2786063"/>
          <p14:tracePt t="44679" x="8324850" y="2782888"/>
          <p14:tracePt t="44680" x="8307388" y="2778125"/>
          <p14:tracePt t="44682" x="8296275" y="2774950"/>
          <p14:tracePt t="44682" x="8288338" y="2774950"/>
          <p14:tracePt t="44683" x="8275638" y="2770188"/>
          <p14:tracePt t="44684" x="8267700" y="2770188"/>
          <p14:tracePt t="44685" x="8259763" y="2767013"/>
          <p14:tracePt t="44686" x="8251825" y="2767013"/>
          <p14:tracePt t="44687" x="8240713" y="2759075"/>
          <p14:tracePt t="44688" x="8232775" y="2759075"/>
          <p14:tracePt t="44689" x="8220075" y="2754313"/>
          <p14:tracePt t="44690" x="8212138" y="2754313"/>
          <p14:tracePt t="44691" x="8199438" y="2751138"/>
          <p14:tracePt t="44692" x="8191500" y="2751138"/>
          <p14:tracePt t="44693" x="8183563" y="2751138"/>
          <p14:tracePt t="44694" x="8175625" y="2746375"/>
          <p14:tracePt t="44697" x="8156575" y="2746375"/>
          <p14:tracePt t="44698" x="8135938" y="2741613"/>
          <p14:tracePt t="44699" x="8128000" y="2741613"/>
          <p14:tracePt t="44700" x="8112125" y="2741613"/>
          <p14:tracePt t="44701" x="8104188" y="2741613"/>
          <p14:tracePt t="44702" x="8096250" y="2738438"/>
          <p14:tracePt t="44703" x="8088313" y="2738438"/>
          <p14:tracePt t="44704" x="8080375" y="2738438"/>
          <p14:tracePt t="44705" x="8072438" y="2738438"/>
          <p14:tracePt t="44706" x="8067675" y="2738438"/>
          <p14:tracePt t="44707" x="8056563" y="2738438"/>
          <p14:tracePt t="44708" x="8048625" y="2738438"/>
          <p14:tracePt t="44710" x="8043863" y="2738438"/>
          <p14:tracePt t="44710" x="8035925" y="2738438"/>
          <p14:tracePt t="44712" x="8027988" y="2738438"/>
          <p14:tracePt t="44712" x="8020050" y="2738438"/>
          <p14:tracePt t="44713" x="8012113" y="2738438"/>
          <p14:tracePt t="44714" x="8004175" y="2738438"/>
          <p14:tracePt t="44715" x="7996238" y="2738438"/>
          <p14:tracePt t="44716" x="7991475" y="2738438"/>
          <p14:tracePt t="44717" x="7980363" y="2738438"/>
          <p14:tracePt t="44718" x="7975600" y="2738438"/>
          <p14:tracePt t="44719" x="7967663" y="2738438"/>
          <p14:tracePt t="44720" x="7964488" y="2738438"/>
          <p14:tracePt t="44722" x="7956550" y="2738438"/>
          <p14:tracePt t="44722" x="7948613" y="2738438"/>
          <p14:tracePt t="44723" x="7939088" y="2738438"/>
          <p14:tracePt t="44724" x="7931150" y="2738438"/>
          <p14:tracePt t="44725" x="7923213" y="2738438"/>
          <p14:tracePt t="44727" x="7920038" y="2738438"/>
          <p14:tracePt t="44727" x="7912100" y="2738438"/>
          <p14:tracePt t="44728" x="7904163" y="2738438"/>
          <p14:tracePt t="44729" x="7896225" y="2738438"/>
          <p14:tracePt t="44730" x="7891463" y="2738438"/>
          <p14:tracePt t="44731" x="7883525" y="2738438"/>
          <p14:tracePt t="44732" x="7872413" y="2738438"/>
          <p14:tracePt t="44733" x="7867650" y="2738438"/>
          <p14:tracePt t="44734" x="7859713" y="2738438"/>
          <p14:tracePt t="44735" x="7851775" y="2738438"/>
          <p14:tracePt t="44736" x="7843838" y="2741613"/>
          <p14:tracePt t="44737" x="7835900" y="2741613"/>
          <p14:tracePt t="44738" x="7827963" y="2741613"/>
          <p14:tracePt t="44739" x="7815263" y="2746375"/>
          <p14:tracePt t="44740" x="7807325" y="2746375"/>
          <p14:tracePt t="44741" x="7799388" y="2746375"/>
          <p14:tracePt t="44742" x="7788275" y="2751138"/>
          <p14:tracePt t="44744" x="7780338" y="2751138"/>
          <p14:tracePt t="44745" x="7772400" y="2751138"/>
          <p14:tracePt t="44745" x="7762875" y="2754313"/>
          <p14:tracePt t="44746" x="7751763" y="2754313"/>
          <p14:tracePt t="44747" x="7739063" y="2754313"/>
          <p14:tracePt t="44748" x="7731125" y="2759075"/>
          <p14:tracePt t="44749" x="7723188" y="2759075"/>
          <p14:tracePt t="44750" x="7715250" y="2759075"/>
          <p14:tracePt t="44751" x="7707313" y="2762250"/>
          <p14:tracePt t="44753" x="7691438" y="2762250"/>
          <p14:tracePt t="44753" x="7680325" y="2762250"/>
          <p14:tracePt t="44754" x="7670800" y="2770188"/>
          <p14:tracePt t="44755" x="7662863" y="2770188"/>
          <p14:tracePt t="44756" x="7651750" y="2770188"/>
          <p14:tracePt t="44757" x="7635875" y="2774950"/>
          <p14:tracePt t="44758" x="7627938" y="2774950"/>
          <p14:tracePt t="44760" x="7615238" y="2778125"/>
          <p14:tracePt t="44762" x="7596188" y="2782888"/>
          <p14:tracePt t="44762" x="7578725" y="2782888"/>
          <p14:tracePt t="44763" x="7567613" y="2786063"/>
          <p14:tracePt t="44764" x="7559675" y="2786063"/>
          <p14:tracePt t="44765" x="7543800" y="2790825"/>
          <p14:tracePt t="44766" x="7535863" y="2790825"/>
          <p14:tracePt t="44767" x="7523163" y="2794000"/>
          <p14:tracePt t="44768" x="7507288" y="2794000"/>
          <p14:tracePt t="44769" x="7494588" y="2801938"/>
          <p14:tracePt t="44770" x="7486650" y="2801938"/>
          <p14:tracePt t="44771" x="7470775" y="2806700"/>
          <p14:tracePt t="44772" x="7459663" y="2806700"/>
          <p14:tracePt t="44773" x="7439025" y="2809875"/>
          <p14:tracePt t="44774" x="7431088" y="2809875"/>
          <p14:tracePt t="44775" x="7415213" y="2814638"/>
          <p14:tracePt t="44777" x="7402513" y="2814638"/>
          <p14:tracePt t="44777" x="7383463" y="2817813"/>
          <p14:tracePt t="44779" x="7370763" y="2817813"/>
          <p14:tracePt t="44779" x="7354888" y="2825750"/>
          <p14:tracePt t="44780" x="7343775" y="2825750"/>
          <p14:tracePt t="44781" x="7327900" y="2830513"/>
          <p14:tracePt t="44782" x="7319963" y="2830513"/>
          <p14:tracePt t="44784" x="7299325" y="2833688"/>
          <p14:tracePt t="44784" x="7286625" y="2833688"/>
          <p14:tracePt t="44786" x="7270750" y="2838450"/>
          <p14:tracePt t="44786" x="7259638" y="2838450"/>
          <p14:tracePt t="44787" x="7239000" y="2843213"/>
          <p14:tracePt t="44788" x="7223125" y="2851150"/>
          <p14:tracePt t="44789" x="7210425" y="2851150"/>
          <p14:tracePt t="44790" x="7194550" y="2854325"/>
          <p14:tracePt t="44791" x="7186613" y="2854325"/>
          <p14:tracePt t="44792" x="7175500" y="2859088"/>
          <p14:tracePt t="44794" x="7154863" y="2859088"/>
          <p14:tracePt t="44794" x="7143750" y="2862263"/>
          <p14:tracePt t="44796" x="7126288" y="2867025"/>
          <p14:tracePt t="44796" x="7115175" y="2867025"/>
          <p14:tracePt t="44797" x="7094538" y="2870200"/>
          <p14:tracePt t="44798" x="7078663" y="2878138"/>
          <p14:tracePt t="44799" x="7067550" y="2878138"/>
          <p14:tracePt t="44800" x="7051675" y="2882900"/>
          <p14:tracePt t="44801" x="7038975" y="2882900"/>
          <p14:tracePt t="44802" x="7031038" y="2886075"/>
          <p14:tracePt t="44803" x="7010400" y="2886075"/>
          <p14:tracePt t="44804" x="6994525" y="2890838"/>
          <p14:tracePt t="44805" x="6983413" y="2890838"/>
          <p14:tracePt t="44806" x="6967538" y="2894013"/>
          <p14:tracePt t="44807" x="6950075" y="2898775"/>
          <p14:tracePt t="44808" x="6934200" y="2898775"/>
          <p14:tracePt t="44810" x="6910388" y="2909888"/>
          <p14:tracePt t="44812" x="6899275" y="2909888"/>
          <p14:tracePt t="44813" x="6886575" y="2914650"/>
          <p14:tracePt t="44813" x="6870700" y="2914650"/>
          <p14:tracePt t="44815" x="6858000" y="2917825"/>
          <p14:tracePt t="44815" x="6842125" y="2917825"/>
          <p14:tracePt t="44816" x="6834188" y="2917825"/>
          <p14:tracePt t="44817" x="6823075" y="2922588"/>
          <p14:tracePt t="44818" x="6807200" y="2927350"/>
          <p14:tracePt t="44819" x="6794500" y="2927350"/>
          <p14:tracePt t="44820" x="6786563" y="2935288"/>
          <p14:tracePt t="44821" x="6770688" y="2938463"/>
          <p14:tracePt t="44822" x="6762750" y="2938463"/>
          <p14:tracePt t="44823" x="6746875" y="2943225"/>
          <p14:tracePt t="44824" x="6738938" y="2946400"/>
          <p14:tracePt t="44825" x="6731000" y="2946400"/>
          <p14:tracePt t="44827" x="6723063" y="2951163"/>
          <p14:tracePt t="44827" x="6715125" y="2951163"/>
          <p14:tracePt t="44828" x="6699250" y="2954338"/>
          <p14:tracePt t="44829" x="6691313" y="2959100"/>
          <p14:tracePt t="44830" x="6681788" y="2962275"/>
          <p14:tracePt t="44831" x="6673850" y="2962275"/>
          <p14:tracePt t="44832" x="6670675" y="2967038"/>
          <p14:tracePt t="44833" x="6657975" y="2970213"/>
          <p14:tracePt t="44834" x="6654800" y="2974975"/>
          <p14:tracePt t="44835" x="6646863" y="2974975"/>
          <p14:tracePt t="44836" x="6642100" y="2978150"/>
          <p14:tracePt t="44837" x="6634163" y="2978150"/>
          <p14:tracePt t="44838" x="6626225" y="2982913"/>
          <p14:tracePt t="44839" x="6618288" y="2986088"/>
          <p14:tracePt t="44840" x="6615113" y="2986088"/>
          <p14:tracePt t="44841" x="6607175" y="2990850"/>
          <p14:tracePt t="44842" x="6602413" y="2994025"/>
          <p14:tracePt t="44844" x="6594475" y="2998788"/>
          <p14:tracePt t="44844" x="6589713" y="2998788"/>
          <p14:tracePt t="44846" x="6586538" y="3001963"/>
          <p14:tracePt t="44848" x="6573838" y="3009900"/>
          <p14:tracePt t="44849" x="6565900" y="3014663"/>
          <p14:tracePt t="44850" x="6562725" y="3014663"/>
          <p14:tracePt t="44851" x="6557963" y="3019425"/>
          <p14:tracePt t="44852" x="6554788" y="3022600"/>
          <p14:tracePt t="44853" x="6550025" y="3022600"/>
          <p14:tracePt t="44854" x="6546850" y="3027363"/>
          <p14:tracePt t="44855" x="6542088" y="3030538"/>
          <p14:tracePt t="44856" x="6538913" y="3035300"/>
          <p14:tracePt t="44857" x="6534150" y="3035300"/>
          <p14:tracePt t="44858" x="6530975" y="3035300"/>
          <p14:tracePt t="44860" x="6530975" y="3038475"/>
          <p14:tracePt t="44861" x="6526213" y="3038475"/>
          <p14:tracePt t="44862" x="6526213" y="3043238"/>
          <p14:tracePt t="44863" x="6526213" y="3046413"/>
          <p14:tracePt t="44864" x="6523038" y="3051175"/>
          <p14:tracePt t="44865" x="6518275" y="3054350"/>
          <p14:tracePt t="44867" x="6515100" y="3059113"/>
          <p14:tracePt t="44868" x="6510338" y="3067050"/>
          <p14:tracePt t="44869" x="6510338" y="3070225"/>
          <p14:tracePt t="44870" x="6507163" y="3074988"/>
          <p14:tracePt t="44872" x="6502400" y="3074988"/>
          <p14:tracePt t="44873" x="6502400" y="3082925"/>
          <p14:tracePt t="44875" x="6497638" y="3086100"/>
          <p14:tracePt t="44877" x="6497638" y="3090863"/>
          <p14:tracePt t="44877" x="6497638" y="3094038"/>
          <p14:tracePt t="44879" x="6494463" y="3098800"/>
          <p14:tracePt t="44879" x="6494463" y="3106738"/>
          <p14:tracePt t="44880" x="6494463" y="3111500"/>
          <p14:tracePt t="44881" x="6489700" y="3114675"/>
          <p14:tracePt t="44882" x="6489700" y="3119438"/>
          <p14:tracePt t="44883" x="6489700" y="3122613"/>
          <p14:tracePt t="44884" x="6489700" y="3127375"/>
          <p14:tracePt t="44886" x="6486525" y="3130550"/>
          <p14:tracePt t="44887" x="6486525" y="3138488"/>
          <p14:tracePt t="44888" x="6486525" y="3143250"/>
          <p14:tracePt t="44889" x="6486525" y="3146425"/>
          <p14:tracePt t="44890" x="6486525" y="3154363"/>
          <p14:tracePt t="44891" x="6486525" y="3159125"/>
          <p14:tracePt t="44892" x="6486525" y="3162300"/>
          <p14:tracePt t="44894" x="6486525" y="3170238"/>
          <p14:tracePt t="44894" x="6486525" y="3175000"/>
          <p14:tracePt t="44895" x="6486525" y="3178175"/>
          <p14:tracePt t="44896" x="6486525" y="3186113"/>
          <p14:tracePt t="44898" x="6486525" y="3194050"/>
          <p14:tracePt t="44899" x="6486525" y="3198813"/>
          <p14:tracePt t="44900" x="6486525" y="3203575"/>
          <p14:tracePt t="44901" x="6486525" y="3211513"/>
          <p14:tracePt t="44902" x="6486525" y="3214688"/>
          <p14:tracePt t="44903" x="6486525" y="3222625"/>
          <p14:tracePt t="44904" x="6486525" y="3227388"/>
          <p14:tracePt t="44905" x="6486525" y="3230563"/>
          <p14:tracePt t="44906" x="6489700" y="3235325"/>
          <p14:tracePt t="44907" x="6489700" y="3243263"/>
          <p14:tracePt t="44908" x="6489700" y="3246438"/>
          <p14:tracePt t="44910" x="6489700" y="3251200"/>
          <p14:tracePt t="44911" x="6494463" y="3259138"/>
          <p14:tracePt t="44912" x="6494463" y="3262313"/>
          <p14:tracePt t="44913" x="6494463" y="3267075"/>
          <p14:tracePt t="44914" x="6494463" y="3275013"/>
          <p14:tracePt t="44915" x="6497638" y="3278188"/>
          <p14:tracePt t="44916" x="6497638" y="3282950"/>
          <p14:tracePt t="44917" x="6497638" y="3286125"/>
          <p14:tracePt t="44918" x="6497638" y="3290888"/>
          <p14:tracePt t="44919" x="6497638" y="3298825"/>
          <p14:tracePt t="44920" x="6497638" y="3303588"/>
          <p14:tracePt t="44921" x="6497638" y="3306763"/>
          <p14:tracePt t="44924" x="6502400" y="3311525"/>
          <p14:tracePt t="44925" x="6502400" y="3322638"/>
          <p14:tracePt t="44927" x="6502400" y="3327400"/>
          <p14:tracePt t="44927" x="6502400" y="3330575"/>
          <p14:tracePt t="44928" x="6502400" y="3335338"/>
          <p14:tracePt t="44929" x="6502400" y="3338513"/>
          <p14:tracePt t="44930" x="6502400" y="3343275"/>
          <p14:tracePt t="44931" x="6502400" y="3346450"/>
          <p14:tracePt t="44932" x="6502400" y="3351213"/>
          <p14:tracePt t="44933" x="6502400" y="3354388"/>
          <p14:tracePt t="44934" x="6507163" y="3354388"/>
          <p14:tracePt t="44935" x="6507163" y="3359150"/>
          <p14:tracePt t="44936" x="6507163" y="3362325"/>
          <p14:tracePt t="44937" x="6507163" y="3367088"/>
          <p14:tracePt t="44938" x="6507163" y="3370263"/>
          <p14:tracePt t="44940" x="6507163" y="3375025"/>
          <p14:tracePt t="44941" x="6510338" y="3378200"/>
          <p14:tracePt t="44941" x="6510338" y="3382963"/>
          <p14:tracePt t="44942" x="6510338" y="3387725"/>
          <p14:tracePt t="44944" x="6515100" y="3395663"/>
          <p14:tracePt t="44946" x="6515100" y="3398838"/>
          <p14:tracePt t="44947" x="6518275" y="3403600"/>
          <p14:tracePt t="44949" x="6518275" y="3406775"/>
          <p14:tracePt t="44950" x="6518275" y="3411538"/>
          <p14:tracePt t="44951" x="6523038" y="3411538"/>
          <p14:tracePt t="44952" x="6523038" y="3414713"/>
          <p14:tracePt t="44953" x="6526213" y="3419475"/>
          <p14:tracePt t="44955" x="6526213" y="3422650"/>
          <p14:tracePt t="44955" x="6530975" y="3422650"/>
          <p14:tracePt t="44956" x="6530975" y="3427413"/>
          <p14:tracePt t="44957" x="6530975" y="3430588"/>
          <p14:tracePt t="44958" x="6530975" y="3435350"/>
          <p14:tracePt t="44960" x="6538913" y="3438525"/>
          <p14:tracePt t="44962" x="6538913" y="3443288"/>
          <p14:tracePt t="44962" x="6542088" y="3443288"/>
          <p14:tracePt t="44963" x="6546850" y="3443288"/>
          <p14:tracePt t="44964" x="6550025" y="3446463"/>
          <p14:tracePt t="44965" x="6550025" y="3451225"/>
          <p14:tracePt t="44966" x="6554788" y="3451225"/>
          <p14:tracePt t="44967" x="6557963" y="3454400"/>
          <p14:tracePt t="44969" x="6562725" y="3459163"/>
          <p14:tracePt t="44970" x="6565900" y="3462338"/>
          <p14:tracePt t="44971" x="6570663" y="3462338"/>
          <p14:tracePt t="44972" x="6570663" y="3467100"/>
          <p14:tracePt t="44973" x="6570663" y="3470275"/>
          <p14:tracePt t="44974" x="6573838" y="3475038"/>
          <p14:tracePt t="44975" x="6578600" y="3475038"/>
          <p14:tracePt t="44977" x="6581775" y="3479800"/>
          <p14:tracePt t="44977" x="6586538" y="3479800"/>
          <p14:tracePt t="44979" x="6589713" y="3482975"/>
          <p14:tracePt t="44979" x="6599238" y="3482975"/>
          <p14:tracePt t="44980" x="6602413" y="3482975"/>
          <p14:tracePt t="44981" x="6607175" y="3482975"/>
          <p14:tracePt t="44982" x="6610350" y="3487738"/>
          <p14:tracePt t="44983" x="6615113" y="3490913"/>
          <p14:tracePt t="44984" x="6618288" y="3490913"/>
          <p14:tracePt t="44985" x="6623050" y="3495675"/>
          <p14:tracePt t="44986" x="6626225" y="3495675"/>
          <p14:tracePt t="44987" x="6630988" y="3498850"/>
          <p14:tracePt t="44988" x="6638925" y="3498850"/>
          <p14:tracePt t="44989" x="6646863" y="3503613"/>
          <p14:tracePt t="44990" x="6650038" y="3506788"/>
          <p14:tracePt t="44991" x="6657975" y="3506788"/>
          <p14:tracePt t="44992" x="6662738" y="3511550"/>
          <p14:tracePt t="44994" x="6670675" y="3511550"/>
          <p14:tracePt t="44994" x="6673850" y="3514725"/>
          <p14:tracePt t="44996" x="6691313" y="3519488"/>
          <p14:tracePt t="44997" x="6694488" y="3522663"/>
          <p14:tracePt t="44998" x="6702425" y="3522663"/>
          <p14:tracePt t="44999" x="6710363" y="3527425"/>
          <p14:tracePt t="45000" x="6718300" y="3530600"/>
          <p14:tracePt t="45001" x="6726238" y="3530600"/>
          <p14:tracePt t="45003" x="6731000" y="3535363"/>
          <p14:tracePt t="45003" x="6738938" y="3535363"/>
          <p14:tracePt t="45004" x="6742113" y="3538538"/>
          <p14:tracePt t="45005" x="6754813" y="3538538"/>
          <p14:tracePt t="45006" x="6757988" y="3543300"/>
          <p14:tracePt t="45007" x="6765925" y="3543300"/>
          <p14:tracePt t="45008" x="6775450" y="3546475"/>
          <p14:tracePt t="45009" x="6783388" y="3546475"/>
          <p14:tracePt t="45010" x="6791325" y="3551238"/>
          <p14:tracePt t="45012" x="6799263" y="3551238"/>
          <p14:tracePt t="45014" x="6810375" y="3551238"/>
          <p14:tracePt t="45014" x="6818313" y="3554413"/>
          <p14:tracePt t="45015" x="6826250" y="3554413"/>
          <p14:tracePt t="45016" x="6834188" y="3554413"/>
          <p14:tracePt t="45017" x="6846888" y="3559175"/>
          <p14:tracePt t="45018" x="6854825" y="3559175"/>
          <p14:tracePt t="45019" x="6862763" y="3562350"/>
          <p14:tracePt t="45020" x="6870700" y="3562350"/>
          <p14:tracePt t="45021" x="6878638" y="3562350"/>
          <p14:tracePt t="45022" x="6886575" y="3567113"/>
          <p14:tracePt t="45023" x="6894513" y="3567113"/>
          <p14:tracePt t="45024" x="6902450" y="3567113"/>
          <p14:tracePt t="45025" x="6910388" y="3571875"/>
          <p14:tracePt t="45027" x="6918325" y="3571875"/>
          <p14:tracePt t="45027" x="6931025" y="3571875"/>
          <p14:tracePt t="45029" x="6938963" y="3571875"/>
          <p14:tracePt t="45030" x="6950075" y="3575050"/>
          <p14:tracePt t="45032" x="6959600" y="3575050"/>
          <p14:tracePt t="45034" x="6962775" y="3575050"/>
          <p14:tracePt t="45034" x="6970713" y="3579813"/>
          <p14:tracePt t="45035" x="6978650" y="3579813"/>
          <p14:tracePt t="45036" x="6983413" y="3579813"/>
          <p14:tracePt t="45037" x="6986588" y="3579813"/>
          <p14:tracePt t="45038" x="6994525" y="3579813"/>
          <p14:tracePt t="45039" x="7002463" y="3579813"/>
          <p14:tracePt t="45040" x="7007225" y="3579813"/>
          <p14:tracePt t="45041" x="7015163" y="3582988"/>
          <p14:tracePt t="45042" x="7018338" y="3582988"/>
          <p14:tracePt t="45043" x="7026275" y="3582988"/>
          <p14:tracePt t="45044" x="7031038" y="3582988"/>
          <p14:tracePt t="45045" x="7038975" y="3582988"/>
          <p14:tracePt t="45046" x="7042150" y="3582988"/>
          <p14:tracePt t="45047" x="7051675" y="3582988"/>
          <p14:tracePt t="45048" x="7054850" y="3582988"/>
          <p14:tracePt t="45050" x="7062788" y="3582988"/>
          <p14:tracePt t="45051" x="7070725" y="3582988"/>
          <p14:tracePt t="45052" x="7075488" y="3582988"/>
          <p14:tracePt t="45053" x="7078663" y="3582988"/>
          <p14:tracePt t="45054" x="7086600" y="3582988"/>
          <p14:tracePt t="45055" x="7094538" y="3582988"/>
          <p14:tracePt t="45056" x="7099300" y="3582988"/>
          <p14:tracePt t="45057" x="7102475" y="3587750"/>
          <p14:tracePt t="45058" x="7110413" y="3587750"/>
          <p14:tracePt t="45059" x="7115175" y="3587750"/>
          <p14:tracePt t="45060" x="7123113" y="3587750"/>
          <p14:tracePt t="45061" x="7131050" y="3587750"/>
          <p14:tracePt t="45062" x="7135813" y="3587750"/>
          <p14:tracePt t="45063" x="7143750" y="3587750"/>
          <p14:tracePt t="45064" x="7146925" y="3587750"/>
          <p14:tracePt t="45065" x="7154863" y="3587750"/>
          <p14:tracePt t="45066" x="7162800" y="3587750"/>
          <p14:tracePt t="45067" x="7170738" y="3587750"/>
          <p14:tracePt t="45068" x="7175500" y="3587750"/>
          <p14:tracePt t="45069" x="7178675" y="3587750"/>
          <p14:tracePt t="45070" x="7191375" y="3587750"/>
          <p14:tracePt t="45071" x="7199313" y="3587750"/>
          <p14:tracePt t="45072" x="7207250" y="3587750"/>
          <p14:tracePt t="45073" x="7215188" y="3587750"/>
          <p14:tracePt t="45074" x="7218363" y="3587750"/>
          <p14:tracePt t="45075" x="7227888" y="3587750"/>
          <p14:tracePt t="45077" x="7235825" y="3587750"/>
          <p14:tracePt t="45078" x="7243763" y="3587750"/>
          <p14:tracePt t="45078" x="7251700" y="3587750"/>
          <p14:tracePt t="45079" x="7254875" y="3587750"/>
          <p14:tracePt t="45081" x="7267575" y="3587750"/>
          <p14:tracePt t="45081" x="7275513" y="3587750"/>
          <p14:tracePt t="45082" x="7283450" y="3587750"/>
          <p14:tracePt t="45083" x="7291388" y="3587750"/>
          <p14:tracePt t="45084" x="7299325" y="3587750"/>
          <p14:tracePt t="45085" x="7310438" y="3587750"/>
          <p14:tracePt t="45086" x="7319963" y="3587750"/>
          <p14:tracePt t="45087" x="7327900" y="3587750"/>
          <p14:tracePt t="45088" x="7335838" y="3587750"/>
          <p14:tracePt t="45089" x="7343775" y="3587750"/>
          <p14:tracePt t="45090" x="7359650" y="3587750"/>
          <p14:tracePt t="45091" x="7367588" y="3587750"/>
          <p14:tracePt t="45092" x="7378700" y="3587750"/>
          <p14:tracePt t="45094" x="7386638" y="3587750"/>
          <p14:tracePt t="45094" x="7399338" y="3587750"/>
          <p14:tracePt t="45096" x="7412038" y="3587750"/>
          <p14:tracePt t="45097" x="7431088" y="3587750"/>
          <p14:tracePt t="45098" x="7446963" y="3587750"/>
          <p14:tracePt t="45099" x="7454900" y="3587750"/>
          <p14:tracePt t="45100" x="7467600" y="3587750"/>
          <p14:tracePt t="45101" x="7483475" y="3587750"/>
          <p14:tracePt t="45102" x="7491413" y="3587750"/>
          <p14:tracePt t="45103" x="7504113" y="3587750"/>
          <p14:tracePt t="45104" x="7512050" y="3587750"/>
          <p14:tracePt t="45105" x="7531100" y="3587750"/>
          <p14:tracePt t="45106" x="7539038" y="3587750"/>
          <p14:tracePt t="45107" x="7554913" y="3587750"/>
          <p14:tracePt t="45108" x="7562850" y="3587750"/>
          <p14:tracePt t="45111" x="7588250" y="3582988"/>
          <p14:tracePt t="45111" x="7599363" y="3582988"/>
          <p14:tracePt t="45112" x="7612063" y="3582988"/>
          <p14:tracePt t="45113" x="7620000" y="3582988"/>
          <p14:tracePt t="45114" x="7631113" y="3582988"/>
          <p14:tracePt t="45115" x="7646988" y="3582988"/>
          <p14:tracePt t="45116" x="7654925" y="3582988"/>
          <p14:tracePt t="45117" x="7667625" y="3582988"/>
          <p14:tracePt t="45118" x="7675563" y="3582988"/>
          <p14:tracePt t="45119" x="7691438" y="3582988"/>
          <p14:tracePt t="45120" x="7699375" y="3582988"/>
          <p14:tracePt t="45121" x="7720013" y="3579813"/>
          <p14:tracePt t="45122" x="7727950" y="3579813"/>
          <p14:tracePt t="45123" x="7735888" y="3579813"/>
          <p14:tracePt t="45124" x="7747000" y="3579813"/>
          <p14:tracePt t="45125" x="7762875" y="3579813"/>
          <p14:tracePt t="45127" x="7772400" y="3579813"/>
          <p14:tracePt t="45129" x="7791450" y="3579813"/>
          <p14:tracePt t="45130" x="7799388" y="3579813"/>
          <p14:tracePt t="45131" x="7807325" y="3579813"/>
          <p14:tracePt t="45131" x="7827963" y="3579813"/>
          <p14:tracePt t="45132" x="7835900" y="3579813"/>
          <p14:tracePt t="45133" x="7843838" y="3579813"/>
          <p14:tracePt t="45134" x="7859713" y="3579813"/>
          <p14:tracePt t="45135" x="7872413" y="3579813"/>
          <p14:tracePt t="45136" x="7880350" y="3579813"/>
          <p14:tracePt t="45137" x="7888288" y="3579813"/>
          <p14:tracePt t="45138" x="7899400" y="3579813"/>
          <p14:tracePt t="45139" x="7912100" y="3579813"/>
          <p14:tracePt t="45140" x="7923213" y="3579813"/>
          <p14:tracePt t="45141" x="7931150" y="3579813"/>
          <p14:tracePt t="45142" x="7943850" y="3579813"/>
          <p14:tracePt t="45144" x="7951788" y="3579813"/>
          <p14:tracePt t="45145" x="7964488" y="3579813"/>
          <p14:tracePt t="45145" x="7975600" y="3579813"/>
          <p14:tracePt t="45146" x="7983538" y="3579813"/>
          <p14:tracePt t="45147" x="7999413" y="3579813"/>
          <p14:tracePt t="45148" x="8007350" y="3579813"/>
          <p14:tracePt t="45149" x="8015288" y="3579813"/>
          <p14:tracePt t="45150" x="8027988" y="3579813"/>
          <p14:tracePt t="45151" x="8040688" y="3579813"/>
          <p14:tracePt t="45152" x="8051800" y="3579813"/>
          <p14:tracePt t="45153" x="8059738" y="3582988"/>
          <p14:tracePt t="45154" x="8072438" y="3582988"/>
          <p14:tracePt t="45155" x="8088313" y="3582988"/>
          <p14:tracePt t="45156" x="8096250" y="3582988"/>
          <p14:tracePt t="45157" x="8107363" y="3582988"/>
          <p14:tracePt t="45158" x="8115300" y="3587750"/>
          <p14:tracePt t="45160" x="8140700" y="3587750"/>
          <p14:tracePt t="45161" x="8151813" y="3587750"/>
          <p14:tracePt t="45162" x="8159750" y="3587750"/>
          <p14:tracePt t="45163" x="8167688" y="3590925"/>
          <p14:tracePt t="45164" x="8183563" y="3590925"/>
          <p14:tracePt t="45165" x="8196263" y="3590925"/>
          <p14:tracePt t="45166" x="8212138" y="3590925"/>
          <p14:tracePt t="45167" x="8220075" y="3590925"/>
          <p14:tracePt t="45168" x="8232775" y="3590925"/>
          <p14:tracePt t="45169" x="8240713" y="3595688"/>
          <p14:tracePt t="45170" x="8256588" y="3595688"/>
          <p14:tracePt t="45171" x="8267700" y="3595688"/>
          <p14:tracePt t="45172" x="8283575" y="3598863"/>
          <p14:tracePt t="45173" x="8296275" y="3598863"/>
          <p14:tracePt t="45175" x="8304213" y="3598863"/>
          <p14:tracePt t="45175" x="8320088" y="3606800"/>
          <p14:tracePt t="45177" x="8335963" y="3606800"/>
          <p14:tracePt t="45178" x="8351838" y="3611563"/>
          <p14:tracePt t="45178" x="8359775" y="3611563"/>
          <p14:tracePt t="45179" x="8372475" y="3611563"/>
          <p14:tracePt t="45180" x="8388350" y="3611563"/>
          <p14:tracePt t="45181" x="8408988" y="3614738"/>
          <p14:tracePt t="45182" x="8416925" y="3614738"/>
          <p14:tracePt t="45183" x="8428038" y="3614738"/>
          <p14:tracePt t="45184" x="8443913" y="3619500"/>
          <p14:tracePt t="45185" x="8456613" y="3619500"/>
          <p14:tracePt t="45186" x="8467725" y="3619500"/>
          <p14:tracePt t="45187" x="8483600" y="3619500"/>
          <p14:tracePt t="45188" x="8496300" y="3619500"/>
          <p14:tracePt t="45189" x="8512175" y="3622675"/>
          <p14:tracePt t="45190" x="8520113" y="3622675"/>
          <p14:tracePt t="45191" x="8540750" y="3622675"/>
          <p14:tracePt t="45192" x="8551863" y="3630613"/>
          <p14:tracePt t="45193" x="8567738" y="3630613"/>
          <p14:tracePt t="45195" x="8575675" y="3635375"/>
          <p14:tracePt t="45195" x="8588375" y="3635375"/>
          <p14:tracePt t="45196" x="8609013" y="3635375"/>
          <p14:tracePt t="45197" x="8616950" y="3635375"/>
          <p14:tracePt t="45198" x="8632825" y="3638550"/>
          <p14:tracePt t="45199" x="8643938" y="3638550"/>
          <p14:tracePt t="45200" x="8651875" y="3638550"/>
          <p14:tracePt t="45201" x="8672513" y="3638550"/>
          <p14:tracePt t="45202" x="8680450" y="3643313"/>
          <p14:tracePt t="45203" x="8693150" y="3643313"/>
          <p14:tracePt t="45204" x="8701088" y="3643313"/>
          <p14:tracePt t="45205" x="8716963" y="3643313"/>
          <p14:tracePt t="45206" x="8728075" y="3643313"/>
          <p14:tracePt t="45207" x="8736013" y="3643313"/>
          <p14:tracePt t="45208" x="8751888" y="3646488"/>
          <p14:tracePt t="45209" x="8761413" y="3646488"/>
          <p14:tracePt t="45210" x="8772525" y="3646488"/>
          <p14:tracePt t="45212" x="8796338" y="3651250"/>
          <p14:tracePt t="45213" x="8804275" y="3651250"/>
          <p14:tracePt t="45214" x="8816975" y="3651250"/>
          <p14:tracePt t="45215" x="8824913" y="3651250"/>
          <p14:tracePt t="45216" x="8840788" y="3651250"/>
          <p14:tracePt t="45217" x="8853488" y="3654425"/>
          <p14:tracePt t="45218" x="8861425" y="3654425"/>
          <p14:tracePt t="45219" x="8869363" y="3654425"/>
          <p14:tracePt t="45220" x="8885238" y="3654425"/>
          <p14:tracePt t="45222" x="8896350" y="3654425"/>
          <p14:tracePt t="45222" x="8904288" y="3654425"/>
          <p14:tracePt t="45223" x="8920163" y="3654425"/>
          <p14:tracePt t="45224" x="8928100" y="3654425"/>
          <p14:tracePt t="45225" x="8936038" y="3659188"/>
          <p14:tracePt t="45227" x="8945563" y="3659188"/>
          <p14:tracePt t="45228" x="8956675" y="3659188"/>
          <p14:tracePt t="45228" x="8964613" y="3659188"/>
          <p14:tracePt t="45229" x="8980488" y="3659188"/>
          <p14:tracePt t="45230" x="8988425" y="3659188"/>
          <p14:tracePt t="45231" x="9001125" y="3667125"/>
          <p14:tracePt t="45232" x="9009063" y="3667125"/>
          <p14:tracePt t="45233" x="9020175" y="3667125"/>
          <p14:tracePt t="45234" x="9028113" y="3667125"/>
          <p14:tracePt t="45235" x="9037638" y="3667125"/>
          <p14:tracePt t="45236" x="9048750" y="3667125"/>
          <p14:tracePt t="45237" x="9061450" y="3667125"/>
          <p14:tracePt t="45238" x="9072563" y="3667125"/>
          <p14:tracePt t="45239" x="9080500" y="3671888"/>
          <p14:tracePt t="45240" x="9088438" y="3671888"/>
          <p14:tracePt t="45241" x="9101138" y="3671888"/>
          <p14:tracePt t="45242" x="9109075" y="3671888"/>
          <p14:tracePt t="45244" x="9117013" y="3671888"/>
          <p14:tracePt t="45245" x="9132888" y="3675063"/>
          <p14:tracePt t="45246" x="9145588" y="3675063"/>
          <p14:tracePt t="45247" x="9153525" y="3675063"/>
          <p14:tracePt t="45248" x="9161463" y="3675063"/>
          <p14:tracePt t="45249" x="9169400" y="3675063"/>
          <p14:tracePt t="45250" x="9177338" y="3679825"/>
          <p14:tracePt t="45251" x="9188450" y="3679825"/>
          <p14:tracePt t="45252" x="9196388" y="3679825"/>
          <p14:tracePt t="45253" x="9204325" y="3679825"/>
          <p14:tracePt t="45254" x="9213850" y="3679825"/>
          <p14:tracePt t="45255" x="9221788" y="3679825"/>
          <p14:tracePt t="45256" x="9224963" y="3679825"/>
          <p14:tracePt t="45257" x="9237663" y="3679825"/>
          <p14:tracePt t="45258" x="9248775" y="3679825"/>
          <p14:tracePt t="45260" x="9264650" y="3683000"/>
          <p14:tracePt t="45261" x="9272588" y="3683000"/>
          <p14:tracePt t="45262" x="9280525" y="3683000"/>
          <p14:tracePt t="45263" x="9288463" y="3683000"/>
          <p14:tracePt t="45264" x="9293225" y="3683000"/>
          <p14:tracePt t="45265" x="9301163" y="3687763"/>
          <p14:tracePt t="45266" x="9309100" y="3687763"/>
          <p14:tracePt t="45267" x="9321800" y="3687763"/>
          <p14:tracePt t="45270" x="9337675" y="3687763"/>
          <p14:tracePt t="45270" x="9348788" y="3690938"/>
          <p14:tracePt t="45271" x="9361488" y="3690938"/>
          <p14:tracePt t="45272" x="9369425" y="3690938"/>
          <p14:tracePt t="45273" x="9377363" y="3690938"/>
          <p14:tracePt t="45274" x="9385300" y="3690938"/>
          <p14:tracePt t="45275" x="9393238" y="3695700"/>
          <p14:tracePt t="45277" x="9401175" y="3695700"/>
          <p14:tracePt t="45278" x="9409113" y="3695700"/>
          <p14:tracePt t="45279" x="9417050" y="3695700"/>
          <p14:tracePt t="45279" x="9432925" y="3698875"/>
          <p14:tracePt t="45280" x="9440863" y="3698875"/>
          <p14:tracePt t="45281" x="9448800" y="3698875"/>
          <p14:tracePt t="45282" x="9456738" y="3698875"/>
          <p14:tracePt t="45283" x="9464675" y="3698875"/>
          <p14:tracePt t="45286" x="9480550" y="3698875"/>
          <p14:tracePt t="45286" x="9498013" y="3706813"/>
          <p14:tracePt t="45287" x="9505950" y="3706813"/>
          <p14:tracePt t="45288" x="9513888" y="3706813"/>
          <p14:tracePt t="45289" x="9521825" y="3706813"/>
          <p14:tracePt t="45290" x="9529763" y="3706813"/>
          <p14:tracePt t="45291" x="9537700" y="3706813"/>
          <p14:tracePt t="45292" x="9545638" y="3711575"/>
          <p14:tracePt t="45293" x="9553575" y="3711575"/>
          <p14:tracePt t="45294" x="9561513" y="3711575"/>
          <p14:tracePt t="45295" x="9564688" y="3711575"/>
          <p14:tracePt t="45296" x="9574213" y="3711575"/>
          <p14:tracePt t="45297" x="9582150" y="3714750"/>
          <p14:tracePt t="45298" x="9590088" y="3714750"/>
          <p14:tracePt t="45299" x="9598025" y="3714750"/>
          <p14:tracePt t="45300" x="9605963" y="3714750"/>
          <p14:tracePt t="45301" x="9613900" y="3714750"/>
          <p14:tracePt t="45302" x="9625013" y="3714750"/>
          <p14:tracePt t="45303" x="9632950" y="3719513"/>
          <p14:tracePt t="45304" x="9637713" y="3719513"/>
          <p14:tracePt t="45305" x="9645650" y="3719513"/>
          <p14:tracePt t="45306" x="9653588" y="3719513"/>
          <p14:tracePt t="45307" x="9661525" y="3719513"/>
          <p14:tracePt t="45308" x="9666288" y="3719513"/>
          <p14:tracePt t="45309" x="9674225" y="3719513"/>
          <p14:tracePt t="45311" x="9682163" y="3719513"/>
          <p14:tracePt t="45312" x="9685338" y="3719513"/>
          <p14:tracePt t="45313" x="9693275" y="3719513"/>
          <p14:tracePt t="45315" x="9698038" y="3719513"/>
          <p14:tracePt t="45315" x="9701213" y="3719513"/>
          <p14:tracePt t="45316" x="9705975" y="3722688"/>
          <p14:tracePt t="45317" x="9713913" y="3722688"/>
          <p14:tracePt t="45318" x="9717088" y="3722688"/>
          <p14:tracePt t="45319" x="9725025" y="3722688"/>
          <p14:tracePt t="45320" x="9729788" y="3722688"/>
          <p14:tracePt t="45321" x="9732963" y="3722688"/>
          <p14:tracePt t="45322" x="9737725" y="3722688"/>
          <p14:tracePt t="45323" x="9748838" y="3722688"/>
          <p14:tracePt t="45324" x="9748838" y="3727450"/>
          <p14:tracePt t="45325" x="9753600" y="3727450"/>
          <p14:tracePt t="45327" x="9761538" y="3727450"/>
          <p14:tracePt t="45328" x="9769475" y="3727450"/>
          <p14:tracePt t="45329" x="9774238" y="3727450"/>
          <p14:tracePt t="45329" x="9782175" y="3727450"/>
          <p14:tracePt t="45330" x="9785350" y="3727450"/>
          <p14:tracePt t="45332" x="9793288" y="3727450"/>
          <p14:tracePt t="45332" x="9798050" y="3727450"/>
          <p14:tracePt t="45333" x="9805988" y="3727450"/>
          <p14:tracePt t="45334" x="9809163" y="3727450"/>
          <p14:tracePt t="45335" x="9817100" y="3727450"/>
          <p14:tracePt t="45336" x="9821863" y="3727450"/>
          <p14:tracePt t="45337" x="9829800" y="3727450"/>
          <p14:tracePt t="45338" x="9837738" y="3727450"/>
          <p14:tracePt t="45339" x="9845675" y="3727450"/>
          <p14:tracePt t="45340" x="9850438" y="3727450"/>
          <p14:tracePt t="45341" x="9853613" y="3727450"/>
          <p14:tracePt t="45342" x="9866313" y="3727450"/>
          <p14:tracePt t="45344" x="9874250" y="3727450"/>
          <p14:tracePt t="45346" x="9882188" y="3727450"/>
          <p14:tracePt t="45347" x="9890125" y="3727450"/>
          <p14:tracePt t="45347" x="9901238" y="3730625"/>
          <p14:tracePt t="45348" x="9909175" y="3730625"/>
          <p14:tracePt t="45349" x="9917113" y="3730625"/>
          <p14:tracePt t="45350" x="9925050" y="3730625"/>
          <p14:tracePt t="45351" x="9929813" y="3730625"/>
          <p14:tracePt t="45352" x="9942513" y="3730625"/>
          <p14:tracePt t="45353" x="9950450" y="3730625"/>
          <p14:tracePt t="45354" x="9953625" y="3730625"/>
          <p14:tracePt t="45355" x="9961563" y="3730625"/>
          <p14:tracePt t="45356" x="9969500" y="3730625"/>
          <p14:tracePt t="45357" x="9982200" y="3730625"/>
          <p14:tracePt t="45358" x="9985375" y="3730625"/>
          <p14:tracePt t="45360" x="10001250" y="3730625"/>
          <p14:tracePt t="45361" x="10009188" y="3730625"/>
          <p14:tracePt t="45362" x="10017125" y="3730625"/>
          <p14:tracePt t="45363" x="10026650" y="3730625"/>
          <p14:tracePt t="45364" x="10034588" y="3730625"/>
          <p14:tracePt t="45365" x="10042525" y="3730625"/>
          <p14:tracePt t="45366" x="10050463" y="3730625"/>
          <p14:tracePt t="45367" x="10058400" y="3730625"/>
          <p14:tracePt t="45368" x="10066338" y="3730625"/>
          <p14:tracePt t="45369" x="10074275" y="3730625"/>
          <p14:tracePt t="45370" x="10082213" y="3730625"/>
          <p14:tracePt t="45371" x="10093325" y="3730625"/>
          <p14:tracePt t="45372" x="10101263" y="3730625"/>
          <p14:tracePt t="45373" x="10109200" y="3730625"/>
          <p14:tracePt t="45374" x="10118725" y="3730625"/>
          <p14:tracePt t="45375" x="10126663" y="3730625"/>
          <p14:tracePt t="45377" x="10134600" y="3730625"/>
          <p14:tracePt t="45378" x="10142538" y="3730625"/>
          <p14:tracePt t="45379" x="10150475" y="3730625"/>
          <p14:tracePt t="45379" x="10158413" y="3730625"/>
          <p14:tracePt t="45380" x="10161588" y="3730625"/>
          <p14:tracePt t="45381" x="10169525" y="3730625"/>
          <p14:tracePt t="45382" x="10182225" y="3730625"/>
          <p14:tracePt t="45383" x="10185400" y="3730625"/>
          <p14:tracePt t="45384" x="10193338" y="3730625"/>
          <p14:tracePt t="45385" x="10201275" y="3730625"/>
          <p14:tracePt t="45386" x="10210800" y="3730625"/>
          <p14:tracePt t="45387" x="10218738" y="3730625"/>
          <p14:tracePt t="45388" x="10226675" y="3730625"/>
          <p14:tracePt t="45389" x="10229850" y="3730625"/>
          <p14:tracePt t="45390" x="10237788" y="3730625"/>
          <p14:tracePt t="45391" x="10245725" y="3730625"/>
          <p14:tracePt t="45392" x="10250488" y="3730625"/>
          <p14:tracePt t="45394" x="10261600" y="3730625"/>
          <p14:tracePt t="45394" x="10266363" y="3730625"/>
          <p14:tracePt t="45395" x="10274300" y="3730625"/>
          <p14:tracePt t="45396" x="10282238" y="3730625"/>
          <p14:tracePt t="45397" x="10290175" y="3730625"/>
          <p14:tracePt t="45398" x="10293350" y="3730625"/>
          <p14:tracePt t="45399" x="10302875" y="3730625"/>
          <p14:tracePt t="45400" x="10310813" y="3730625"/>
          <p14:tracePt t="45401" x="10313988" y="3730625"/>
          <p14:tracePt t="45402" x="10321925" y="3730625"/>
          <p14:tracePt t="45403" x="10329863" y="3730625"/>
          <p14:tracePt t="45404" x="10337800" y="3730625"/>
          <p14:tracePt t="45405" x="10342563" y="3730625"/>
          <p14:tracePt t="45406" x="10350500" y="3730625"/>
          <p14:tracePt t="45407" x="10353675" y="3730625"/>
          <p14:tracePt t="45408" x="10361613" y="3735388"/>
          <p14:tracePt t="45410" x="10377488" y="3735388"/>
          <p14:tracePt t="45411" x="10382250" y="3735388"/>
          <p14:tracePt t="45412" x="10390188" y="3735388"/>
          <p14:tracePt t="45413" x="10398125" y="3735388"/>
          <p14:tracePt t="45414" x="10402888" y="3735388"/>
          <p14:tracePt t="45415" x="10406063" y="3735388"/>
          <p14:tracePt t="45416" x="10410825" y="3735388"/>
          <p14:tracePt t="45417" x="10418763" y="3735388"/>
          <p14:tracePt t="45418" x="10426700" y="3735388"/>
          <p14:tracePt t="45419" x="10429875" y="3735388"/>
          <p14:tracePt t="45420" x="10437813" y="3735388"/>
          <p14:tracePt t="45421" x="10442575" y="3735388"/>
          <p14:tracePt t="45422" x="10450513" y="3735388"/>
          <p14:tracePt t="45423" x="10458450" y="3735388"/>
          <p14:tracePt t="45424" x="10461625" y="3735388"/>
          <p14:tracePt t="45425" x="10469563" y="3735388"/>
          <p14:tracePt t="45427" x="10474325" y="3735388"/>
          <p14:tracePt t="45428" x="10482263" y="3735388"/>
          <p14:tracePt t="45428" x="10487025" y="3735388"/>
          <p14:tracePt t="45430" x="10494963" y="3735388"/>
          <p14:tracePt t="45430" x="10498138" y="3735388"/>
          <p14:tracePt t="45431" x="10502900" y="3735388"/>
          <p14:tracePt t="45432" x="10506075" y="3735388"/>
          <p14:tracePt t="45433" x="10514013" y="3735388"/>
          <p14:tracePt t="45434" x="10518775" y="3735388"/>
          <p14:tracePt t="45435" x="10526713" y="3735388"/>
          <p14:tracePt t="45436" x="10529888" y="3735388"/>
          <p14:tracePt t="45437" x="10537825" y="3735388"/>
          <p14:tracePt t="45438" x="10542588" y="3735388"/>
          <p14:tracePt t="45439" x="10550525" y="3735388"/>
          <p14:tracePt t="45440" x="10553700" y="3735388"/>
          <p14:tracePt t="45441" x="10561638" y="3735388"/>
          <p14:tracePt t="45442" x="10566400" y="3735388"/>
          <p14:tracePt t="45444" x="10574338" y="3735388"/>
          <p14:tracePt t="45445" x="10582275" y="3735388"/>
          <p14:tracePt t="45446" x="10587038" y="3735388"/>
          <p14:tracePt t="45447" x="10590213" y="3735388"/>
          <p14:tracePt t="45448" x="10598150" y="3735388"/>
          <p14:tracePt t="45449" x="10602913" y="3735388"/>
          <p14:tracePt t="45450" x="10610850" y="3735388"/>
          <p14:tracePt t="45451" x="10614025" y="3735388"/>
          <p14:tracePt t="45452" x="10618788" y="3735388"/>
          <p14:tracePt t="45453" x="10626725" y="3735388"/>
          <p14:tracePt t="45454" x="10629900" y="3735388"/>
          <p14:tracePt t="45455" x="10634663" y="3735388"/>
          <p14:tracePt t="45457" x="10642600" y="3735388"/>
          <p14:tracePt t="45458" x="10645775" y="3735388"/>
          <p14:tracePt t="45460" x="10653713" y="3735388"/>
          <p14:tracePt t="45461" x="10658475" y="3735388"/>
          <p14:tracePt t="45462" x="10663238" y="3735388"/>
          <p14:tracePt t="45463" x="10666413" y="3735388"/>
          <p14:tracePt t="45464" x="10671175" y="3735388"/>
          <p14:tracePt t="45465" x="10674350" y="3735388"/>
          <p14:tracePt t="45466" x="10679113" y="3735388"/>
          <p14:tracePt t="45468" x="10682288" y="3735388"/>
          <p14:tracePt t="45469" x="10687050" y="3735388"/>
          <p14:tracePt t="45471" x="10690225" y="3735388"/>
          <p14:tracePt t="45471" x="10694988" y="3735388"/>
          <p14:tracePt t="45473" x="10698163" y="3735388"/>
          <p14:tracePt t="45474" x="10702925" y="3735388"/>
          <p14:tracePt t="45475" x="10706100" y="3735388"/>
          <p14:tracePt t="45477" x="10710863" y="3735388"/>
          <p14:tracePt t="45477" x="10714038" y="3735388"/>
          <p14:tracePt t="45479" x="10718800" y="3735388"/>
          <p14:tracePt t="45480" x="10721975" y="3735388"/>
          <p14:tracePt t="45483" x="10726738" y="3735388"/>
          <p14:tracePt t="45484" x="10729913" y="3735388"/>
          <p14:tracePt t="45485" x="10734675" y="3735388"/>
          <p14:tracePt t="45487" x="10737850" y="3735388"/>
          <p14:tracePt t="45489" x="10742613" y="3735388"/>
          <p14:tracePt t="45491" x="10745788" y="3735388"/>
          <p14:tracePt t="45492" x="10750550" y="3735388"/>
          <p14:tracePt t="45494" x="10755313" y="3735388"/>
          <p14:tracePt t="45495" x="10758488" y="3735388"/>
          <p14:tracePt t="45497" x="10763250" y="3735388"/>
          <p14:tracePt t="45501" x="10766425" y="3735388"/>
          <p14:tracePt t="45503" x="10771188" y="3735388"/>
          <p14:tracePt t="45504" x="10774363" y="3735388"/>
          <p14:tracePt t="45506" x="10779125" y="3735388"/>
          <p14:tracePt t="45508" x="10782300" y="3735388"/>
          <p14:tracePt t="45509" x="10787063" y="3735388"/>
          <p14:tracePt t="45511" x="10790238" y="3735388"/>
          <p14:tracePt t="45512" x="10795000" y="3735388"/>
          <p14:tracePt t="45514" x="10798175" y="3735388"/>
          <p14:tracePt t="45515" x="10802938" y="3735388"/>
          <p14:tracePt t="45518" x="10806113" y="3735388"/>
          <p14:tracePt t="45520" x="10810875" y="3735388"/>
          <p14:tracePt t="45520" x="10814050" y="3735388"/>
          <p14:tracePt t="45522" x="10818813" y="3735388"/>
          <p14:tracePt t="45524" x="10821988" y="3735388"/>
          <p14:tracePt t="45525" x="10826750" y="3735388"/>
          <p14:tracePt t="45527" x="10829925" y="3735388"/>
          <p14:tracePt t="45528" x="10834688" y="3735388"/>
          <p14:tracePt t="45529" x="10839450" y="3735388"/>
          <p14:tracePt t="45530" x="10842625" y="3735388"/>
          <p14:tracePt t="45534" x="10847388" y="3735388"/>
          <p14:tracePt t="45536" x="10850563" y="3735388"/>
          <p14:tracePt t="45536" x="10855325" y="3735388"/>
          <p14:tracePt t="45538" x="10858500" y="3735388"/>
          <p14:tracePt t="45539" x="10863263" y="3735388"/>
          <p14:tracePt t="45541" x="10866438" y="3735388"/>
          <p14:tracePt t="45543" x="10871200" y="3735388"/>
          <p14:tracePt t="45544" x="10874375" y="3735388"/>
          <p14:tracePt t="45547" x="10879138" y="3735388"/>
          <p14:tracePt t="45549" x="10882313" y="3735388"/>
          <p14:tracePt t="45554" x="10887075" y="3735388"/>
          <p14:tracePt t="45556" x="10890250" y="3735388"/>
          <p14:tracePt t="45560" x="10895013" y="3735388"/>
          <p14:tracePt t="45565" x="10898188" y="3735388"/>
          <p14:tracePt t="45569" x="10902950" y="3735388"/>
          <p14:tracePt t="45577" x="10906125" y="3735388"/>
          <p14:tracePt t="45584" x="10910888" y="3735388"/>
          <p14:tracePt t="45592" x="10914063" y="3735388"/>
          <p14:tracePt t="45600" x="10918825" y="3735388"/>
          <p14:tracePt t="45608" x="10922000" y="3735388"/>
          <p14:tracePt t="45623" x="10926763" y="3735388"/>
          <p14:tracePt t="45636" x="10931525" y="3735388"/>
          <p14:tracePt t="45950" x="10934700" y="3735388"/>
          <p14:tracePt t="45953" x="10939463" y="3735388"/>
          <p14:tracePt t="45955" x="10942638" y="3735388"/>
          <p14:tracePt t="45957" x="10947400" y="3738563"/>
          <p14:tracePt t="45958" x="10950575" y="3738563"/>
          <p14:tracePt t="45961" x="10958513" y="3743325"/>
          <p14:tracePt t="45963" x="10963275" y="3743325"/>
          <p14:tracePt t="45964" x="10971213" y="3746500"/>
          <p14:tracePt t="45967" x="10974388" y="3746500"/>
          <p14:tracePt t="45967" x="10979150" y="3746500"/>
          <p14:tracePt t="45969" x="10982325" y="3746500"/>
          <p14:tracePt t="45969" x="10990263" y="3751263"/>
          <p14:tracePt t="45971" x="10995025" y="3751263"/>
          <p14:tracePt t="45973" x="11002963" y="3756025"/>
          <p14:tracePt t="45973" x="11010900" y="3756025"/>
          <p14:tracePt t="45974" x="11014075" y="3759200"/>
          <p14:tracePt t="45975" x="11023600" y="3759200"/>
          <p14:tracePt t="45977" x="11026775" y="3763963"/>
          <p14:tracePt t="45978" x="11034713" y="3763963"/>
          <p14:tracePt t="45978" x="11034713" y="3767138"/>
          <p14:tracePt t="45979" x="11042650" y="3767138"/>
          <p14:tracePt t="45980" x="11055350" y="3771900"/>
          <p14:tracePt t="45981" x="11058525" y="3771900"/>
          <p14:tracePt t="45982" x="11066463" y="3775075"/>
          <p14:tracePt t="45983" x="11079163" y="3775075"/>
          <p14:tracePt t="45984" x="11082338" y="3779838"/>
          <p14:tracePt t="45985" x="11090275" y="3779838"/>
          <p14:tracePt t="45986" x="11098213" y="3783013"/>
          <p14:tracePt t="45987" x="11110913" y="3787775"/>
          <p14:tracePt t="45988" x="11123613" y="3787775"/>
          <p14:tracePt t="45989" x="11131550" y="3790950"/>
          <p14:tracePt t="45990" x="11139488" y="3798888"/>
          <p14:tracePt t="45991" x="11147425" y="3798888"/>
          <p14:tracePt t="45992" x="11155363" y="3803650"/>
          <p14:tracePt t="45994" x="11171238" y="3806825"/>
          <p14:tracePt t="45995" x="11179175" y="3811588"/>
          <p14:tracePt t="45996" x="11190288" y="3811588"/>
          <p14:tracePt t="45996" x="11199813" y="3814763"/>
          <p14:tracePt t="45998" x="11215688" y="3819525"/>
          <p14:tracePt t="45999" x="11226800" y="3819525"/>
          <p14:tracePt t="45999" x="11239500" y="3822700"/>
          <p14:tracePt t="46001" x="11250613" y="3827463"/>
          <p14:tracePt t="46001" x="11258550" y="3835400"/>
          <p14:tracePt t="46002" x="11274425" y="3835400"/>
          <p14:tracePt t="46005" x="11303000" y="3843338"/>
          <p14:tracePt t="46005" x="11315700" y="3848100"/>
          <p14:tracePt t="46006" x="11323638" y="3851275"/>
          <p14:tracePt t="46007" x="11342688" y="3856038"/>
          <p14:tracePt t="46008" x="11358563" y="3863975"/>
          <p14:tracePt t="46010" x="11371263" y="3867150"/>
          <p14:tracePt t="46011" x="11387138" y="3871913"/>
          <p14:tracePt t="46011" x="11395075" y="3875088"/>
          <p14:tracePt t="46013" x="11415713" y="3875088"/>
          <p14:tracePt t="46014" x="11434763" y="3887788"/>
          <p14:tracePt t="46014" x="11447463" y="3890963"/>
          <p14:tracePt t="46015" x="11458575" y="3895725"/>
          <p14:tracePt t="46016" x="11471275" y="3898900"/>
          <p14:tracePt t="46018" x="11507788" y="3906838"/>
          <p14:tracePt t="46019" x="11518900" y="3914775"/>
          <p14:tracePt t="46020" x="11534775" y="3919538"/>
          <p14:tracePt t="46021" x="11542713" y="3922713"/>
          <p14:tracePt t="46022" x="11555413" y="3927475"/>
          <p14:tracePt t="46023" x="11576050" y="3930650"/>
          <p14:tracePt t="46024" x="11591925" y="3935413"/>
          <p14:tracePt t="46025" x="11603038" y="3943350"/>
          <p14:tracePt t="46027" x="11610975" y="3948113"/>
          <p14:tracePt t="46027" x="11626850" y="3951288"/>
          <p14:tracePt t="46028" x="11647488" y="3959225"/>
          <p14:tracePt t="46030" x="11663363" y="3967163"/>
          <p14:tracePt t="46031" x="11671300" y="3971925"/>
          <p14:tracePt t="46032" x="11684000" y="3975100"/>
          <p14:tracePt t="46032" x="11691938" y="3979863"/>
          <p14:tracePt t="46033" x="11710988" y="3983038"/>
          <p14:tracePt t="46035" x="11734800" y="3998913"/>
          <p14:tracePt t="46036" x="11752263" y="4003675"/>
          <p14:tracePt t="46037" x="11763375" y="4006850"/>
          <p14:tracePt t="46038" x="11779250" y="4011613"/>
          <p14:tracePt t="46039" x="11791950" y="4014788"/>
          <p14:tracePt t="46040" x="11807825" y="4019550"/>
          <p14:tracePt t="46041" x="11815763" y="4027488"/>
          <p14:tracePt t="46042" x="11826875" y="4035425"/>
          <p14:tracePt t="46043" x="11847513" y="4040188"/>
          <p14:tracePt t="46044" x="11860213" y="4043363"/>
          <p14:tracePt t="46045" x="11871325" y="4056063"/>
          <p14:tracePt t="46047" x="11887200" y="4059238"/>
          <p14:tracePt t="46050" x="11944350" y="4083050"/>
          <p14:tracePt t="46051" x="11955463" y="4087813"/>
          <p14:tracePt t="46052" x="11971338" y="4095750"/>
          <p14:tracePt t="46053" x="11984038" y="4106863"/>
          <p14:tracePt t="46054" x="11999913" y="4111625"/>
          <p14:tracePt t="46055" x="12015788" y="4119563"/>
          <p14:tracePt t="46056" x="12028488" y="4124325"/>
          <p14:tracePt t="46057" x="12044363" y="4132263"/>
          <p14:tracePt t="46058" x="12063413" y="4140200"/>
          <p14:tracePt t="46060" x="12087225" y="4156075"/>
          <p14:tracePt t="46061" x="12099925" y="4159250"/>
          <p14:tracePt t="46063" x="12115800" y="4167188"/>
          <p14:tracePt t="46064" x="12136438" y="4179888"/>
          <p14:tracePt t="46066" x="12160250" y="4191000"/>
          <p14:tracePt t="46067" x="12171363" y="4195763"/>
          <p14:tracePt t="46067" x="12187238" y="4208463"/>
        </p14:tracePtLst>
      </p14:laserTraceLst>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67BAE848-5848-4077-9668-D3F97EC0229D}"/>
              </a:ext>
            </a:extLst>
          </p:cNvPr>
          <p:cNvPicPr>
            <a:picLocks noChangeAspect="1"/>
          </p:cNvPicPr>
          <p:nvPr/>
        </p:nvPicPr>
        <p:blipFill>
          <a:blip r:embed="rId4"/>
          <a:stretch>
            <a:fillRect/>
          </a:stretch>
        </p:blipFill>
        <p:spPr>
          <a:xfrm>
            <a:off x="2648755" y="1177856"/>
            <a:ext cx="6824515" cy="5237975"/>
          </a:xfrm>
          <a:prstGeom prst="rect">
            <a:avLst/>
          </a:prstGeom>
        </p:spPr>
      </p:pic>
      <p:sp>
        <p:nvSpPr>
          <p:cNvPr id="3" name="Zástupný symbol pro číslo snímku 2">
            <a:extLst>
              <a:ext uri="{FF2B5EF4-FFF2-40B4-BE49-F238E27FC236}">
                <a16:creationId xmlns:a16="http://schemas.microsoft.com/office/drawing/2014/main" id="{E87DDF46-B07A-4183-A6C4-5CFC46E95960}"/>
              </a:ext>
            </a:extLst>
          </p:cNvPr>
          <p:cNvSpPr>
            <a:spLocks noGrp="1"/>
          </p:cNvSpPr>
          <p:nvPr>
            <p:ph type="sldNum" sz="quarter" idx="12"/>
          </p:nvPr>
        </p:nvSpPr>
        <p:spPr/>
        <p:txBody>
          <a:bodyPr/>
          <a:lstStyle/>
          <a:p>
            <a:fld id="{87170177-53BE-4EA4-8CC9-5D64EAB74717}" type="slidenum">
              <a:rPr lang="cs-CZ" sz="900" smtClean="0"/>
              <a:t>7</a:t>
            </a:fld>
            <a:endParaRPr lang="cs-CZ" sz="900" dirty="0"/>
          </a:p>
        </p:txBody>
      </p:sp>
      <p:sp>
        <p:nvSpPr>
          <p:cNvPr id="4" name="Rectangle 94">
            <a:extLst>
              <a:ext uri="{FF2B5EF4-FFF2-40B4-BE49-F238E27FC236}">
                <a16:creationId xmlns:a16="http://schemas.microsoft.com/office/drawing/2014/main" id="{32C0964D-8390-4CE7-85AE-760E74072C20}"/>
              </a:ext>
            </a:extLst>
          </p:cNvPr>
          <p:cNvSpPr/>
          <p:nvPr/>
        </p:nvSpPr>
        <p:spPr>
          <a:xfrm>
            <a:off x="0" y="-17702"/>
            <a:ext cx="12192001" cy="10800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82">
            <a:extLst>
              <a:ext uri="{FF2B5EF4-FFF2-40B4-BE49-F238E27FC236}">
                <a16:creationId xmlns:a16="http://schemas.microsoft.com/office/drawing/2014/main" id="{D0E75087-D62C-461B-B63C-582B2042EDFC}"/>
              </a:ext>
            </a:extLst>
          </p:cNvPr>
          <p:cNvSpPr txBox="1"/>
          <p:nvPr/>
        </p:nvSpPr>
        <p:spPr>
          <a:xfrm>
            <a:off x="304263" y="200887"/>
            <a:ext cx="11583472" cy="584775"/>
          </a:xfrm>
          <a:prstGeom prst="rect">
            <a:avLst/>
          </a:prstGeom>
          <a:noFill/>
        </p:spPr>
        <p:txBody>
          <a:bodyPr wrap="square" rtlCol="0">
            <a:spAutoFit/>
          </a:bodyPr>
          <a:lstStyle/>
          <a:p>
            <a:r>
              <a:rPr lang="cs-CZ" sz="3200" b="1" dirty="0" err="1">
                <a:solidFill>
                  <a:schemeClr val="bg2"/>
                </a:solidFill>
                <a:latin typeface="+mj-lt"/>
              </a:rPr>
              <a:t>Introduction</a:t>
            </a:r>
            <a:r>
              <a:rPr lang="cs-CZ" sz="3200" b="1" dirty="0">
                <a:solidFill>
                  <a:schemeClr val="bg2"/>
                </a:solidFill>
                <a:latin typeface="+mj-lt"/>
              </a:rPr>
              <a:t> – </a:t>
            </a:r>
            <a:r>
              <a:rPr lang="en-GB" sz="3200" b="1" dirty="0">
                <a:solidFill>
                  <a:schemeClr val="bg2"/>
                </a:solidFill>
                <a:latin typeface="+mj-lt"/>
              </a:rPr>
              <a:t>AEC-Q200 vs ESA ESCC Space Delta Analysis</a:t>
            </a:r>
            <a:endParaRPr lang="en-US" sz="3200" dirty="0">
              <a:solidFill>
                <a:schemeClr val="tx2"/>
              </a:solidFill>
            </a:endParaRPr>
          </a:p>
        </p:txBody>
      </p:sp>
      <p:sp>
        <p:nvSpPr>
          <p:cNvPr id="6" name="Obdélník 5">
            <a:extLst>
              <a:ext uri="{FF2B5EF4-FFF2-40B4-BE49-F238E27FC236}">
                <a16:creationId xmlns:a16="http://schemas.microsoft.com/office/drawing/2014/main" id="{8610F926-DB40-4B1C-A1C5-B21BB4ED5690}"/>
              </a:ext>
            </a:extLst>
          </p:cNvPr>
          <p:cNvSpPr/>
          <p:nvPr/>
        </p:nvSpPr>
        <p:spPr>
          <a:xfrm>
            <a:off x="6362163" y="2007354"/>
            <a:ext cx="3142445" cy="26361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7" name="TextovéPole 6">
            <a:extLst>
              <a:ext uri="{FF2B5EF4-FFF2-40B4-BE49-F238E27FC236}">
                <a16:creationId xmlns:a16="http://schemas.microsoft.com/office/drawing/2014/main" id="{2721D61E-4FA5-4C55-9BBC-B4E6B4E4F6CE}"/>
              </a:ext>
            </a:extLst>
          </p:cNvPr>
          <p:cNvSpPr txBox="1"/>
          <p:nvPr/>
        </p:nvSpPr>
        <p:spPr>
          <a:xfrm>
            <a:off x="9564613" y="1771105"/>
            <a:ext cx="1978427" cy="369332"/>
          </a:xfrm>
          <a:prstGeom prst="rect">
            <a:avLst/>
          </a:prstGeom>
          <a:noFill/>
        </p:spPr>
        <p:txBody>
          <a:bodyPr wrap="none" rtlCol="0">
            <a:spAutoFit/>
          </a:bodyPr>
          <a:lstStyle/>
          <a:p>
            <a:r>
              <a:rPr lang="en-GB" dirty="0"/>
              <a:t>Mandatory Burn-In</a:t>
            </a:r>
            <a:endParaRPr lang="cs-CZ" dirty="0"/>
          </a:p>
        </p:txBody>
      </p:sp>
      <p:sp>
        <p:nvSpPr>
          <p:cNvPr id="9" name="Zástupný symbol pro zápatí 2">
            <a:extLst>
              <a:ext uri="{FF2B5EF4-FFF2-40B4-BE49-F238E27FC236}">
                <a16:creationId xmlns:a16="http://schemas.microsoft.com/office/drawing/2014/main" id="{01DD58C9-0107-4474-9C2B-B92A8FE6638E}"/>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8" name="Zvuk 7">
            <a:hlinkClick r:id="" action="ppaction://media"/>
            <a:extLst>
              <a:ext uri="{FF2B5EF4-FFF2-40B4-BE49-F238E27FC236}">
                <a16:creationId xmlns:a16="http://schemas.microsoft.com/office/drawing/2014/main" id="{BC6826D8-0EAD-460F-83A7-0F6FE8E63875}"/>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1320007761"/>
      </p:ext>
    </p:extLst>
  </p:cSld>
  <p:clrMapOvr>
    <a:masterClrMapping/>
  </p:clrMapOvr>
  <mc:AlternateContent xmlns:mc="http://schemas.openxmlformats.org/markup-compatibility/2006">
    <mc:Choice xmlns:p14="http://schemas.microsoft.com/office/powerpoint/2010/main" Requires="p14">
      <p:transition spd="slow" p14:dur="2000" advTm="76194"/>
    </mc:Choice>
    <mc:Fallback>
      <p:transition spd="slow" advTm="7619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extLst>
    <p:ext uri="{3A86A75C-4F4B-4683-9AE1-C65F6400EC91}">
      <p14:laserTraceLst xmlns:p14="http://schemas.microsoft.com/office/powerpoint/2010/main">
        <p14:tracePtLst>
          <p14:tracePt t="11252" x="12139613" y="2193925"/>
          <p14:tracePt t="11253" x="12112625" y="2193925"/>
          <p14:tracePt t="11254" x="12036425" y="2185988"/>
          <p14:tracePt t="11255" x="11999913" y="2185988"/>
          <p14:tracePt t="11257" x="11963400" y="2185988"/>
          <p14:tracePt t="11257" x="11931650" y="2185988"/>
          <p14:tracePt t="11258" x="11884025" y="2181225"/>
          <p14:tracePt t="11259" x="11852275" y="2181225"/>
          <p14:tracePt t="11260" x="11815763" y="2181225"/>
          <p14:tracePt t="11261" x="11779250" y="2181225"/>
          <p14:tracePt t="11262" x="11747500" y="2181225"/>
          <p14:tracePt t="11263" x="11695113" y="2181225"/>
          <p14:tracePt t="11264" x="11660188" y="2173288"/>
          <p14:tracePt t="11265" x="11623675" y="2173288"/>
          <p14:tracePt t="11266" x="11591925" y="2173288"/>
          <p14:tracePt t="11268" x="11555413" y="2173288"/>
          <p14:tracePt t="11269" x="11503025" y="2173288"/>
          <p14:tracePt t="11270" x="11466513" y="2173288"/>
          <p14:tracePt t="11271" x="11434763" y="2173288"/>
          <p14:tracePt t="11272" x="11399838" y="2173288"/>
          <p14:tracePt t="11273" x="11371263" y="2173288"/>
          <p14:tracePt t="11273" x="11318875" y="2170113"/>
          <p14:tracePt t="11274" x="11295063" y="2170113"/>
          <p14:tracePt t="11275" x="11258550" y="2170113"/>
          <p14:tracePt t="11277" x="11234738" y="2170113"/>
          <p14:tracePt t="11277" x="11199813" y="2170113"/>
          <p14:tracePt t="11278" x="11155363" y="2170113"/>
          <p14:tracePt t="11280" x="11126788" y="2170113"/>
          <p14:tracePt t="11280" x="11102975" y="2170113"/>
          <p14:tracePt t="11281" x="11082338" y="2170113"/>
          <p14:tracePt t="11282" x="11055350" y="2162175"/>
          <p14:tracePt t="11283" x="11023600" y="2162175"/>
          <p14:tracePt t="11285" x="10995025" y="2162175"/>
          <p14:tracePt t="11286" x="10974388" y="2162175"/>
          <p14:tracePt t="11286" x="10950575" y="2162175"/>
          <p14:tracePt t="11287" x="10931525" y="2162175"/>
          <p14:tracePt t="11289" x="10906125" y="2157413"/>
          <p14:tracePt t="11290" x="10887075" y="2157413"/>
          <p14:tracePt t="11290" x="10866438" y="2157413"/>
          <p14:tracePt t="11291" x="10847388" y="2157413"/>
          <p14:tracePt t="11292" x="10834688" y="2157413"/>
          <p14:tracePt t="11293" x="10810875" y="2157413"/>
          <p14:tracePt t="11294" x="10795000" y="2157413"/>
          <p14:tracePt t="11296" x="10763250" y="2157413"/>
          <p14:tracePt t="11297" x="10742613" y="2157413"/>
          <p14:tracePt t="11298" x="10721975" y="2157413"/>
          <p14:tracePt t="11299" x="10710863" y="2154238"/>
          <p14:tracePt t="11301" x="10690225" y="2154238"/>
          <p14:tracePt t="11302" x="10679113" y="2154238"/>
          <p14:tracePt t="11303" x="10663238" y="2154238"/>
          <p14:tracePt t="11304" x="10642600" y="2154238"/>
          <p14:tracePt t="11304" x="10629900" y="2154238"/>
          <p14:tracePt t="11306" x="10618788" y="2154238"/>
          <p14:tracePt t="11307" x="10602913" y="2154238"/>
          <p14:tracePt t="11308" x="10590213" y="2154238"/>
          <p14:tracePt t="11309" x="10571163" y="2154238"/>
          <p14:tracePt t="11310" x="10553700" y="2149475"/>
          <p14:tracePt t="11310" x="10542588" y="2149475"/>
          <p14:tracePt t="11312" x="10534650" y="2149475"/>
          <p14:tracePt t="11312" x="10521950" y="2149475"/>
          <p14:tracePt t="11313" x="10502900" y="2146300"/>
          <p14:tracePt t="11314" x="10487025" y="2146300"/>
          <p14:tracePt t="11315" x="10474325" y="2146300"/>
          <p14:tracePt t="11316" x="10458450" y="2146300"/>
          <p14:tracePt t="11318" x="10445750" y="2146300"/>
          <p14:tracePt t="11319" x="10434638" y="2146300"/>
          <p14:tracePt t="11320" x="10418763" y="2138363"/>
          <p14:tracePt t="11320" x="10406063" y="2138363"/>
          <p14:tracePt t="11322" x="10390188" y="2138363"/>
          <p14:tracePt t="11323" x="10377488" y="2138363"/>
          <p14:tracePt t="11324" x="10361613" y="2138363"/>
          <p14:tracePt t="11325" x="10350500" y="2138363"/>
          <p14:tracePt t="11326" x="10329863" y="2138363"/>
          <p14:tracePt t="11327" x="10313988" y="2133600"/>
          <p14:tracePt t="11328" x="10293350" y="2133600"/>
          <p14:tracePt t="11329" x="10285413" y="2133600"/>
          <p14:tracePt t="11330" x="10274300" y="2133600"/>
          <p14:tracePt t="11331" x="10258425" y="2130425"/>
          <p14:tracePt t="11332" x="10245725" y="2130425"/>
          <p14:tracePt t="11333" x="10237788" y="2130425"/>
          <p14:tracePt t="11334" x="10218738" y="2130425"/>
          <p14:tracePt t="11335" x="10210800" y="2130425"/>
          <p14:tracePt t="11336" x="10193338" y="2125663"/>
          <p14:tracePt t="11338" x="10185400" y="2125663"/>
          <p14:tracePt t="11339" x="10169525" y="2125663"/>
          <p14:tracePt t="11340" x="10161588" y="2125663"/>
          <p14:tracePt t="11341" x="10145713" y="2125663"/>
          <p14:tracePt t="11342" x="10137775" y="2125663"/>
          <p14:tracePt t="11342" x="10126663" y="2125663"/>
          <p14:tracePt t="11344" x="10109200" y="2122488"/>
          <p14:tracePt t="11345" x="10098088" y="2122488"/>
          <p14:tracePt t="11345" x="10082213" y="2122488"/>
          <p14:tracePt t="11346" x="10074275" y="2122488"/>
          <p14:tracePt t="11347" x="10061575" y="2122488"/>
          <p14:tracePt t="11348" x="10045700" y="2117725"/>
          <p14:tracePt t="11349" x="10037763" y="2117725"/>
          <p14:tracePt t="11352" x="10017125" y="2117725"/>
          <p14:tracePt t="11353" x="10001250" y="2117725"/>
          <p14:tracePt t="11353" x="9993313" y="2117725"/>
          <p14:tracePt t="11355" x="9974263" y="2109788"/>
          <p14:tracePt t="11356" x="9966325" y="2109788"/>
          <p14:tracePt t="11356" x="9953625" y="2109788"/>
          <p14:tracePt t="11358" x="9945688" y="2109788"/>
          <p14:tracePt t="11359" x="9925050" y="2109788"/>
          <p14:tracePt t="11360" x="9917113" y="2106613"/>
          <p14:tracePt t="11360" x="9906000" y="2106613"/>
          <p14:tracePt t="11361" x="9893300" y="2106613"/>
          <p14:tracePt t="11362" x="9882188" y="2106613"/>
          <p14:tracePt t="11363" x="9874250" y="2106613"/>
          <p14:tracePt t="11364" x="9853613" y="2106613"/>
          <p14:tracePt t="11365" x="9840913" y="2106613"/>
          <p14:tracePt t="11366" x="9832975" y="2106613"/>
          <p14:tracePt t="11368" x="9817100" y="2106613"/>
          <p14:tracePt t="11369" x="9801225" y="2106613"/>
          <p14:tracePt t="11370" x="9793288" y="2106613"/>
          <p14:tracePt t="11371" x="9777413" y="2101850"/>
          <p14:tracePt t="11371" x="9766300" y="2101850"/>
          <p14:tracePt t="11373" x="9758363" y="2101850"/>
          <p14:tracePt t="11374" x="9740900" y="2101850"/>
          <p14:tracePt t="11374" x="9721850" y="2101850"/>
          <p14:tracePt t="11375" x="9709150" y="2101850"/>
          <p14:tracePt t="11376" x="9701213" y="2097088"/>
          <p14:tracePt t="11377" x="9685338" y="2097088"/>
          <p14:tracePt t="11378" x="9669463" y="2097088"/>
          <p14:tracePt t="11379" x="9653588" y="2097088"/>
          <p14:tracePt t="11380" x="9640888" y="2097088"/>
          <p14:tracePt t="11381" x="9625013" y="2097088"/>
          <p14:tracePt t="11382" x="9613900" y="2097088"/>
          <p14:tracePt t="11384" x="9598025" y="2093913"/>
          <p14:tracePt t="11385" x="9574213" y="2093913"/>
          <p14:tracePt t="11386" x="9561513" y="2093913"/>
          <p14:tracePt t="11387" x="9545638" y="2093913"/>
          <p14:tracePt t="11388" x="9532938" y="2093913"/>
          <p14:tracePt t="11390" x="9493250" y="2093913"/>
          <p14:tracePt t="11390" x="9472613" y="2093913"/>
          <p14:tracePt t="11391" x="9461500" y="2089150"/>
          <p14:tracePt t="11392" x="9440863" y="2089150"/>
          <p14:tracePt t="11393" x="9424988" y="2089150"/>
          <p14:tracePt t="11394" x="9401175" y="2089150"/>
          <p14:tracePt t="11395" x="9380538" y="2089150"/>
          <p14:tracePt t="11396" x="9369425" y="2089150"/>
          <p14:tracePt t="11397" x="9348788" y="2089150"/>
          <p14:tracePt t="11399" x="9324975" y="2089150"/>
          <p14:tracePt t="11400" x="9309100" y="2089150"/>
          <p14:tracePt t="11401" x="9277350" y="2081213"/>
          <p14:tracePt t="11402" x="9256713" y="2081213"/>
          <p14:tracePt t="11404" x="9237663" y="2081213"/>
          <p14:tracePt t="11405" x="9213850" y="2081213"/>
          <p14:tracePt t="11406" x="9201150" y="2081213"/>
          <p14:tracePt t="11407" x="9180513" y="2081213"/>
          <p14:tracePt t="11407" x="9161463" y="2081213"/>
          <p14:tracePt t="11408" x="9140825" y="2081213"/>
          <p14:tracePt t="11409" x="9117013" y="2081213"/>
          <p14:tracePt t="11410" x="9101138" y="2081213"/>
          <p14:tracePt t="11411" x="9085263" y="2081213"/>
          <p14:tracePt t="11412" x="9064625" y="2081213"/>
          <p14:tracePt t="11413" x="9045575" y="2081213"/>
          <p14:tracePt t="11415" x="9024938" y="2081213"/>
          <p14:tracePt t="11415" x="9009063" y="2081213"/>
          <p14:tracePt t="11416" x="8988425" y="2081213"/>
          <p14:tracePt t="11418" x="8972550" y="2081213"/>
          <p14:tracePt t="11419" x="8956675" y="2081213"/>
          <p14:tracePt t="11420" x="8916988" y="2081213"/>
          <p14:tracePt t="11422" x="8904288" y="2081213"/>
          <p14:tracePt t="11423" x="8885238" y="2081213"/>
          <p14:tracePt t="11423" x="8869363" y="2081213"/>
          <p14:tracePt t="11424" x="8843963" y="2081213"/>
          <p14:tracePt t="11425" x="8832850" y="2081213"/>
          <p14:tracePt t="11426" x="8816975" y="2081213"/>
          <p14:tracePt t="11427" x="8796338" y="2081213"/>
          <p14:tracePt t="11428" x="8785225" y="2081213"/>
          <p14:tracePt t="11430" x="8764588" y="2081213"/>
          <p14:tracePt t="11431" x="8751888" y="2081213"/>
          <p14:tracePt t="11431" x="8732838" y="2081213"/>
          <p14:tracePt t="11433" x="8716963" y="2085975"/>
          <p14:tracePt t="11434" x="8704263" y="2085975"/>
          <p14:tracePt t="11435" x="8685213" y="2085975"/>
          <p14:tracePt t="11436" x="8672513" y="2085975"/>
          <p14:tracePt t="11437" x="8656638" y="2089150"/>
          <p14:tracePt t="11437" x="8643938" y="2089150"/>
          <p14:tracePt t="11438" x="8628063" y="2089150"/>
          <p14:tracePt t="11439" x="8604250" y="2089150"/>
          <p14:tracePt t="11440" x="8593138" y="2093913"/>
          <p14:tracePt t="11441" x="8575675" y="2093913"/>
          <p14:tracePt t="11442" x="8564563" y="2093913"/>
          <p14:tracePt t="11443" x="8548688" y="2093913"/>
          <p14:tracePt t="11444" x="8535988" y="2097088"/>
          <p14:tracePt t="11445" x="8520113" y="2097088"/>
          <p14:tracePt t="11447" x="8509000" y="2097088"/>
          <p14:tracePt t="11447" x="8496300" y="2097088"/>
          <p14:tracePt t="11448" x="8483600" y="2097088"/>
          <p14:tracePt t="11450" x="8467725" y="2101850"/>
          <p14:tracePt t="11451" x="8440738" y="2101850"/>
          <p14:tracePt t="11453" x="8424863" y="2101850"/>
          <p14:tracePt t="11453" x="8412163" y="2109788"/>
          <p14:tracePt t="11454" x="8396288" y="2109788"/>
          <p14:tracePt t="11455" x="8383588" y="2109788"/>
          <p14:tracePt t="11456" x="8364538" y="2109788"/>
          <p14:tracePt t="11457" x="8351838" y="2109788"/>
          <p14:tracePt t="11459" x="8335963" y="2114550"/>
          <p14:tracePt t="11460" x="8316913" y="2114550"/>
          <p14:tracePt t="11461" x="8304213" y="2114550"/>
          <p14:tracePt t="11461" x="8283575" y="2114550"/>
          <p14:tracePt t="11462" x="8272463" y="2114550"/>
          <p14:tracePt t="11463" x="8256588" y="2117725"/>
          <p14:tracePt t="11464" x="8232775" y="2117725"/>
          <p14:tracePt t="11466" x="8220075" y="2117725"/>
          <p14:tracePt t="11467" x="8199438" y="2117725"/>
          <p14:tracePt t="11468" x="8183563" y="2122488"/>
          <p14:tracePt t="11469" x="8164513" y="2122488"/>
          <p14:tracePt t="11470" x="8140700" y="2122488"/>
          <p14:tracePt t="11471" x="8128000" y="2125663"/>
          <p14:tracePt t="11471" x="8107363" y="2125663"/>
          <p14:tracePt t="11473" x="8088313" y="2125663"/>
          <p14:tracePt t="11474" x="8072438" y="2130425"/>
          <p14:tracePt t="11474" x="8048625" y="2130425"/>
          <p14:tracePt t="11476" x="8027988" y="2138363"/>
          <p14:tracePt t="11476" x="8007350" y="2138363"/>
          <p14:tracePt t="11478" x="7991475" y="2138363"/>
          <p14:tracePt t="11478" x="7975600" y="2141538"/>
          <p14:tracePt t="11479" x="7951788" y="2141538"/>
          <p14:tracePt t="11480" x="7931150" y="2146300"/>
          <p14:tracePt t="11481" x="7912100" y="2146300"/>
          <p14:tracePt t="11482" x="7891463" y="2149475"/>
          <p14:tracePt t="11483" x="7880350" y="2149475"/>
          <p14:tracePt t="11484" x="7851775" y="2157413"/>
          <p14:tracePt t="11486" x="7831138" y="2162175"/>
          <p14:tracePt t="11486" x="7812088" y="2162175"/>
          <p14:tracePt t="11487" x="7796213" y="2162175"/>
          <p14:tracePt t="11488" x="7775575" y="2165350"/>
          <p14:tracePt t="11489" x="7759700" y="2165350"/>
          <p14:tracePt t="11491" x="7735888" y="2170113"/>
          <p14:tracePt t="11491" x="7715250" y="2170113"/>
          <p14:tracePt t="11492" x="7696200" y="2178050"/>
          <p14:tracePt t="11493" x="7675563" y="2178050"/>
          <p14:tracePt t="11494" x="7654925" y="2181225"/>
          <p14:tracePt t="11495" x="7635875" y="2181225"/>
          <p14:tracePt t="11496" x="7620000" y="2185988"/>
          <p14:tracePt t="11497" x="7599363" y="2185988"/>
          <p14:tracePt t="11498" x="7583488" y="2189163"/>
          <p14:tracePt t="11499" x="7562850" y="2189163"/>
          <p14:tracePt t="11500" x="7539038" y="2198688"/>
          <p14:tracePt t="11502" x="7519988" y="2198688"/>
          <p14:tracePt t="11502" x="7499350" y="2198688"/>
          <p14:tracePt t="11504" x="7478713" y="2201863"/>
          <p14:tracePt t="11504" x="7454900" y="2201863"/>
          <p14:tracePt t="11505" x="7439025" y="2206625"/>
          <p14:tracePt t="11506" x="7423150" y="2206625"/>
          <p14:tracePt t="11507" x="7402513" y="2206625"/>
          <p14:tracePt t="11508" x="7383463" y="2209800"/>
          <p14:tracePt t="11509" x="7367588" y="2209800"/>
          <p14:tracePt t="11510" x="7343775" y="2214563"/>
          <p14:tracePt t="11511" x="7323138" y="2214563"/>
          <p14:tracePt t="11512" x="7302500" y="2214563"/>
          <p14:tracePt t="11513" x="7291388" y="2222500"/>
          <p14:tracePt t="11514" x="7262813" y="2222500"/>
          <p14:tracePt t="11515" x="7246938" y="2222500"/>
          <p14:tracePt t="11516" x="7231063" y="2225675"/>
          <p14:tracePt t="11518" x="7210425" y="2225675"/>
          <p14:tracePt t="11518" x="7191375" y="2225675"/>
          <p14:tracePt t="11519" x="7178675" y="2225675"/>
          <p14:tracePt t="11520" x="7151688" y="2230438"/>
          <p14:tracePt t="11521" x="7135813" y="2230438"/>
          <p14:tracePt t="11523" x="7115175" y="2230438"/>
          <p14:tracePt t="11523" x="7099300" y="2230438"/>
          <p14:tracePt t="11524" x="7075488" y="2233613"/>
          <p14:tracePt t="11525" x="7054850" y="2233613"/>
          <p14:tracePt t="11526" x="7042150" y="2233613"/>
          <p14:tracePt t="11527" x="7026275" y="2233613"/>
          <p14:tracePt t="11528" x="7010400" y="2233613"/>
          <p14:tracePt t="11529" x="6991350" y="2233613"/>
          <p14:tracePt t="11530" x="6970713" y="2233613"/>
          <p14:tracePt t="11531" x="6959600" y="2233613"/>
          <p14:tracePt t="11532" x="6938963" y="2241550"/>
          <p14:tracePt t="11533" x="6923088" y="2241550"/>
          <p14:tracePt t="11534" x="6899275" y="2241550"/>
          <p14:tracePt t="11536" x="6883400" y="2241550"/>
          <p14:tracePt t="11536" x="6870700" y="2241550"/>
          <p14:tracePt t="11537" x="6858000" y="2241550"/>
          <p14:tracePt t="11538" x="6842125" y="2241550"/>
          <p14:tracePt t="11539" x="6823075" y="2241550"/>
          <p14:tracePt t="11540" x="6807200" y="2241550"/>
          <p14:tracePt t="11541" x="6791325" y="2241550"/>
          <p14:tracePt t="11542" x="6778625" y="2241550"/>
          <p14:tracePt t="11543" x="6762750" y="2241550"/>
          <p14:tracePt t="11544" x="6750050" y="2241550"/>
          <p14:tracePt t="11545" x="6731000" y="2241550"/>
          <p14:tracePt t="11546" x="6718300" y="2241550"/>
          <p14:tracePt t="11547" x="6702425" y="2241550"/>
          <p14:tracePt t="11548" x="6691313" y="2241550"/>
          <p14:tracePt t="11549" x="6673850" y="2241550"/>
          <p14:tracePt t="11551" x="6650038" y="2241550"/>
          <p14:tracePt t="11552" x="6634163" y="2241550"/>
          <p14:tracePt t="11553" x="6623050" y="2238375"/>
          <p14:tracePt t="11554" x="6607175" y="2238375"/>
          <p14:tracePt t="11555" x="6594475" y="2238375"/>
          <p14:tracePt t="11556" x="6578600" y="2238375"/>
          <p14:tracePt t="11557" x="6565900" y="2233613"/>
          <p14:tracePt t="11558" x="6557963" y="2233613"/>
          <p14:tracePt t="11559" x="6542088" y="2233613"/>
          <p14:tracePt t="11560" x="6530975" y="2230438"/>
          <p14:tracePt t="11561" x="6518275" y="2230438"/>
          <p14:tracePt t="11562" x="6507163" y="2230438"/>
          <p14:tracePt t="11563" x="6494463" y="2230438"/>
          <p14:tracePt t="11564" x="6481763" y="2225675"/>
          <p14:tracePt t="11565" x="6465888" y="2225675"/>
          <p14:tracePt t="11566" x="6454775" y="2225675"/>
          <p14:tracePt t="11568" x="6446838" y="2222500"/>
          <p14:tracePt t="11569" x="6430963" y="2222500"/>
          <p14:tracePt t="11569" x="6423025" y="2222500"/>
          <p14:tracePt t="11571" x="6402388" y="2222500"/>
          <p14:tracePt t="11571" x="6394450" y="2217738"/>
          <p14:tracePt t="11572" x="6386513" y="2217738"/>
          <p14:tracePt t="11573" x="6373813" y="2217738"/>
          <p14:tracePt t="11574" x="6362700" y="2214563"/>
          <p14:tracePt t="11575" x="6350000" y="2214563"/>
          <p14:tracePt t="11576" x="6338888" y="2209800"/>
          <p14:tracePt t="11577" x="6326188" y="2209800"/>
          <p14:tracePt t="11578" x="6318250" y="2209800"/>
          <p14:tracePt t="11579" x="6305550" y="2201863"/>
          <p14:tracePt t="11580" x="6289675" y="2201863"/>
          <p14:tracePt t="11581" x="6281738" y="2201863"/>
          <p14:tracePt t="11582" x="6273800" y="2198688"/>
          <p14:tracePt t="11583" x="6265863" y="2198688"/>
          <p14:tracePt t="11584" x="6254750" y="2198688"/>
          <p14:tracePt t="11586" x="6238875" y="2198688"/>
          <p14:tracePt t="11586" x="6229350" y="2193925"/>
          <p14:tracePt t="11587" x="6221413" y="2193925"/>
          <p14:tracePt t="11588" x="6213475" y="2193925"/>
          <p14:tracePt t="11589" x="6202363" y="2193925"/>
          <p14:tracePt t="11590" x="6189663" y="2189163"/>
          <p14:tracePt t="11591" x="6178550" y="2189163"/>
          <p14:tracePt t="11592" x="6170613" y="2189163"/>
          <p14:tracePt t="11593" x="6162675" y="2189163"/>
          <p14:tracePt t="11594" x="6154738" y="2189163"/>
          <p14:tracePt t="11595" x="6137275" y="2185988"/>
          <p14:tracePt t="11596" x="6129338" y="2185988"/>
          <p14:tracePt t="11597" x="6121400" y="2185988"/>
          <p14:tracePt t="11599" x="6113463" y="2185988"/>
          <p14:tracePt t="11599" x="6105525" y="2185988"/>
          <p14:tracePt t="11601" x="6094413" y="2181225"/>
          <p14:tracePt t="11602" x="6086475" y="2181225"/>
          <p14:tracePt t="11603" x="6078538" y="2181225"/>
          <p14:tracePt t="11603" x="6070600" y="2181225"/>
          <p14:tracePt t="11604" x="6062663" y="2181225"/>
          <p14:tracePt t="11606" x="6049963" y="2181225"/>
          <p14:tracePt t="11607" x="6042025" y="2181225"/>
          <p14:tracePt t="11608" x="6026150" y="2178050"/>
          <p14:tracePt t="11609" x="6018213" y="2178050"/>
          <p14:tracePt t="11610" x="6010275" y="2178050"/>
          <p14:tracePt t="11611" x="6002338" y="2178050"/>
          <p14:tracePt t="11612" x="5994400" y="2178050"/>
          <p14:tracePt t="11613" x="5986463" y="2178050"/>
          <p14:tracePt t="11614" x="5978525" y="2178050"/>
          <p14:tracePt t="11615" x="5970588" y="2178050"/>
          <p14:tracePt t="11616" x="5962650" y="2178050"/>
          <p14:tracePt t="11618" x="5953125" y="2178050"/>
          <p14:tracePt t="11619" x="5945188" y="2178050"/>
          <p14:tracePt t="11619" x="5937250" y="2178050"/>
          <p14:tracePt t="11620" x="5929313" y="2178050"/>
          <p14:tracePt t="11621" x="5921375" y="2178050"/>
          <p14:tracePt t="11622" x="5910263" y="2173288"/>
          <p14:tracePt t="11623" x="5905500" y="2173288"/>
          <p14:tracePt t="11624" x="5902325" y="2173288"/>
          <p14:tracePt t="11625" x="5889625" y="2173288"/>
          <p14:tracePt t="11626" x="5881688" y="2173288"/>
          <p14:tracePt t="11628" x="5873750" y="2173288"/>
          <p14:tracePt t="11629" x="5865813" y="2173288"/>
          <p14:tracePt t="11630" x="5853113" y="2173288"/>
          <p14:tracePt t="11632" x="5845175" y="2173288"/>
          <p14:tracePt t="11633" x="5837238" y="2173288"/>
          <p14:tracePt t="11635" x="5834063" y="2173288"/>
          <p14:tracePt t="11636" x="5826125" y="2173288"/>
          <p14:tracePt t="11636" x="5818188" y="2173288"/>
          <p14:tracePt t="11637" x="5810250" y="2173288"/>
          <p14:tracePt t="11640" x="5797550" y="2173288"/>
          <p14:tracePt t="11640" x="5789613" y="2173288"/>
          <p14:tracePt t="11641" x="5781675" y="2173288"/>
          <p14:tracePt t="11642" x="5773738" y="2165350"/>
          <p14:tracePt t="11643" x="5761038" y="2165350"/>
          <p14:tracePt t="11645" x="5753100" y="2165350"/>
          <p14:tracePt t="11646" x="5737225" y="2165350"/>
          <p14:tracePt t="11647" x="5734050" y="2165350"/>
          <p14:tracePt t="11648" x="5726113" y="2165350"/>
          <p14:tracePt t="11649" x="5718175" y="2165350"/>
          <p14:tracePt t="11650" x="5705475" y="2165350"/>
          <p14:tracePt t="11652" x="5702300" y="2165350"/>
          <p14:tracePt t="11653" x="5694363" y="2165350"/>
          <p14:tracePt t="11653" x="5684838" y="2162175"/>
          <p14:tracePt t="11655" x="5676900" y="2162175"/>
          <p14:tracePt t="11655" x="5668963" y="2162175"/>
          <p14:tracePt t="11656" x="5653088" y="2157413"/>
          <p14:tracePt t="11657" x="5645150" y="2157413"/>
          <p14:tracePt t="11658" x="5637213" y="2157413"/>
          <p14:tracePt t="11659" x="5626100" y="2157413"/>
          <p14:tracePt t="11660" x="5610225" y="2157413"/>
          <p14:tracePt t="11661" x="5602288" y="2154238"/>
          <p14:tracePt t="11662" x="5592763" y="2154238"/>
          <p14:tracePt t="11663" x="5584825" y="2154238"/>
          <p14:tracePt t="11664" x="5576888" y="2154238"/>
          <p14:tracePt t="11665" x="5568950" y="2149475"/>
          <p14:tracePt t="11666" x="5553075" y="2149475"/>
          <p14:tracePt t="11668" x="5545138" y="2149475"/>
          <p14:tracePt t="11669" x="5537200" y="2149475"/>
          <p14:tracePt t="11671" x="5518150" y="2146300"/>
          <p14:tracePt t="11671" x="5510213" y="2146300"/>
          <p14:tracePt t="11672" x="5500688" y="2146300"/>
          <p14:tracePt t="11673" x="5484813" y="2146300"/>
          <p14:tracePt t="11674" x="5476875" y="2141538"/>
          <p14:tracePt t="11675" x="5468938" y="2141538"/>
          <p14:tracePt t="11676" x="5457825" y="2141538"/>
          <p14:tracePt t="11677" x="5449888" y="2141538"/>
          <p14:tracePt t="11678" x="5437188" y="2141538"/>
          <p14:tracePt t="11679" x="5429250" y="2138363"/>
          <p14:tracePt t="11680" x="5416550" y="2138363"/>
          <p14:tracePt t="11681" x="5408613" y="2138363"/>
          <p14:tracePt t="11682" x="5400675" y="2138363"/>
          <p14:tracePt t="11683" x="5392738" y="2138363"/>
          <p14:tracePt t="11684" x="5384800" y="2138363"/>
          <p14:tracePt t="11685" x="5373688" y="2133600"/>
          <p14:tracePt t="11686" x="5360988" y="2133600"/>
          <p14:tracePt t="11687" x="5353050" y="2133600"/>
          <p14:tracePt t="11689" x="5341938" y="2133600"/>
          <p14:tracePt t="11689" x="5334000" y="2133600"/>
          <p14:tracePt t="11691" x="5316538" y="2133600"/>
          <p14:tracePt t="11691" x="5308600" y="2133600"/>
          <p14:tracePt t="11692" x="5300663" y="2133600"/>
          <p14:tracePt t="11693" x="5297488" y="2130425"/>
          <p14:tracePt t="11694" x="5289550" y="2130425"/>
          <p14:tracePt t="11695" x="5281613" y="2130425"/>
          <p14:tracePt t="11696" x="5268913" y="2130425"/>
          <p14:tracePt t="11697" x="5265738" y="2130425"/>
          <p14:tracePt t="11698" x="5257800" y="2130425"/>
          <p14:tracePt t="11699" x="5249863" y="2130425"/>
          <p14:tracePt t="11701" x="5241925" y="2130425"/>
          <p14:tracePt t="11703" x="5224463" y="2130425"/>
          <p14:tracePt t="11703" x="5221288" y="2130425"/>
          <p14:tracePt t="11705" x="5213350" y="2130425"/>
          <p14:tracePt t="11706" x="5208588" y="2130425"/>
          <p14:tracePt t="11706" x="5200650" y="2130425"/>
          <p14:tracePt t="11708" x="5192713" y="2130425"/>
          <p14:tracePt t="11708" x="5189538" y="2130425"/>
          <p14:tracePt t="11709" x="5181600" y="2130425"/>
          <p14:tracePt t="11710" x="5173663" y="2130425"/>
          <p14:tracePt t="11711" x="5168900" y="2130425"/>
          <p14:tracePt t="11712" x="5160963" y="2130425"/>
          <p14:tracePt t="11713" x="5157788" y="2130425"/>
          <p14:tracePt t="11714" x="5153025" y="2130425"/>
          <p14:tracePt t="11715" x="5145088" y="2130425"/>
          <p14:tracePt t="11718" x="5137150" y="2130425"/>
          <p14:tracePt t="11719" x="5132388" y="2130425"/>
          <p14:tracePt t="11719" x="5129213" y="2130425"/>
          <p14:tracePt t="11720" x="5124450" y="2130425"/>
          <p14:tracePt t="11721" x="5121275" y="2130425"/>
          <p14:tracePt t="11723" x="5116513" y="2130425"/>
          <p14:tracePt t="11723" x="5108575" y="2130425"/>
          <p14:tracePt t="11725" x="5105400" y="2130425"/>
          <p14:tracePt t="11726" x="5097463" y="2130425"/>
          <p14:tracePt t="11727" x="5092700" y="2130425"/>
          <p14:tracePt t="11729" x="5089525" y="2130425"/>
          <p14:tracePt t="11732" x="5081588" y="2130425"/>
          <p14:tracePt t="11734" x="5076825" y="2130425"/>
          <p14:tracePt t="11737" x="5073650" y="2130425"/>
          <p14:tracePt t="11738" x="5068888" y="2130425"/>
          <p14:tracePt t="11740" x="5065713" y="2130425"/>
          <p14:tracePt t="11742" x="5060950" y="2130425"/>
          <p14:tracePt t="11880" x="5060950" y="2125663"/>
          <p14:tracePt t="11882" x="5056188" y="2125663"/>
          <p14:tracePt t="11885" x="5053013" y="2125663"/>
          <p14:tracePt t="11886" x="5048250" y="2122488"/>
          <p14:tracePt t="11890" x="5045075" y="2117725"/>
          <p14:tracePt t="11892" x="5040313" y="2114550"/>
          <p14:tracePt t="11893" x="5037138" y="2114550"/>
          <p14:tracePt t="11902" x="5005388" y="2093913"/>
          <p14:tracePt t="11904" x="4997450" y="2093913"/>
          <p14:tracePt t="11905" x="4989513" y="2085975"/>
          <p14:tracePt t="11906" x="4984750" y="2085975"/>
          <p14:tracePt t="11907" x="4981575" y="2081213"/>
          <p14:tracePt t="11909" x="4976813" y="2078038"/>
          <p14:tracePt t="11909" x="4968875" y="2078038"/>
          <p14:tracePt t="11910" x="4964113" y="2073275"/>
          <p14:tracePt t="11911" x="4960938" y="2070100"/>
          <p14:tracePt t="11912" x="4953000" y="2065338"/>
          <p14:tracePt t="11913" x="4948238" y="2065338"/>
          <p14:tracePt t="11914" x="4940300" y="2062163"/>
          <p14:tracePt t="11916" x="4937125" y="2057400"/>
          <p14:tracePt t="11918" x="4929188" y="2057400"/>
          <p14:tracePt t="11919" x="4924425" y="2054225"/>
          <p14:tracePt t="11921" x="4916488" y="2049463"/>
          <p14:tracePt t="11922" x="4908550" y="2046288"/>
          <p14:tracePt t="11922" x="4905375" y="2046288"/>
          <p14:tracePt t="11923" x="4900613" y="2046288"/>
          <p14:tracePt t="11924" x="4897438" y="2046288"/>
          <p14:tracePt t="11925" x="4892675" y="2041525"/>
          <p14:tracePt t="11927" x="4884738" y="2041525"/>
          <p14:tracePt t="11927" x="4881563" y="2041525"/>
          <p14:tracePt t="11928" x="4881563" y="2038350"/>
          <p14:tracePt t="11929" x="4876800" y="2038350"/>
          <p14:tracePt t="11930" x="4872038" y="2033588"/>
          <p14:tracePt t="11931" x="4868863" y="2033588"/>
          <p14:tracePt t="11932" x="4864100" y="2033588"/>
          <p14:tracePt t="11933" x="4860925" y="2030413"/>
          <p14:tracePt t="11934" x="4856163" y="2030413"/>
          <p14:tracePt t="11936" x="4852988" y="2030413"/>
          <p14:tracePt t="11937" x="4848225" y="2030413"/>
          <p14:tracePt t="11938" x="4845050" y="2030413"/>
          <p14:tracePt t="11938" x="4845050" y="2025650"/>
          <p14:tracePt t="11939" x="4840288" y="2025650"/>
          <p14:tracePt t="11946" x="4837113" y="2022475"/>
          <p14:tracePt t="12035" x="4840288" y="2022475"/>
          <p14:tracePt t="12039" x="4845050" y="2022475"/>
          <p14:tracePt t="12040" x="4845050" y="2017713"/>
          <p14:tracePt t="12043" x="4848225" y="2017713"/>
          <p14:tracePt t="12049" x="4852988" y="2017713"/>
          <p14:tracePt t="12052" x="4852988" y="2014538"/>
          <p14:tracePt t="12053" x="4856163" y="2014538"/>
          <p14:tracePt t="12059" x="4860925" y="2009775"/>
          <p14:tracePt t="12066" x="4860925" y="2005013"/>
          <p14:tracePt t="12067" x="4864100" y="2005013"/>
          <p14:tracePt t="12073" x="4864100" y="2001838"/>
          <p14:tracePt t="12078" x="4868863" y="2001838"/>
          <p14:tracePt t="12088" x="4868863" y="1997075"/>
          <p14:tracePt t="12093" x="4868863" y="1993900"/>
          <p14:tracePt t="12103" x="4868863" y="1989138"/>
          <p14:tracePt t="12109" x="4868863" y="1985963"/>
          <p14:tracePt t="12116" x="4868863" y="1981200"/>
          <p14:tracePt t="12121" x="4864100" y="1981200"/>
          <p14:tracePt t="12122" x="4864100" y="1978025"/>
          <p14:tracePt t="12123" x="4860925" y="1978025"/>
          <p14:tracePt t="12124" x="4860925" y="1973263"/>
          <p14:tracePt t="12125" x="4856163" y="1973263"/>
          <p14:tracePt t="12129" x="4852988" y="1973263"/>
          <p14:tracePt t="12130" x="4852988" y="1970088"/>
          <p14:tracePt t="12132" x="4848225" y="1970088"/>
          <p14:tracePt t="12135" x="4845050" y="1970088"/>
          <p14:tracePt t="12137" x="4840288" y="1970088"/>
          <p14:tracePt t="12140" x="4840288" y="1965325"/>
          <p14:tracePt t="12142" x="4837113" y="1965325"/>
          <p14:tracePt t="12144" x="4837113" y="1962150"/>
          <p14:tracePt t="12145" x="4832350" y="1962150"/>
          <p14:tracePt t="12148" x="4829175" y="1962150"/>
          <p14:tracePt t="12151" x="4824413" y="1962150"/>
          <p14:tracePt t="12154" x="4821238" y="1962150"/>
          <p14:tracePt t="12156" x="4821238" y="1957388"/>
          <p14:tracePt t="12159" x="4816475" y="1957388"/>
          <p14:tracePt t="12163" x="4813300" y="1957388"/>
          <p14:tracePt t="12180" x="4808538" y="1957388"/>
          <p14:tracePt t="12226" x="4813300" y="1957388"/>
          <p14:tracePt t="12231" x="4813300" y="1962150"/>
          <p14:tracePt t="12235" x="4816475" y="1962150"/>
          <p14:tracePt t="12238" x="4821238" y="1965325"/>
          <p14:tracePt t="12241" x="4824413" y="1970088"/>
          <p14:tracePt t="12244" x="4829175" y="1970088"/>
          <p14:tracePt t="12245" x="4829175" y="1973263"/>
          <p14:tracePt t="12247" x="4829175" y="1978025"/>
          <p14:tracePt t="12250" x="4832350" y="1981200"/>
          <p14:tracePt t="12254" x="4837113" y="1981200"/>
          <p14:tracePt t="12255" x="4837113" y="1985963"/>
          <p14:tracePt t="12258" x="4840288" y="1989138"/>
          <p14:tracePt t="12260" x="4845050" y="1989138"/>
          <p14:tracePt t="12261" x="4845050" y="1993900"/>
          <p14:tracePt t="12263" x="4845050" y="1997075"/>
          <p14:tracePt t="12266" x="4852988" y="1997075"/>
          <p14:tracePt t="12269" x="4856163" y="2001838"/>
          <p14:tracePt t="12270" x="4860925" y="2001838"/>
          <p14:tracePt t="12272" x="4864100" y="2005013"/>
          <p14:tracePt t="12276" x="4868863" y="2009775"/>
          <p14:tracePt t="12277" x="4872038" y="2014538"/>
          <p14:tracePt t="12280" x="4876800" y="2014538"/>
          <p14:tracePt t="12283" x="4876800" y="2017713"/>
          <p14:tracePt t="12286" x="4881563" y="2022475"/>
          <p14:tracePt t="12290" x="4884738" y="2025650"/>
          <p14:tracePt t="12294" x="4889500" y="2025650"/>
          <p14:tracePt t="12296" x="4889500" y="2030413"/>
          <p14:tracePt t="12298" x="4892675" y="2030413"/>
          <p14:tracePt t="12299" x="4892675" y="2033588"/>
          <p14:tracePt t="12311" x="4897438" y="2033588"/>
          <p14:tracePt t="12320" x="4897438" y="2038350"/>
          <p14:tracePt t="12511" x="4897438" y="2041525"/>
          <p14:tracePt t="12515" x="4892675" y="2041525"/>
          <p14:tracePt t="12521" x="4892675" y="2046288"/>
          <p14:tracePt t="12527" x="4892675" y="2049463"/>
          <p14:tracePt t="12533" x="4897438" y="2049463"/>
          <p14:tracePt t="12534" x="4900613" y="2049463"/>
          <p14:tracePt t="12535" x="4905375" y="2054225"/>
          <p14:tracePt t="12536" x="4908550" y="2054225"/>
          <p14:tracePt t="12537" x="4916488" y="2054225"/>
          <p14:tracePt t="12538" x="4921250" y="2057400"/>
          <p14:tracePt t="12539" x="4924425" y="2057400"/>
          <p14:tracePt t="12540" x="4924425" y="2062163"/>
          <p14:tracePt t="12541" x="4929188" y="2065338"/>
          <p14:tracePt t="12542" x="4932363" y="2065338"/>
          <p14:tracePt t="12542" x="4937125" y="2070100"/>
          <p14:tracePt t="12543" x="4940300" y="2073275"/>
          <p14:tracePt t="12545" x="4945063" y="2073275"/>
          <p14:tracePt t="12545" x="4948238" y="2073275"/>
          <p14:tracePt t="12546" x="4953000" y="2078038"/>
          <p14:tracePt t="12547" x="4956175" y="2081213"/>
          <p14:tracePt t="12548" x="4960938" y="2081213"/>
          <p14:tracePt t="12549" x="4964113" y="2081213"/>
          <p14:tracePt t="12551" x="4968875" y="2081213"/>
          <p14:tracePt t="12553" x="4968875" y="2085975"/>
          <p14:tracePt t="12553" x="4973638" y="2085975"/>
          <p14:tracePt t="12556" x="4976813" y="2085975"/>
          <p14:tracePt t="12556" x="4976813" y="2089150"/>
          <p14:tracePt t="12557" x="4981575" y="2089150"/>
          <p14:tracePt t="12560" x="4984750" y="2089150"/>
          <p14:tracePt t="12561" x="4989513" y="2089150"/>
          <p14:tracePt t="12716" x="4984750" y="2089150"/>
          <p14:tracePt t="12722" x="4981575" y="2089150"/>
          <p14:tracePt t="12725" x="4976813" y="2089150"/>
          <p14:tracePt t="12727" x="4973638" y="2089150"/>
          <p14:tracePt t="12728" x="4973638" y="2085975"/>
          <p14:tracePt t="12748" x="4968875" y="2085975"/>
          <p14:tracePt t="12759" x="4964113" y="2085975"/>
          <p14:tracePt t="12761" x="4960938" y="2081213"/>
          <p14:tracePt t="12761" x="4956175" y="2081213"/>
          <p14:tracePt t="12763" x="4953000" y="2081213"/>
          <p14:tracePt t="12765" x="4948238" y="2081213"/>
          <p14:tracePt t="12766" x="4945063" y="2078038"/>
          <p14:tracePt t="12767" x="4940300" y="2078038"/>
          <p14:tracePt t="12769" x="4937125" y="2078038"/>
          <p14:tracePt t="12769" x="4932363" y="2078038"/>
          <p14:tracePt t="12771" x="4929188" y="2073275"/>
          <p14:tracePt t="12773" x="4924425" y="2070100"/>
          <p14:tracePt t="12774" x="4921250" y="2070100"/>
          <p14:tracePt t="12774" x="4916488" y="2070100"/>
          <p14:tracePt t="12775" x="4913313" y="2070100"/>
          <p14:tracePt t="12776" x="4908550" y="2065338"/>
          <p14:tracePt t="12779" x="4905375" y="2065338"/>
          <p14:tracePt t="12780" x="4900613" y="2065338"/>
          <p14:tracePt t="12780" x="4897438" y="2065338"/>
          <p14:tracePt t="12781" x="4892675" y="2065338"/>
          <p14:tracePt t="12782" x="4889500" y="2065338"/>
          <p14:tracePt t="12785" x="4884738" y="2062163"/>
          <p14:tracePt t="12786" x="4881563" y="2062163"/>
          <p14:tracePt t="12787" x="4876800" y="2062163"/>
          <p14:tracePt t="12789" x="4872038" y="2062163"/>
          <p14:tracePt t="12790" x="4868863" y="2062163"/>
          <p14:tracePt t="12792" x="4864100" y="2062163"/>
          <p14:tracePt t="12793" x="4860925" y="2062163"/>
          <p14:tracePt t="12794" x="4856163" y="2057400"/>
          <p14:tracePt t="12795" x="4852988" y="2057400"/>
          <p14:tracePt t="12796" x="4848225" y="2057400"/>
          <p14:tracePt t="12801" x="4845050" y="2057400"/>
          <p14:tracePt t="12803" x="4840288" y="2057400"/>
          <p14:tracePt t="12806" x="4837113" y="2057400"/>
          <p14:tracePt t="12809" x="4832350" y="2057400"/>
          <p14:tracePt t="12812" x="4829175" y="2057400"/>
          <p14:tracePt t="12813" x="4824413" y="2057400"/>
          <p14:tracePt t="12819" x="4821238" y="2057400"/>
          <p14:tracePt t="12825" x="4816475" y="2057400"/>
          <p14:tracePt t="12830" x="4813300" y="2057400"/>
          <p14:tracePt t="12835" x="4808538" y="2057400"/>
          <p14:tracePt t="12840" x="4805363" y="2057400"/>
          <p14:tracePt t="12848" x="4800600" y="2057400"/>
          <p14:tracePt t="12851" x="4797425" y="2057400"/>
          <p14:tracePt t="12855" x="4792663" y="2057400"/>
          <p14:tracePt t="12857" x="4789488" y="2057400"/>
          <p14:tracePt t="12858" x="4789488" y="2062163"/>
          <p14:tracePt t="12858" x="4784725" y="2062163"/>
          <p14:tracePt t="12861" x="4779963" y="2065338"/>
          <p14:tracePt t="12863" x="4776788" y="2065338"/>
          <p14:tracePt t="12865" x="4772025" y="2070100"/>
          <p14:tracePt t="12868" x="4768850" y="2070100"/>
          <p14:tracePt t="12870" x="4764088" y="2070100"/>
          <p14:tracePt t="12870" x="4764088" y="2073275"/>
          <p14:tracePt t="12873" x="4760913" y="2073275"/>
          <p14:tracePt t="12875" x="4756150" y="2073275"/>
          <p14:tracePt t="12877" x="4752975" y="2078038"/>
          <p14:tracePt t="12880" x="4748213" y="2081213"/>
          <p14:tracePt t="12882" x="4745038" y="2081213"/>
          <p14:tracePt t="12883" x="4740275" y="2081213"/>
          <p14:tracePt t="12886" x="4737100" y="2081213"/>
          <p14:tracePt t="12887" x="4732338" y="2081213"/>
          <p14:tracePt t="12902" x="4708525" y="2093913"/>
          <p14:tracePt t="12903" x="4708525" y="2097088"/>
          <p14:tracePt t="12903" x="4705350" y="2097088"/>
          <p14:tracePt t="12907" x="4700588" y="2097088"/>
          <p14:tracePt t="12907" x="4700588" y="2101850"/>
          <p14:tracePt t="12908" x="4697413" y="2101850"/>
          <p14:tracePt t="12911" x="4692650" y="2101850"/>
          <p14:tracePt t="12916" x="4692650" y="2106613"/>
          <p14:tracePt t="12918" x="4687888" y="2106613"/>
          <p14:tracePt t="13009" x="4687888" y="2109788"/>
          <p14:tracePt t="13025" x="4692650" y="2109788"/>
          <p14:tracePt t="13026" x="4692650" y="2114550"/>
          <p14:tracePt t="13031" x="4697413" y="2114550"/>
          <p14:tracePt t="13037" x="4697413" y="2117725"/>
          <p14:tracePt t="13038" x="4700588" y="2117725"/>
          <p14:tracePt t="13043" x="4705350" y="2122488"/>
          <p14:tracePt t="13052" x="4708525" y="2122488"/>
          <p14:tracePt t="13056" x="4708525" y="2125663"/>
          <p14:tracePt t="13062" x="4713288" y="2130425"/>
          <p14:tracePt t="13066" x="4713288" y="2133600"/>
          <p14:tracePt t="13066" x="4716463" y="2133600"/>
          <p14:tracePt t="13068" x="4716463" y="2138363"/>
          <p14:tracePt t="13072" x="4721225" y="2141538"/>
          <p14:tracePt t="13076" x="4721225" y="2146300"/>
          <p14:tracePt t="13080" x="4721225" y="2149475"/>
          <p14:tracePt t="13083" x="4721225" y="2154238"/>
          <p14:tracePt t="13088" x="4721225" y="2157413"/>
          <p14:tracePt t="13090" x="4724400" y="2157413"/>
          <p14:tracePt t="13092" x="4724400" y="2162175"/>
          <p14:tracePt t="13102" x="4729163" y="2165350"/>
          <p14:tracePt t="13105" x="4729163" y="2170113"/>
          <p14:tracePt t="13108" x="4729163" y="2173288"/>
          <p14:tracePt t="13109" x="4732338" y="2173288"/>
          <p14:tracePt t="13110" x="4732338" y="2178050"/>
          <p14:tracePt t="13113" x="4732338" y="2181225"/>
          <p14:tracePt t="13114" x="4737100" y="2181225"/>
          <p14:tracePt t="13119" x="4737100" y="2185988"/>
          <p14:tracePt t="13119" x="4740275" y="2185988"/>
          <p14:tracePt t="13125" x="4745038" y="2189163"/>
          <p14:tracePt t="13127" x="4748213" y="2189163"/>
          <p14:tracePt t="13128" x="4748213" y="2193925"/>
          <p14:tracePt t="13133" x="4752975" y="2193925"/>
          <p14:tracePt t="13136" x="4752975" y="2198688"/>
          <p14:tracePt t="13138" x="4756150" y="2198688"/>
          <p14:tracePt t="13142" x="4756150" y="2201863"/>
          <p14:tracePt t="13149" x="4760913" y="2201863"/>
          <p14:tracePt t="13192" x="4760913" y="2198688"/>
          <p14:tracePt t="13208" x="4760913" y="2193925"/>
          <p14:tracePt t="13232" x="4760913" y="2189163"/>
          <p14:tracePt t="13502" x="4760913" y="2193925"/>
          <p14:tracePt t="13522" x="4760913" y="2198688"/>
          <p14:tracePt t="13534" x="4760913" y="2201863"/>
          <p14:tracePt t="13548" x="4760913" y="2206625"/>
          <p14:tracePt t="13555" x="4760913" y="2209800"/>
          <p14:tracePt t="13567" x="4760913" y="2214563"/>
          <p14:tracePt t="13694" x="4756150" y="2214563"/>
          <p14:tracePt t="13749" x="4752975" y="2214563"/>
          <p14:tracePt t="13773" x="4748213" y="2214563"/>
          <p14:tracePt t="13778" x="4745038" y="2214563"/>
          <p14:tracePt t="13782" x="4745038" y="2217738"/>
          <p14:tracePt t="13783" x="4740275" y="2217738"/>
          <p14:tracePt t="13788" x="4737100" y="2217738"/>
          <p14:tracePt t="13792" x="4732338" y="2217738"/>
          <p14:tracePt t="13796" x="4729163" y="2217738"/>
          <p14:tracePt t="13799" x="4724400" y="2217738"/>
          <p14:tracePt t="13807" x="4721225" y="2217738"/>
          <p14:tracePt t="13810" x="4716463" y="2217738"/>
          <p14:tracePt t="13813" x="4713288" y="2217738"/>
          <p14:tracePt t="13815" x="4708525" y="2217738"/>
          <p14:tracePt t="13818" x="4705350" y="2217738"/>
          <p14:tracePt t="13820" x="4700588" y="2217738"/>
          <p14:tracePt t="13822" x="4697413" y="2217738"/>
          <p14:tracePt t="13824" x="4692650" y="2217738"/>
          <p14:tracePt t="13825" x="4692650" y="2222500"/>
          <p14:tracePt t="13827" x="4684713" y="2222500"/>
          <p14:tracePt t="13830" x="4679950" y="2222500"/>
          <p14:tracePt t="13831" x="4676775" y="2222500"/>
          <p14:tracePt t="13832" x="4672013" y="2222500"/>
          <p14:tracePt t="13835" x="4668838" y="2222500"/>
          <p14:tracePt t="13836" x="4664075" y="2222500"/>
          <p14:tracePt t="13836" x="4660900" y="2222500"/>
          <p14:tracePt t="13839" x="4656138" y="2222500"/>
          <p14:tracePt t="13841" x="4652963" y="2222500"/>
          <p14:tracePt t="13842" x="4648200" y="2222500"/>
          <p14:tracePt t="13842" x="4645025" y="2222500"/>
          <p14:tracePt t="13846" x="4645025" y="2225675"/>
          <p14:tracePt t="13847" x="4640263" y="2225675"/>
          <p14:tracePt t="13848" x="4637088" y="2225675"/>
          <p14:tracePt t="13848" x="4632325" y="2225675"/>
          <p14:tracePt t="13849" x="4629150" y="2225675"/>
          <p14:tracePt t="13852" x="4624388" y="2225675"/>
          <p14:tracePt t="13853" x="4621213" y="2225675"/>
          <p14:tracePt t="13855" x="4616450" y="2225675"/>
          <p14:tracePt t="13856" x="4613275" y="2225675"/>
          <p14:tracePt t="13857" x="4608513" y="2225675"/>
          <p14:tracePt t="13859" x="4603750" y="2225675"/>
          <p14:tracePt t="13862" x="4600575" y="2225675"/>
          <p14:tracePt t="13863" x="4595813" y="2225675"/>
          <p14:tracePt t="13864" x="4592638" y="2225675"/>
          <p14:tracePt t="13866" x="4587875" y="2225675"/>
          <p14:tracePt t="13867" x="4584700" y="2225675"/>
          <p14:tracePt t="13868" x="4579938" y="2225675"/>
          <p14:tracePt t="13870" x="4576763" y="2225675"/>
          <p14:tracePt t="13871" x="4572000" y="2225675"/>
          <p14:tracePt t="13872" x="4568825" y="2225675"/>
          <p14:tracePt t="13872" x="4564063" y="2225675"/>
          <p14:tracePt t="13875" x="4560888" y="2225675"/>
          <p14:tracePt t="13876" x="4556125" y="2225675"/>
          <p14:tracePt t="13877" x="4552950" y="2225675"/>
          <p14:tracePt t="13879" x="4548188" y="2225675"/>
          <p14:tracePt t="13880" x="4545013" y="2225675"/>
          <p14:tracePt t="13881" x="4540250" y="2225675"/>
          <p14:tracePt t="13882" x="4537075" y="2230438"/>
          <p14:tracePt t="13885" x="4529138" y="2230438"/>
          <p14:tracePt t="13886" x="4524375" y="2230438"/>
          <p14:tracePt t="13889" x="4521200" y="2230438"/>
          <p14:tracePt t="13891" x="4516438" y="2230438"/>
          <p14:tracePt t="13891" x="4511675" y="2230438"/>
          <p14:tracePt t="13892" x="4508500" y="2230438"/>
          <p14:tracePt t="13894" x="4503738" y="2230438"/>
          <p14:tracePt t="13895" x="4500563" y="2230438"/>
          <p14:tracePt t="13896" x="4495800" y="2230438"/>
          <p14:tracePt t="13897" x="4492625" y="2230438"/>
          <p14:tracePt t="13898" x="4487863" y="2230438"/>
          <p14:tracePt t="13899" x="4484688" y="2230438"/>
          <p14:tracePt t="13901" x="4479925" y="2230438"/>
          <p14:tracePt t="13903" x="4476750" y="2230438"/>
          <p14:tracePt t="13903" x="4471988" y="2230438"/>
          <p14:tracePt t="13905" x="4468813" y="2230438"/>
          <p14:tracePt t="13906" x="4464050" y="2230438"/>
          <p14:tracePt t="13906" x="4460875" y="2230438"/>
          <p14:tracePt t="13907" x="4456113" y="2230438"/>
          <p14:tracePt t="13908" x="4452938" y="2230438"/>
          <p14:tracePt t="13909" x="4448175" y="2230438"/>
          <p14:tracePt t="13910" x="4445000" y="2230438"/>
          <p14:tracePt t="13911" x="4437063" y="2230438"/>
          <p14:tracePt t="13913" x="4432300" y="2230438"/>
          <p14:tracePt t="13914" x="4429125" y="2230438"/>
          <p14:tracePt t="13915" x="4424363" y="2230438"/>
          <p14:tracePt t="13916" x="4419600" y="2230438"/>
          <p14:tracePt t="13918" x="4416425" y="2230438"/>
          <p14:tracePt t="13919" x="4411663" y="2230438"/>
          <p14:tracePt t="13920" x="4403725" y="2230438"/>
          <p14:tracePt t="13921" x="4400550" y="2230438"/>
          <p14:tracePt t="13921" x="4395788" y="2230438"/>
          <p14:tracePt t="13923" x="4392613" y="2230438"/>
          <p14:tracePt t="13924" x="4387850" y="2230438"/>
          <p14:tracePt t="13925" x="4384675" y="2230438"/>
          <p14:tracePt t="13926" x="4376738" y="2230438"/>
          <p14:tracePt t="13927" x="4371975" y="2230438"/>
          <p14:tracePt t="13930" x="4368800" y="2230438"/>
          <p14:tracePt t="13930" x="4364038" y="2230438"/>
          <p14:tracePt t="13931" x="4356100" y="2230438"/>
          <p14:tracePt t="13932" x="4352925" y="2230438"/>
          <p14:tracePt t="13933" x="4348163" y="2230438"/>
          <p14:tracePt t="13935" x="4344988" y="2230438"/>
          <p14:tracePt t="13936" x="4340225" y="2230438"/>
          <p14:tracePt t="13937" x="4337050" y="2230438"/>
          <p14:tracePt t="13939" x="4332288" y="2230438"/>
          <p14:tracePt t="13940" x="4327525" y="2230438"/>
          <p14:tracePt t="13942" x="4324350" y="2230438"/>
          <p14:tracePt t="13943" x="4319588" y="2230438"/>
          <p14:tracePt t="13944" x="4316413" y="2230438"/>
          <p14:tracePt t="13946" x="4311650" y="2230438"/>
          <p14:tracePt t="13948" x="4308475" y="2230438"/>
          <p14:tracePt t="13949" x="4303713" y="2230438"/>
          <p14:tracePt t="13951" x="4300538" y="2230438"/>
          <p14:tracePt t="13954" x="4295775" y="2230438"/>
          <p14:tracePt t="13956" x="4292600" y="2230438"/>
          <p14:tracePt t="13958" x="4287838" y="2230438"/>
          <p14:tracePt t="13959" x="4284663" y="2230438"/>
          <p14:tracePt t="13961" x="4279900" y="2230438"/>
          <p14:tracePt t="13963" x="4276725" y="2230438"/>
          <p14:tracePt t="13965" x="4271963" y="2230438"/>
          <p14:tracePt t="13968" x="4268788" y="2230438"/>
          <p14:tracePt t="13971" x="4264025" y="2230438"/>
          <p14:tracePt t="13971" x="4260850" y="2230438"/>
          <p14:tracePt t="13975" x="4256088" y="2230438"/>
          <p14:tracePt t="13977" x="4252913" y="2230438"/>
          <p14:tracePt t="13979" x="4248150" y="2230438"/>
          <p14:tracePt t="13981" x="4243388" y="2230438"/>
          <p14:tracePt t="13983" x="4240213" y="2230438"/>
          <p14:tracePt t="13986" x="4235450" y="2230438"/>
          <p14:tracePt t="13987" x="4232275" y="2230438"/>
          <p14:tracePt t="13989" x="4227513" y="2230438"/>
          <p14:tracePt t="13991" x="4224338" y="2230438"/>
          <p14:tracePt t="13992" x="4219575" y="2230438"/>
          <p14:tracePt t="13994" x="4216400" y="2230438"/>
          <p14:tracePt t="13998" x="4211638" y="2230438"/>
          <p14:tracePt t="14000" x="4208463" y="2230438"/>
          <p14:tracePt t="14001" x="4203700" y="2230438"/>
          <p14:tracePt t="14003" x="4200525" y="2230438"/>
          <p14:tracePt t="14004" x="4195763" y="2230438"/>
          <p14:tracePt t="14006" x="4192588" y="2230438"/>
          <p14:tracePt t="14008" x="4187825" y="2230438"/>
          <p14:tracePt t="14010" x="4184650" y="2230438"/>
          <p14:tracePt t="14011" x="4179888" y="2230438"/>
          <p14:tracePt t="14013" x="4176713" y="2230438"/>
          <p14:tracePt t="14016" x="4171950" y="2230438"/>
          <p14:tracePt t="14018" x="4168775" y="2230438"/>
          <p14:tracePt t="14019" x="4164013" y="2230438"/>
          <p14:tracePt t="14021" x="4160838" y="2230438"/>
          <p14:tracePt t="14022" x="4156075" y="2230438"/>
          <p14:tracePt t="14024" x="4151313" y="2230438"/>
          <p14:tracePt t="14026" x="4148138" y="2230438"/>
          <p14:tracePt t="14027" x="4143375" y="2230438"/>
          <p14:tracePt t="14028" x="4140200" y="2230438"/>
          <p14:tracePt t="14029" x="4135438" y="2230438"/>
          <p14:tracePt t="14031" x="4132263" y="2230438"/>
          <p14:tracePt t="14032" x="4127500" y="2230438"/>
          <p14:tracePt t="14035" x="4124325" y="2230438"/>
          <p14:tracePt t="14036" x="4119563" y="2230438"/>
          <p14:tracePt t="14036" x="4116388" y="2230438"/>
          <p14:tracePt t="14039" x="4111625" y="2230438"/>
          <p14:tracePt t="14039" x="4108450" y="2230438"/>
          <p14:tracePt t="14041" x="4103688" y="2230438"/>
          <p14:tracePt t="14042" x="4100513" y="2230438"/>
          <p14:tracePt t="14044" x="4095750" y="2230438"/>
          <p14:tracePt t="14047" x="4092575" y="2230438"/>
          <p14:tracePt t="14047" x="4087813" y="2230438"/>
          <p14:tracePt t="14048" x="4084638" y="2230438"/>
          <p14:tracePt t="14049" x="4079875" y="2230438"/>
          <p14:tracePt t="14051" x="4076700" y="2230438"/>
          <p14:tracePt t="14053" x="4071938" y="2230438"/>
          <p14:tracePt t="14053" x="4068763" y="2225675"/>
          <p14:tracePt t="14056" x="4064000" y="2225675"/>
          <p14:tracePt t="14057" x="4059238" y="2225675"/>
          <p14:tracePt t="14058" x="4056063" y="2225675"/>
          <p14:tracePt t="14061" x="4051300" y="2225675"/>
          <p14:tracePt t="14063" x="4048125" y="2225675"/>
          <p14:tracePt t="14063" x="4043363" y="2225675"/>
          <p14:tracePt t="14064" x="4040188" y="2225675"/>
          <p14:tracePt t="14065" x="4035425" y="2225675"/>
          <p14:tracePt t="14067" x="4032250" y="2225675"/>
          <p14:tracePt t="14069" x="4027488" y="2225675"/>
          <p14:tracePt t="14071" x="4024313" y="2225675"/>
          <p14:tracePt t="14071" x="4019550" y="2225675"/>
          <p14:tracePt t="14074" x="4016375" y="2225675"/>
          <p14:tracePt t="14077" x="4011613" y="2222500"/>
          <p14:tracePt t="14078" x="4008438" y="2222500"/>
          <p14:tracePt t="14079" x="4003675" y="2222500"/>
          <p14:tracePt t="14080" x="4000500" y="2222500"/>
          <p14:tracePt t="14082" x="3995738" y="2222500"/>
          <p14:tracePt t="14083" x="3992563" y="2222500"/>
          <p14:tracePt t="14086" x="3987800" y="2222500"/>
          <p14:tracePt t="14086" x="3984625" y="2222500"/>
          <p14:tracePt t="14088" x="3979863" y="2222500"/>
          <p14:tracePt t="14090" x="3976688" y="2217738"/>
          <p14:tracePt t="14093" x="3971925" y="2217738"/>
          <p14:tracePt t="14093" x="3967163" y="2217738"/>
          <p14:tracePt t="14096" x="3963988" y="2217738"/>
          <p14:tracePt t="14097" x="3959225" y="2217738"/>
          <p14:tracePt t="14098" x="3956050" y="2217738"/>
          <p14:tracePt t="14100" x="3951288" y="2214563"/>
          <p14:tracePt t="14103" x="3948113" y="2214563"/>
          <p14:tracePt t="14104" x="3943350" y="2214563"/>
          <p14:tracePt t="14106" x="3940175" y="2214563"/>
          <p14:tracePt t="14107" x="3935413" y="2209800"/>
          <p14:tracePt t="14109" x="3932238" y="2209800"/>
          <p14:tracePt t="14112" x="3927475" y="2209800"/>
          <p14:tracePt t="14113" x="3924300" y="2209800"/>
          <p14:tracePt t="14115" x="3919538" y="2209800"/>
          <p14:tracePt t="14118" x="3916363" y="2209800"/>
          <p14:tracePt t="14119" x="3911600" y="2209800"/>
          <p14:tracePt t="14121" x="3908425" y="2209800"/>
          <p14:tracePt t="14123" x="3903663" y="2209800"/>
          <p14:tracePt t="14125" x="3900488" y="2209800"/>
          <p14:tracePt t="14126" x="3895725" y="2209800"/>
          <p14:tracePt t="14127" x="3892550" y="2209800"/>
          <p14:tracePt t="14129" x="3892550" y="2206625"/>
          <p14:tracePt t="14131" x="3887788" y="2206625"/>
          <p14:tracePt t="14134" x="3884613" y="2206625"/>
          <p14:tracePt t="14136" x="3879850" y="2206625"/>
          <p14:tracePt t="14138" x="3875088" y="2206625"/>
          <p14:tracePt t="14140" x="3871913" y="2206625"/>
          <p14:tracePt t="14141" x="3867150" y="2206625"/>
          <p14:tracePt t="14141" x="3863975" y="2206625"/>
          <p14:tracePt t="14143" x="3859213" y="2206625"/>
          <p14:tracePt t="14145" x="3856038" y="2206625"/>
          <p14:tracePt t="14148" x="3851275" y="2206625"/>
          <p14:tracePt t="14151" x="3848100" y="2206625"/>
          <p14:tracePt t="14152" x="3843338" y="2206625"/>
          <p14:tracePt t="14155" x="3840163" y="2206625"/>
          <p14:tracePt t="14157" x="3835400" y="2206625"/>
          <p14:tracePt t="14158" x="3832225" y="2206625"/>
          <p14:tracePt t="14161" x="3827463" y="2206625"/>
          <p14:tracePt t="14164" x="3824288" y="2206625"/>
          <p14:tracePt t="14168" x="3819525" y="2206625"/>
          <p14:tracePt t="14171" x="3816350" y="2206625"/>
          <p14:tracePt t="14174" x="3811588" y="2206625"/>
          <p14:tracePt t="14182" x="3808413" y="2206625"/>
          <p14:tracePt t="14223" x="3803650" y="2206625"/>
          <p14:tracePt t="14274" x="3808413" y="2209800"/>
          <p14:tracePt t="14277" x="3811588" y="2217738"/>
          <p14:tracePt t="14279" x="3819525" y="2222500"/>
          <p14:tracePt t="14280" x="3824288" y="2222500"/>
          <p14:tracePt t="14281" x="3827463" y="2225675"/>
          <p14:tracePt t="14285" x="3848100" y="2233613"/>
          <p14:tracePt t="14287" x="3856038" y="2238375"/>
          <p14:tracePt t="14289" x="3871913" y="2246313"/>
          <p14:tracePt t="14291" x="3879850" y="2249488"/>
          <p14:tracePt t="14292" x="3887788" y="2249488"/>
          <p14:tracePt t="14293" x="3895725" y="2254250"/>
          <p14:tracePt t="14295" x="3908425" y="2257425"/>
          <p14:tracePt t="14296" x="3908425" y="2262188"/>
          <p14:tracePt t="14297" x="3911600" y="2262188"/>
          <p14:tracePt t="14298" x="3919538" y="2265363"/>
          <p14:tracePt t="14299" x="3927475" y="2265363"/>
          <p14:tracePt t="14300" x="3932238" y="2270125"/>
          <p14:tracePt t="14301" x="3935413" y="2270125"/>
          <p14:tracePt t="14302" x="3943350" y="2273300"/>
          <p14:tracePt t="14305" x="3959225" y="2273300"/>
          <p14:tracePt t="14306" x="3967163" y="2278063"/>
          <p14:tracePt t="14306" x="3971925" y="2278063"/>
          <p14:tracePt t="14307" x="3979863" y="2278063"/>
          <p14:tracePt t="14308" x="3987800" y="2286000"/>
          <p14:tracePt t="14310" x="3992563" y="2286000"/>
          <p14:tracePt t="14311" x="3995738" y="2286000"/>
          <p14:tracePt t="14312" x="4000500" y="2286000"/>
          <p14:tracePt t="14313" x="4008438" y="2286000"/>
          <p14:tracePt t="14313" x="4011613" y="2290763"/>
          <p14:tracePt t="14314" x="4016375" y="2290763"/>
          <p14:tracePt t="14315" x="4019550" y="2290763"/>
          <p14:tracePt t="14316" x="4024313" y="2290763"/>
          <p14:tracePt t="14318" x="4032250" y="2293938"/>
          <p14:tracePt t="14321" x="4040188" y="2293938"/>
          <p14:tracePt t="14321" x="4043363" y="2293938"/>
          <p14:tracePt t="14322" x="4048125" y="2293938"/>
          <p14:tracePt t="14323" x="4056063" y="2293938"/>
          <p14:tracePt t="14324" x="4059238" y="2298700"/>
          <p14:tracePt t="14326" x="4064000" y="2298700"/>
          <p14:tracePt t="14328" x="4068763" y="2298700"/>
          <p14:tracePt t="14329" x="4071938" y="2298700"/>
          <p14:tracePt t="14330" x="4076700" y="2298700"/>
          <p14:tracePt t="14331" x="4079875" y="2298700"/>
          <p14:tracePt t="14332" x="4084638" y="2298700"/>
          <p14:tracePt t="14333" x="4087813" y="2298700"/>
          <p14:tracePt t="14336" x="4092575" y="2298700"/>
          <p14:tracePt t="14338" x="4095750" y="2298700"/>
          <p14:tracePt t="14338" x="4100513" y="2298700"/>
          <p14:tracePt t="14341" x="4103688" y="2298700"/>
          <p14:tracePt t="14343" x="4108450" y="2298700"/>
          <p14:tracePt t="14346" x="4111625" y="2298700"/>
          <p14:tracePt t="14352" x="4116388" y="2298700"/>
          <p14:tracePt t="14374" x="4116388" y="2293938"/>
          <p14:tracePt t="14378" x="4116388" y="2290763"/>
          <p14:tracePt t="14383" x="4116388" y="2286000"/>
          <p14:tracePt t="14385" x="4116388" y="2278063"/>
          <p14:tracePt t="14387" x="4116388" y="2273300"/>
          <p14:tracePt t="14389" x="4116388" y="2265363"/>
          <p14:tracePt t="14391" x="4116388" y="2254250"/>
          <p14:tracePt t="14392" x="4111625" y="2249488"/>
          <p14:tracePt t="14393" x="4108450" y="2246313"/>
          <p14:tracePt t="14394" x="4108450" y="2241550"/>
          <p14:tracePt t="14395" x="4103688" y="2238375"/>
          <p14:tracePt t="14396" x="4100513" y="2233613"/>
          <p14:tracePt t="14398" x="4100513" y="2230438"/>
          <p14:tracePt t="14398" x="4095750" y="2222500"/>
          <p14:tracePt t="14399" x="4092575" y="2217738"/>
          <p14:tracePt t="14400" x="4087813" y="2209800"/>
          <p14:tracePt t="14402" x="4087813" y="2206625"/>
          <p14:tracePt t="14403" x="4084638" y="2201863"/>
          <p14:tracePt t="14403" x="4079875" y="2193925"/>
          <p14:tracePt t="14404" x="4076700" y="2185988"/>
          <p14:tracePt t="14406" x="4071938" y="2181225"/>
          <p14:tracePt t="14407" x="4068763" y="2173288"/>
          <p14:tracePt t="14407" x="4064000" y="2170113"/>
          <p14:tracePt t="14408" x="4056063" y="2162175"/>
          <p14:tracePt t="14410" x="4051300" y="2157413"/>
          <p14:tracePt t="14410" x="4048125" y="2149475"/>
          <p14:tracePt t="14411" x="4040188" y="2141538"/>
          <p14:tracePt t="14412" x="4035425" y="2138363"/>
          <p14:tracePt t="14414" x="4027488" y="2130425"/>
          <p14:tracePt t="14414" x="4024313" y="2122488"/>
          <p14:tracePt t="14415" x="4016375" y="2117725"/>
          <p14:tracePt t="14416" x="4011613" y="2106613"/>
          <p14:tracePt t="14418" x="4000500" y="2101850"/>
          <p14:tracePt t="14419" x="3992563" y="2089150"/>
          <p14:tracePt t="14420" x="3984625" y="2085975"/>
          <p14:tracePt t="14421" x="3979863" y="2073275"/>
          <p14:tracePt t="14422" x="3971925" y="2070100"/>
          <p14:tracePt t="14423" x="3959225" y="2062163"/>
          <p14:tracePt t="14424" x="3956050" y="2054225"/>
          <p14:tracePt t="14425" x="3943350" y="2041525"/>
          <p14:tracePt t="14426" x="3932238" y="2038350"/>
          <p14:tracePt t="14427" x="3924300" y="2030413"/>
          <p14:tracePt t="14428" x="3916363" y="2025650"/>
          <p14:tracePt t="14429" x="3908425" y="2017713"/>
          <p14:tracePt t="14429" x="3892550" y="2005013"/>
          <p14:tracePt t="14430" x="3884613" y="2001838"/>
          <p14:tracePt t="14431" x="3875088" y="1993900"/>
          <p14:tracePt t="14432" x="3863975" y="1989138"/>
          <p14:tracePt t="14433" x="3856038" y="1981200"/>
          <p14:tracePt t="14435" x="3843338" y="1970088"/>
          <p14:tracePt t="14435" x="3832225" y="1965325"/>
          <p14:tracePt t="14437" x="3824288" y="1957388"/>
          <p14:tracePt t="14438" x="3795713" y="1941513"/>
          <p14:tracePt t="14439" x="3787775" y="1938338"/>
          <p14:tracePt t="14440" x="3771900" y="1933575"/>
          <p14:tracePt t="14441" x="3763963" y="1925638"/>
          <p14:tracePt t="14442" x="3748088" y="1922463"/>
          <p14:tracePt t="14443" x="3740150" y="1912938"/>
          <p14:tracePt t="14444" x="3727450" y="1905000"/>
          <p14:tracePt t="14445" x="3719513" y="1901825"/>
          <p14:tracePt t="14446" x="3703638" y="1893888"/>
          <p14:tracePt t="14448" x="3695700" y="1885950"/>
          <p14:tracePt t="14448" x="3679825" y="1881188"/>
          <p14:tracePt t="14449" x="3667125" y="1878013"/>
          <p14:tracePt t="14450" x="3659188" y="1873250"/>
          <p14:tracePt t="14452" x="3648075" y="1870075"/>
          <p14:tracePt t="14452" x="3635375" y="1865313"/>
          <p14:tracePt t="14454" x="3611563" y="1857375"/>
          <p14:tracePt t="14455" x="3603625" y="1849438"/>
          <p14:tracePt t="14456" x="3595688" y="1846263"/>
          <p14:tracePt t="14457" x="3579813" y="1846263"/>
          <p14:tracePt t="14458" x="3567113" y="1841500"/>
          <p14:tracePt t="14459" x="3559175" y="1838325"/>
          <p14:tracePt t="14460" x="3548063" y="1833563"/>
          <p14:tracePt t="14461" x="3535363" y="1830388"/>
          <p14:tracePt t="14462" x="3527425" y="1830388"/>
          <p14:tracePt t="14463" x="3511550" y="1825625"/>
          <p14:tracePt t="14465" x="3503613" y="1820863"/>
          <p14:tracePt t="14466" x="3495675" y="1820863"/>
          <p14:tracePt t="14467" x="3487738" y="1812925"/>
          <p14:tracePt t="14468" x="3463925" y="1809750"/>
          <p14:tracePt t="14470" x="3455988" y="1804988"/>
          <p14:tracePt t="14473" x="3427413" y="1797050"/>
          <p14:tracePt t="14474" x="3414713" y="1797050"/>
          <p14:tracePt t="14475" x="3406775" y="1793875"/>
          <p14:tracePt t="14476" x="3403600" y="1793875"/>
          <p14:tracePt t="14477" x="3395663" y="1793875"/>
          <p14:tracePt t="14478" x="3387725" y="1789113"/>
          <p14:tracePt t="14479" x="3379788" y="1789113"/>
          <p14:tracePt t="14480" x="3371850" y="1789113"/>
          <p14:tracePt t="14482" x="3367088" y="1785938"/>
          <p14:tracePt t="14483" x="3359150" y="1785938"/>
          <p14:tracePt t="14483" x="3351213" y="1785938"/>
          <p14:tracePt t="14485" x="3348038" y="1781175"/>
          <p14:tracePt t="14485" x="3338513" y="1781175"/>
          <p14:tracePt t="14487" x="3335338" y="1781175"/>
          <p14:tracePt t="14487" x="3330575" y="1781175"/>
          <p14:tracePt t="14488" x="3322638" y="1781175"/>
          <p14:tracePt t="14489" x="3319463" y="1781175"/>
          <p14:tracePt t="14491" x="3314700" y="1781175"/>
          <p14:tracePt t="14492" x="3311525" y="1781175"/>
          <p14:tracePt t="14493" x="3306763" y="1781175"/>
          <p14:tracePt t="14494" x="3303588" y="1781175"/>
          <p14:tracePt t="14495" x="3298825" y="1781175"/>
          <p14:tracePt t="14496" x="3295650" y="1781175"/>
          <p14:tracePt t="14497" x="3290888" y="1781175"/>
          <p14:tracePt t="14499" x="3287713" y="1781175"/>
          <p14:tracePt t="14499" x="3282950" y="1781175"/>
          <p14:tracePt t="14500" x="3279775" y="1781175"/>
          <p14:tracePt t="14504" x="3275013" y="1781175"/>
          <p14:tracePt t="14504" x="3271838" y="1781175"/>
          <p14:tracePt t="14506" x="3267075" y="1781175"/>
          <p14:tracePt t="14508" x="3263900" y="1781175"/>
          <p14:tracePt t="14509" x="3259138" y="1781175"/>
          <p14:tracePt t="14511" x="3255963" y="1781175"/>
          <p14:tracePt t="14514" x="3251200" y="1781175"/>
          <p14:tracePt t="14515" x="3246438" y="1781175"/>
          <p14:tracePt t="14518" x="3243263" y="1781175"/>
          <p14:tracePt t="14519" x="3238500" y="1785938"/>
          <p14:tracePt t="14521" x="3235325" y="1789113"/>
          <p14:tracePt t="14524" x="3230563" y="1793875"/>
          <p14:tracePt t="14525" x="3227388" y="1793875"/>
          <p14:tracePt t="14526" x="3222625" y="1797050"/>
          <p14:tracePt t="14527" x="3219450" y="1797050"/>
          <p14:tracePt t="14528" x="3214688" y="1801813"/>
          <p14:tracePt t="14531" x="3206750" y="1804988"/>
          <p14:tracePt t="14533" x="3203575" y="1809750"/>
          <p14:tracePt t="14533" x="3198813" y="1809750"/>
          <p14:tracePt t="14535" x="3198813" y="1812925"/>
          <p14:tracePt t="14536" x="3195638" y="1812925"/>
          <p14:tracePt t="14538" x="3190875" y="1812925"/>
          <p14:tracePt t="14538" x="3187700" y="1817688"/>
          <p14:tracePt t="14540" x="3182938" y="1820863"/>
          <p14:tracePt t="14540" x="3182938" y="1825625"/>
          <p14:tracePt t="14541" x="3179763" y="1825625"/>
          <p14:tracePt t="14542" x="3175000" y="1830388"/>
          <p14:tracePt t="14543" x="3171825" y="1830388"/>
          <p14:tracePt t="14544" x="3167063" y="1833563"/>
          <p14:tracePt t="14545" x="3163888" y="1833563"/>
          <p14:tracePt t="14546" x="3163888" y="1838325"/>
          <p14:tracePt t="14547" x="3159125" y="1838325"/>
          <p14:tracePt t="14548" x="3154363" y="1841500"/>
          <p14:tracePt t="14549" x="3154363" y="1846263"/>
          <p14:tracePt t="14550" x="3151188" y="1846263"/>
          <p14:tracePt t="14551" x="3146425" y="1849438"/>
          <p14:tracePt t="14553" x="3143250" y="1854200"/>
          <p14:tracePt t="14554" x="3138488" y="1854200"/>
          <p14:tracePt t="14555" x="3135313" y="1857375"/>
          <p14:tracePt t="14556" x="3130550" y="1857375"/>
          <p14:tracePt t="14557" x="3127375" y="1862138"/>
          <p14:tracePt t="14558" x="3122613" y="1865313"/>
          <p14:tracePt t="14559" x="3122613" y="1870075"/>
          <p14:tracePt t="14560" x="3119438" y="1870075"/>
          <p14:tracePt t="14561" x="3114675" y="1873250"/>
          <p14:tracePt t="14563" x="3114675" y="1878013"/>
          <p14:tracePt t="14564" x="3111500" y="1881188"/>
          <p14:tracePt t="14566" x="3106738" y="1881188"/>
          <p14:tracePt t="14566" x="3106738" y="1885950"/>
          <p14:tracePt t="14568" x="3103563" y="1889125"/>
          <p14:tracePt t="14570" x="3098800" y="1893888"/>
          <p14:tracePt t="14571" x="3095625" y="1893888"/>
          <p14:tracePt t="14571" x="3090863" y="1893888"/>
          <p14:tracePt t="14573" x="3090863" y="1897063"/>
          <p14:tracePt t="14573" x="3087688" y="1897063"/>
          <p14:tracePt t="14575" x="3087688" y="1901825"/>
          <p14:tracePt t="14576" x="3087688" y="1905000"/>
          <p14:tracePt t="14578" x="3082925" y="1909763"/>
          <p14:tracePt t="14579" x="3082925" y="1912938"/>
          <p14:tracePt t="14580" x="3079750" y="1912938"/>
          <p14:tracePt t="14581" x="3079750" y="1917700"/>
          <p14:tracePt t="14582" x="3079750" y="1922463"/>
          <p14:tracePt t="14583" x="3074988" y="1922463"/>
          <p14:tracePt t="14585" x="3074988" y="1925638"/>
          <p14:tracePt t="14587" x="3074988" y="1930400"/>
          <p14:tracePt t="14588" x="3071813" y="1930400"/>
          <p14:tracePt t="14588" x="3071813" y="1933575"/>
          <p14:tracePt t="14590" x="3067050" y="1933575"/>
          <p14:tracePt t="14591" x="3067050" y="1938338"/>
          <p14:tracePt t="14594" x="3067050" y="1941513"/>
          <p14:tracePt t="14595" x="3062288" y="1946275"/>
          <p14:tracePt t="14597" x="3062288" y="1949450"/>
          <p14:tracePt t="14600" x="3062288" y="1954213"/>
          <p14:tracePt t="14601" x="3059113" y="1957388"/>
          <p14:tracePt t="14604" x="3059113" y="1962150"/>
          <p14:tracePt t="14605" x="3054350" y="1965325"/>
          <p14:tracePt t="14605" x="3054350" y="1970088"/>
          <p14:tracePt t="14608" x="3054350" y="1973263"/>
          <p14:tracePt t="14609" x="3054350" y="1978025"/>
          <p14:tracePt t="14612" x="3051175" y="1978025"/>
          <p14:tracePt t="14613" x="3051175" y="1981200"/>
          <p14:tracePt t="14615" x="3051175" y="1985963"/>
          <p14:tracePt t="14618" x="3046413" y="1989138"/>
          <p14:tracePt t="14619" x="3046413" y="1993900"/>
          <p14:tracePt t="14622" x="3046413" y="1997075"/>
          <p14:tracePt t="14623" x="3046413" y="2001838"/>
          <p14:tracePt t="14625" x="3043238" y="2001838"/>
          <p14:tracePt t="14625" x="3043238" y="2005013"/>
          <p14:tracePt t="14627" x="3043238" y="2009775"/>
          <p14:tracePt t="14629" x="3043238" y="2014538"/>
          <p14:tracePt t="14630" x="3043238" y="2017713"/>
          <p14:tracePt t="14635" x="3043238" y="2022475"/>
          <p14:tracePt t="14636" x="3043238" y="2025650"/>
          <p14:tracePt t="14640" x="3038475" y="2033588"/>
          <p14:tracePt t="14641" x="3038475" y="2038350"/>
          <p14:tracePt t="14643" x="3038475" y="2041525"/>
          <p14:tracePt t="14646" x="3038475" y="2046288"/>
          <p14:tracePt t="14646" x="3038475" y="2049463"/>
          <p14:tracePt t="14649" x="3038475" y="2054225"/>
          <p14:tracePt t="14649" x="3038475" y="2057400"/>
          <p14:tracePt t="14653" x="3038475" y="2062163"/>
          <p14:tracePt t="14653" x="3038475" y="2065338"/>
          <p14:tracePt t="14655" x="3043238" y="2070100"/>
          <p14:tracePt t="14656" x="3043238" y="2073275"/>
          <p14:tracePt t="14656" x="3043238" y="2078038"/>
          <p14:tracePt t="14657" x="3046413" y="2081213"/>
          <p14:tracePt t="14660" x="3046413" y="2085975"/>
          <p14:tracePt t="14661" x="3051175" y="2089150"/>
          <p14:tracePt t="14661" x="3051175" y="2093913"/>
          <p14:tracePt t="14662" x="3054350" y="2097088"/>
          <p14:tracePt t="14664" x="3059113" y="2101850"/>
          <p14:tracePt t="14665" x="3059113" y="2106613"/>
          <p14:tracePt t="14666" x="3062288" y="2109788"/>
          <p14:tracePt t="14668" x="3067050" y="2117725"/>
          <p14:tracePt t="14669" x="3071813" y="2117725"/>
          <p14:tracePt t="14670" x="3071813" y="2122488"/>
          <p14:tracePt t="14672" x="3074988" y="2125663"/>
          <p14:tracePt t="14673" x="3079750" y="2130425"/>
          <p14:tracePt t="14673" x="3079750" y="2133600"/>
          <p14:tracePt t="14675" x="3087688" y="2138363"/>
          <p14:tracePt t="14675" x="3087688" y="2141538"/>
          <p14:tracePt t="14676" x="3090863" y="2141538"/>
          <p14:tracePt t="14677" x="3095625" y="2146300"/>
          <p14:tracePt t="14678" x="3098800" y="2149475"/>
          <p14:tracePt t="14679" x="3103563" y="2154238"/>
          <p14:tracePt t="14680" x="3106738" y="2157413"/>
          <p14:tracePt t="14681" x="3111500" y="2162175"/>
          <p14:tracePt t="14682" x="3114675" y="2162175"/>
          <p14:tracePt t="14683" x="3119438" y="2165350"/>
          <p14:tracePt t="14685" x="3119438" y="2170113"/>
          <p14:tracePt t="14686" x="3127375" y="2173288"/>
          <p14:tracePt t="14687" x="3130550" y="2178050"/>
          <p14:tracePt t="14688" x="3135313" y="2181225"/>
          <p14:tracePt t="14689" x="3138488" y="2181225"/>
          <p14:tracePt t="14690" x="3146425" y="2185988"/>
          <p14:tracePt t="14690" x="3151188" y="2189163"/>
          <p14:tracePt t="14691" x="3154363" y="2189163"/>
          <p14:tracePt t="14692" x="3159125" y="2189163"/>
          <p14:tracePt t="14693" x="3163888" y="2193925"/>
          <p14:tracePt t="14694" x="3171825" y="2193925"/>
          <p14:tracePt t="14695" x="3175000" y="2198688"/>
          <p14:tracePt t="14696" x="3179763" y="2201863"/>
          <p14:tracePt t="14697" x="3182938" y="2201863"/>
          <p14:tracePt t="14698" x="3182938" y="2206625"/>
          <p14:tracePt t="14699" x="3187700" y="2206625"/>
          <p14:tracePt t="14700" x="3195638" y="2209800"/>
          <p14:tracePt t="14701" x="3198813" y="2214563"/>
          <p14:tracePt t="14703" x="3203575" y="2214563"/>
          <p14:tracePt t="14704" x="3206750" y="2217738"/>
          <p14:tracePt t="14704" x="3211513" y="2217738"/>
          <p14:tracePt t="14706" x="3214688" y="2222500"/>
          <p14:tracePt t="14706" x="3219450" y="2222500"/>
          <p14:tracePt t="14707" x="3222625" y="2222500"/>
          <p14:tracePt t="14708" x="3227388" y="2225675"/>
          <p14:tracePt t="14709" x="3230563" y="2225675"/>
          <p14:tracePt t="14710" x="3230563" y="2230438"/>
          <p14:tracePt t="14711" x="3235325" y="2230438"/>
          <p14:tracePt t="14712" x="3238500" y="2230438"/>
          <p14:tracePt t="14713" x="3243263" y="2233613"/>
          <p14:tracePt t="14714" x="3246438" y="2233613"/>
          <p14:tracePt t="14715" x="3251200" y="2233613"/>
          <p14:tracePt t="14716" x="3255963" y="2233613"/>
          <p14:tracePt t="14718" x="3259138" y="2233613"/>
          <p14:tracePt t="14719" x="3263900" y="2233613"/>
          <p14:tracePt t="14720" x="3267075" y="2233613"/>
          <p14:tracePt t="14721" x="3271838" y="2238375"/>
          <p14:tracePt t="14724" x="3275013" y="2238375"/>
          <p14:tracePt t="14724" x="3279775" y="2238375"/>
          <p14:tracePt t="14725" x="3282950" y="2241550"/>
          <p14:tracePt t="14727" x="3287713" y="2241550"/>
          <p14:tracePt t="14729" x="3290888" y="2241550"/>
          <p14:tracePt t="14730" x="3295650" y="2241550"/>
          <p14:tracePt t="14731" x="3295650" y="2246313"/>
          <p14:tracePt t="14732" x="3298825" y="2246313"/>
          <p14:tracePt t="14734" x="3303588" y="2246313"/>
          <p14:tracePt t="14736" x="3306763" y="2246313"/>
          <p14:tracePt t="14737" x="3311525" y="2246313"/>
          <p14:tracePt t="14741" x="3314700" y="2246313"/>
          <p14:tracePt t="14742" x="3319463" y="2246313"/>
          <p14:tracePt t="14744" x="3322638" y="2246313"/>
          <p14:tracePt t="14746" x="3327400" y="2246313"/>
          <p14:tracePt t="14750" x="3330575" y="2246313"/>
          <p14:tracePt t="14755" x="3335338" y="2249488"/>
          <p14:tracePt t="14758" x="3338513" y="2249488"/>
          <p14:tracePt t="14762" x="3343275" y="2249488"/>
          <p14:tracePt t="14805" x="3348038" y="2249488"/>
          <p14:tracePt t="14958" x="3351213" y="2249488"/>
          <p14:tracePt t="14963" x="3355975" y="2249488"/>
          <p14:tracePt t="14963" x="3359150" y="2249488"/>
          <p14:tracePt t="14966" x="3363913" y="2249488"/>
          <p14:tracePt t="14967" x="3367088" y="2249488"/>
          <p14:tracePt t="14968" x="3371850" y="2249488"/>
          <p14:tracePt t="14969" x="3375025" y="2249488"/>
          <p14:tracePt t="14971" x="3379788" y="2249488"/>
          <p14:tracePt t="14973" x="3382963" y="2249488"/>
          <p14:tracePt t="14974" x="3387725" y="2249488"/>
          <p14:tracePt t="14975" x="3390900" y="2249488"/>
          <p14:tracePt t="14975" x="3395663" y="2249488"/>
          <p14:tracePt t="14978" x="3398838" y="2249488"/>
          <p14:tracePt t="14979" x="3403600" y="2249488"/>
          <p14:tracePt t="14979" x="3406775" y="2249488"/>
          <p14:tracePt t="14980" x="3411538" y="2249488"/>
          <p14:tracePt t="14982" x="3414713" y="2249488"/>
          <p14:tracePt t="14982" x="3419475" y="2249488"/>
          <p14:tracePt t="14984" x="3422650" y="2249488"/>
          <p14:tracePt t="14985" x="3427413" y="2249488"/>
          <p14:tracePt t="14986" x="3430588" y="2246313"/>
          <p14:tracePt t="14987" x="3435350" y="2246313"/>
          <p14:tracePt t="14989" x="3440113" y="2246313"/>
          <p14:tracePt t="14990" x="3443288" y="2246313"/>
          <p14:tracePt t="14991" x="3448050" y="2246313"/>
          <p14:tracePt t="14991" x="3451225" y="2246313"/>
          <p14:tracePt t="14992" x="3455988" y="2246313"/>
          <p14:tracePt t="14993" x="3459163" y="2246313"/>
          <p14:tracePt t="14994" x="3463925" y="2246313"/>
          <p14:tracePt t="14995" x="3467100" y="2241550"/>
          <p14:tracePt t="14996" x="3471863" y="2241550"/>
          <p14:tracePt t="14998" x="3475038" y="2241550"/>
          <p14:tracePt t="15000" x="3479800" y="2241550"/>
          <p14:tracePt t="15001" x="3482975" y="2241550"/>
          <p14:tracePt t="15002" x="3490913" y="2238375"/>
          <p14:tracePt t="15003" x="3495675" y="2238375"/>
          <p14:tracePt t="15004" x="3498850" y="2238375"/>
          <p14:tracePt t="15004" x="3503613" y="2238375"/>
          <p14:tracePt t="15006" x="3506788" y="2238375"/>
          <p14:tracePt t="15007" x="3511550" y="2238375"/>
          <p14:tracePt t="15008" x="3514725" y="2233613"/>
          <p14:tracePt t="15008" x="3519488" y="2233613"/>
          <p14:tracePt t="15010" x="3524250" y="2233613"/>
          <p14:tracePt t="15012" x="3527425" y="2233613"/>
          <p14:tracePt t="15014" x="3532188" y="2233613"/>
          <p14:tracePt t="15016" x="3535363" y="2233613"/>
          <p14:tracePt t="15017" x="3540125" y="2233613"/>
          <p14:tracePt t="15019" x="3543300" y="2233613"/>
          <p14:tracePt t="15019" x="3548063" y="2233613"/>
          <p14:tracePt t="15022" x="3551238" y="2233613"/>
          <p14:tracePt t="15022" x="3556000" y="2230438"/>
          <p14:tracePt t="15024" x="3559175" y="2230438"/>
          <p14:tracePt t="15026" x="3563938" y="2230438"/>
          <p14:tracePt t="15029" x="3567113" y="2230438"/>
          <p14:tracePt t="15030" x="3567113" y="2225675"/>
          <p14:tracePt t="15030" x="3571875" y="2225675"/>
          <p14:tracePt t="15032" x="3575050" y="2225675"/>
          <p14:tracePt t="15034" x="3579813" y="2222500"/>
          <p14:tracePt t="15035" x="3582988" y="2222500"/>
          <p14:tracePt t="15038" x="3587750" y="2222500"/>
          <p14:tracePt t="15039" x="3590925" y="2217738"/>
          <p14:tracePt t="15041" x="3595688" y="2217738"/>
          <p14:tracePt t="15043" x="3598863" y="2217738"/>
          <p14:tracePt t="15046" x="3598863" y="2214563"/>
          <p14:tracePt t="15046" x="3603625" y="2214563"/>
          <p14:tracePt t="15051" x="3606800" y="2209800"/>
          <p14:tracePt t="15055" x="3611563" y="2209800"/>
          <p14:tracePt t="15057" x="3616325" y="2209800"/>
          <p14:tracePt t="15058" x="3616325" y="2206625"/>
          <p14:tracePt t="15061" x="3619500" y="2206625"/>
          <p14:tracePt t="15062" x="3619500" y="2201863"/>
          <p14:tracePt t="15069" x="3624263" y="2201863"/>
          <p14:tracePt t="15075" x="3624263" y="2198688"/>
          <p14:tracePt t="15143" x="3627438" y="2198688"/>
          <p14:tracePt t="15155" x="3627438" y="2201863"/>
          <p14:tracePt t="15156" x="3632200" y="2201863"/>
          <p14:tracePt t="15158" x="3632200" y="2206625"/>
          <p14:tracePt t="15159" x="3635375" y="2206625"/>
          <p14:tracePt t="15164" x="3640138" y="2209800"/>
          <p14:tracePt t="15166" x="3643313" y="2209800"/>
          <p14:tracePt t="15170" x="3648075" y="2209800"/>
          <p14:tracePt t="15171" x="3648075" y="2214563"/>
          <p14:tracePt t="15173" x="3651250" y="2214563"/>
          <p14:tracePt t="15175" x="3651250" y="2217738"/>
          <p14:tracePt t="15176" x="3656013" y="2217738"/>
          <p14:tracePt t="15178" x="3659188" y="2222500"/>
          <p14:tracePt t="15179" x="3663950" y="2222500"/>
          <p14:tracePt t="15182" x="3667125" y="2225675"/>
          <p14:tracePt t="15184" x="3671888" y="2230438"/>
          <p14:tracePt t="15186" x="3675063" y="2230438"/>
          <p14:tracePt t="15187" x="3679825" y="2230438"/>
          <p14:tracePt t="15189" x="3683000" y="2230438"/>
          <p14:tracePt t="15190" x="3683000" y="2233613"/>
          <p14:tracePt t="15192" x="3687763" y="2238375"/>
          <p14:tracePt t="15192" x="3690938" y="2238375"/>
          <p14:tracePt t="15193" x="3690938" y="2241550"/>
          <p14:tracePt t="15194" x="3695700" y="2241550"/>
          <p14:tracePt t="15196" x="3698875" y="2241550"/>
          <p14:tracePt t="15196" x="3698875" y="2246313"/>
          <p14:tracePt t="15197" x="3703638" y="2246313"/>
          <p14:tracePt t="15198" x="3708400" y="2249488"/>
          <p14:tracePt t="15199" x="3711575" y="2249488"/>
          <p14:tracePt t="15200" x="3716338" y="2249488"/>
          <p14:tracePt t="15202" x="3716338" y="2254250"/>
          <p14:tracePt t="15203" x="3724275" y="2257425"/>
          <p14:tracePt t="15205" x="3727450" y="2257425"/>
          <p14:tracePt t="15206" x="3732213" y="2262188"/>
          <p14:tracePt t="15208" x="3735388" y="2265363"/>
          <p14:tracePt t="15209" x="3740150" y="2265363"/>
          <p14:tracePt t="15209" x="3743325" y="2270125"/>
          <p14:tracePt t="15210" x="3748088" y="2270125"/>
          <p14:tracePt t="15211" x="3751263" y="2270125"/>
          <p14:tracePt t="15212" x="3756025" y="2273300"/>
          <p14:tracePt t="15213" x="3759200" y="2273300"/>
          <p14:tracePt t="15214" x="3763963" y="2273300"/>
          <p14:tracePt t="15215" x="3767138" y="2273300"/>
          <p14:tracePt t="15217" x="3771900" y="2278063"/>
          <p14:tracePt t="15218" x="3775075" y="2281238"/>
          <p14:tracePt t="15220" x="3779838" y="2281238"/>
          <p14:tracePt t="15221" x="3783013" y="2286000"/>
          <p14:tracePt t="15222" x="3790950" y="2286000"/>
          <p14:tracePt t="15223" x="3795713" y="2290763"/>
          <p14:tracePt t="15224" x="3800475" y="2290763"/>
          <p14:tracePt t="15225" x="3808413" y="2293938"/>
          <p14:tracePt t="15225" x="3811588" y="2293938"/>
          <p14:tracePt t="15226" x="3816350" y="2293938"/>
          <p14:tracePt t="15227" x="3824288" y="2298700"/>
          <p14:tracePt t="15228" x="3827463" y="2298700"/>
          <p14:tracePt t="15229" x="3832225" y="2301875"/>
          <p14:tracePt t="15231" x="3835400" y="2306638"/>
          <p14:tracePt t="15233" x="3843338" y="2306638"/>
          <p14:tracePt t="15233" x="3848100" y="2306638"/>
          <p14:tracePt t="15235" x="3851275" y="2309813"/>
          <p14:tracePt t="15235" x="3859213" y="2309813"/>
          <p14:tracePt t="15237" x="3863975" y="2314575"/>
          <p14:tracePt t="15238" x="3871913" y="2314575"/>
          <p14:tracePt t="15239" x="3875088" y="2317750"/>
          <p14:tracePt t="15240" x="3879850" y="2317750"/>
          <p14:tracePt t="15241" x="3884613" y="2317750"/>
          <p14:tracePt t="15242" x="3887788" y="2322513"/>
          <p14:tracePt t="15243" x="3892550" y="2322513"/>
          <p14:tracePt t="15244" x="3900488" y="2322513"/>
          <p14:tracePt t="15245" x="3903663" y="2322513"/>
          <p14:tracePt t="15246" x="3908425" y="2322513"/>
          <p14:tracePt t="15247" x="3916363" y="2325688"/>
          <p14:tracePt t="15249" x="3924300" y="2330450"/>
          <p14:tracePt t="15251" x="3927475" y="2330450"/>
          <p14:tracePt t="15252" x="3935413" y="2330450"/>
          <p14:tracePt t="15253" x="3940175" y="2333625"/>
          <p14:tracePt t="15255" x="3951288" y="2333625"/>
          <p14:tracePt t="15256" x="3956050" y="2338388"/>
          <p14:tracePt t="15257" x="3959225" y="2338388"/>
          <p14:tracePt t="15258" x="3963988" y="2338388"/>
          <p14:tracePt t="15259" x="3971925" y="2338388"/>
          <p14:tracePt t="15260" x="3976688" y="2341563"/>
          <p14:tracePt t="15261" x="3979863" y="2341563"/>
          <p14:tracePt t="15262" x="3987800" y="2341563"/>
          <p14:tracePt t="15263" x="3992563" y="2341563"/>
          <p14:tracePt t="15264" x="4000500" y="2346325"/>
          <p14:tracePt t="15265" x="4003675" y="2346325"/>
          <p14:tracePt t="15266" x="4011613" y="2346325"/>
          <p14:tracePt t="15268" x="4024313" y="2346325"/>
          <p14:tracePt t="15270" x="4027488" y="2346325"/>
          <p14:tracePt t="15271" x="4035425" y="2349500"/>
          <p14:tracePt t="15273" x="4043363" y="2349500"/>
          <p14:tracePt t="15273" x="4048125" y="2349500"/>
          <p14:tracePt t="15275" x="4051300" y="2349500"/>
          <p14:tracePt t="15275" x="4056063" y="2354263"/>
          <p14:tracePt t="15276" x="4064000" y="2354263"/>
          <p14:tracePt t="15277" x="4071938" y="2354263"/>
          <p14:tracePt t="15278" x="4076700" y="2354263"/>
          <p14:tracePt t="15280" x="4079875" y="2354263"/>
          <p14:tracePt t="15281" x="4084638" y="2354263"/>
          <p14:tracePt t="15282" x="4092575" y="2354263"/>
          <p14:tracePt t="15282" x="4095750" y="2354263"/>
          <p14:tracePt t="15284" x="4100513" y="2354263"/>
          <p14:tracePt t="15287" x="4111625" y="2354263"/>
          <p14:tracePt t="15288" x="4116388" y="2354263"/>
          <p14:tracePt t="15288" x="4119563" y="2354263"/>
          <p14:tracePt t="15290" x="4124325" y="2354263"/>
          <p14:tracePt t="15290" x="4127500" y="2354263"/>
          <p14:tracePt t="15291" x="4132263" y="2354263"/>
          <p14:tracePt t="15292" x="4135438" y="2354263"/>
          <p14:tracePt t="15293" x="4140200" y="2354263"/>
          <p14:tracePt t="15294" x="4143375" y="2354263"/>
          <p14:tracePt t="15295" x="4148138" y="2354263"/>
          <p14:tracePt t="15297" x="4151313" y="2354263"/>
          <p14:tracePt t="15299" x="4156075" y="2354263"/>
          <p14:tracePt t="15301" x="4160838" y="2354263"/>
          <p14:tracePt t="15302" x="4164013" y="2354263"/>
          <p14:tracePt t="15306" x="4168775" y="2354263"/>
          <p14:tracePt t="15308" x="4171950" y="2354263"/>
          <p14:tracePt t="15310" x="4171950" y="2349500"/>
          <p14:tracePt t="15312" x="4176713" y="2349500"/>
          <p14:tracePt t="15317" x="4179888" y="2349500"/>
          <p14:tracePt t="15318" x="4179888" y="2346325"/>
          <p14:tracePt t="15325" x="4179888" y="2341563"/>
          <p14:tracePt t="15327" x="4184650" y="2341563"/>
          <p14:tracePt t="15331" x="4184650" y="2338388"/>
          <p14:tracePt t="15339" x="4187825" y="2338388"/>
          <p14:tracePt t="15341" x="4187825" y="2333625"/>
          <p14:tracePt t="15353" x="4187825" y="2330450"/>
          <p14:tracePt t="15421" x="4187825" y="2325688"/>
          <p14:tracePt t="15426" x="4184650" y="2325688"/>
          <p14:tracePt t="15427" x="4184650" y="2322513"/>
          <p14:tracePt t="15428" x="4179888" y="2322513"/>
          <p14:tracePt t="15430" x="4176713" y="2322513"/>
          <p14:tracePt t="15430" x="4176713" y="2317750"/>
          <p14:tracePt t="15432" x="4171950" y="2317750"/>
          <p14:tracePt t="15434" x="4171950" y="2314575"/>
          <p14:tracePt t="15435" x="4168775" y="2314575"/>
          <p14:tracePt t="15436" x="4164013" y="2314575"/>
          <p14:tracePt t="15436" x="4164013" y="2309813"/>
          <p14:tracePt t="15437" x="4160838" y="2309813"/>
          <p14:tracePt t="15438" x="4156075" y="2309813"/>
          <p14:tracePt t="15440" x="4151313" y="2309813"/>
          <p14:tracePt t="15441" x="4151313" y="2306638"/>
          <p14:tracePt t="15442" x="4148138" y="2306638"/>
          <p14:tracePt t="15444" x="4143375" y="2301875"/>
          <p14:tracePt t="15445" x="4140200" y="2301875"/>
          <p14:tracePt t="15446" x="4135438" y="2298700"/>
          <p14:tracePt t="15446" x="4132263" y="2298700"/>
          <p14:tracePt t="15447" x="4127500" y="2298700"/>
          <p14:tracePt t="15448" x="4124325" y="2298700"/>
          <p14:tracePt t="15449" x="4119563" y="2298700"/>
          <p14:tracePt t="15450" x="4116388" y="2293938"/>
          <p14:tracePt t="15452" x="4111625" y="2293938"/>
          <p14:tracePt t="15453" x="4111625" y="2290763"/>
          <p14:tracePt t="15453" x="4108450" y="2290763"/>
          <p14:tracePt t="15455" x="4103688" y="2290763"/>
          <p14:tracePt t="15456" x="4100513" y="2286000"/>
          <p14:tracePt t="15457" x="4095750" y="2286000"/>
          <p14:tracePt t="15458" x="4092575" y="2286000"/>
          <p14:tracePt t="15459" x="4084638" y="2281238"/>
          <p14:tracePt t="15460" x="4079875" y="2281238"/>
          <p14:tracePt t="15460" x="4076700" y="2281238"/>
          <p14:tracePt t="15461" x="4068763" y="2278063"/>
          <p14:tracePt t="15462" x="4064000" y="2278063"/>
          <p14:tracePt t="15463" x="4059238" y="2273300"/>
          <p14:tracePt t="15464" x="4051300" y="2273300"/>
          <p14:tracePt t="15465" x="4048125" y="2270125"/>
          <p14:tracePt t="15468" x="4043363" y="2270125"/>
          <p14:tracePt t="15469" x="4035425" y="2265363"/>
          <p14:tracePt t="15470" x="4032250" y="2265363"/>
          <p14:tracePt t="15470" x="4024313" y="2262188"/>
          <p14:tracePt t="15472" x="4019550" y="2262188"/>
          <p14:tracePt t="15473" x="4011613" y="2257425"/>
          <p14:tracePt t="15474" x="4008438" y="2257425"/>
          <p14:tracePt t="15475" x="4003675" y="2254250"/>
          <p14:tracePt t="15475" x="4000500" y="2254250"/>
          <p14:tracePt t="15477" x="3992563" y="2254250"/>
          <p14:tracePt t="15477" x="3987800" y="2249488"/>
          <p14:tracePt t="15478" x="3979863" y="2249488"/>
          <p14:tracePt t="15479" x="3976688" y="2246313"/>
          <p14:tracePt t="15480" x="3971925" y="2246313"/>
          <p14:tracePt t="15481" x="3963988" y="2241550"/>
          <p14:tracePt t="15483" x="3956050" y="2241550"/>
          <p14:tracePt t="15484" x="3956050" y="2238375"/>
          <p14:tracePt t="15485" x="3948113" y="2238375"/>
          <p14:tracePt t="15486" x="3943350" y="2233613"/>
          <p14:tracePt t="15488" x="3932238" y="2233613"/>
          <p14:tracePt t="15488" x="3924300" y="2230438"/>
          <p14:tracePt t="15490" x="3919538" y="2230438"/>
          <p14:tracePt t="15490" x="3916363" y="2230438"/>
          <p14:tracePt t="15492" x="3908425" y="2225675"/>
          <p14:tracePt t="15492" x="3903663" y="2225675"/>
          <p14:tracePt t="15493" x="3900488" y="2225675"/>
          <p14:tracePt t="15494" x="3892550" y="2222500"/>
          <p14:tracePt t="15496" x="3887788" y="2222500"/>
          <p14:tracePt t="15496" x="3884613" y="2222500"/>
          <p14:tracePt t="15497" x="3879850" y="2217738"/>
          <p14:tracePt t="15499" x="3871913" y="2217738"/>
          <p14:tracePt t="15499" x="3867150" y="2217738"/>
          <p14:tracePt t="15501" x="3867150" y="2214563"/>
          <p14:tracePt t="15502" x="3863975" y="2214563"/>
          <p14:tracePt t="15503" x="3859213" y="2214563"/>
          <p14:tracePt t="15505" x="3851275" y="2214563"/>
          <p14:tracePt t="15506" x="3848100" y="2214563"/>
          <p14:tracePt t="15507" x="3843338" y="2214563"/>
          <p14:tracePt t="15509" x="3840163" y="2214563"/>
          <p14:tracePt t="15510" x="3835400" y="2214563"/>
          <p14:tracePt t="15512" x="3832225" y="2209800"/>
          <p14:tracePt t="15515" x="3827463" y="2209800"/>
          <p14:tracePt t="15518" x="3824288" y="2209800"/>
          <p14:tracePt t="15521" x="3819525" y="2209800"/>
          <p14:tracePt t="15523" x="3816350" y="2209800"/>
          <p14:tracePt t="15524" x="3811588" y="2209800"/>
          <p14:tracePt t="15525" x="3808413" y="2206625"/>
          <p14:tracePt t="15526" x="3803650" y="2206625"/>
          <p14:tracePt t="15530" x="3800475" y="2206625"/>
          <p14:tracePt t="15533" x="3795713" y="2206625"/>
          <p14:tracePt t="15533" x="3790950" y="2206625"/>
          <p14:tracePt t="15536" x="3787775" y="2206625"/>
          <p14:tracePt t="15539" x="3787775" y="2201863"/>
          <p14:tracePt t="15541" x="3783013" y="2201863"/>
          <p14:tracePt t="15543" x="3779838" y="2201863"/>
          <p14:tracePt t="15546" x="3775075" y="2201863"/>
          <p14:tracePt t="15548" x="3771900" y="2201863"/>
          <p14:tracePt t="15551" x="3767138" y="2201863"/>
          <p14:tracePt t="15553" x="3763963" y="2201863"/>
          <p14:tracePt t="15555" x="3759200" y="2201863"/>
          <p14:tracePt t="15559" x="3756025" y="2201863"/>
          <p14:tracePt t="15561" x="3751263" y="2201863"/>
          <p14:tracePt t="15564" x="3748088" y="2201863"/>
          <p14:tracePt t="15567" x="3743325" y="2201863"/>
          <p14:tracePt t="15568" x="3743325" y="2198688"/>
          <p14:tracePt t="15576" x="3740150" y="2198688"/>
          <p14:tracePt t="15579" x="3735388" y="2193925"/>
          <p14:tracePt t="15581" x="3732213" y="2193925"/>
          <p14:tracePt t="15583" x="3727450" y="2193925"/>
          <p14:tracePt t="15587" x="3724275" y="2193925"/>
          <p14:tracePt t="15589" x="3719513" y="2193925"/>
          <p14:tracePt t="15591" x="3716338" y="2193925"/>
          <p14:tracePt t="15594" x="3711575" y="2193925"/>
          <p14:tracePt t="15596" x="3708400" y="2193925"/>
          <p14:tracePt t="15598" x="3703638" y="2193925"/>
          <p14:tracePt t="15598" x="3703638" y="2189163"/>
          <p14:tracePt t="15599" x="3698875" y="2189163"/>
          <p14:tracePt t="15601" x="3695700" y="2189163"/>
          <p14:tracePt t="15603" x="3690938" y="2189163"/>
          <p14:tracePt t="15604" x="3687763" y="2189163"/>
          <p14:tracePt t="15604" x="3687763" y="2185988"/>
          <p14:tracePt t="15605" x="3683000" y="2185988"/>
          <p14:tracePt t="15607" x="3679825" y="2185988"/>
          <p14:tracePt t="15609" x="3675063" y="2185988"/>
          <p14:tracePt t="15609" x="3671888" y="2185988"/>
          <p14:tracePt t="15610" x="3667125" y="2181225"/>
          <p14:tracePt t="15611" x="3663950" y="2181225"/>
          <p14:tracePt t="15613" x="3659188" y="2181225"/>
          <p14:tracePt t="15614" x="3656013" y="2181225"/>
          <p14:tracePt t="15615" x="3651250" y="2181225"/>
          <p14:tracePt t="15616" x="3648075" y="2181225"/>
          <p14:tracePt t="15618" x="3640138" y="2178050"/>
          <p14:tracePt t="15619" x="3635375" y="2178050"/>
          <p14:tracePt t="15620" x="3632200" y="2178050"/>
          <p14:tracePt t="15623" x="3627438" y="2173288"/>
          <p14:tracePt t="15624" x="3619500" y="2173288"/>
          <p14:tracePt t="15625" x="3616325" y="2173288"/>
          <p14:tracePt t="15625" x="3611563" y="2173288"/>
          <p14:tracePt t="15628" x="3606800" y="2173288"/>
          <p14:tracePt t="15628" x="3603625" y="2173288"/>
          <p14:tracePt t="15629" x="3598863" y="2173288"/>
          <p14:tracePt t="15630" x="3595688" y="2173288"/>
          <p14:tracePt t="15632" x="3590925" y="2173288"/>
          <p14:tracePt t="15633" x="3587750" y="2173288"/>
          <p14:tracePt t="15635" x="3582988" y="2173288"/>
          <p14:tracePt t="15636" x="3579813" y="2170113"/>
          <p14:tracePt t="15636" x="3575050" y="2170113"/>
          <p14:tracePt t="15638" x="3571875" y="2170113"/>
          <p14:tracePt t="15639" x="3567113" y="2165350"/>
          <p14:tracePt t="15642" x="3563938" y="2165350"/>
          <p14:tracePt t="15642" x="3559175" y="2165350"/>
          <p14:tracePt t="15644" x="3556000" y="2162175"/>
          <p14:tracePt t="15645" x="3551238" y="2162175"/>
          <p14:tracePt t="15647" x="3548063" y="2162175"/>
          <p14:tracePt t="15648" x="3543300" y="2162175"/>
          <p14:tracePt t="15649" x="3543300" y="2157413"/>
          <p14:tracePt t="15650" x="3540125" y="2157413"/>
          <p14:tracePt t="15653" x="3535363" y="2157413"/>
          <p14:tracePt t="15655" x="3532188" y="2157413"/>
          <p14:tracePt t="15660" x="3527425" y="2154238"/>
          <p14:tracePt t="15663" x="3524250" y="2154238"/>
          <p14:tracePt t="15669" x="3519488" y="2154238"/>
          <p14:tracePt t="15671" x="3519488" y="2149475"/>
          <p14:tracePt t="15777" x="3524250" y="2149475"/>
          <p14:tracePt t="15780" x="3527425" y="2149475"/>
          <p14:tracePt t="15783" x="3532188" y="2149475"/>
          <p14:tracePt t="15785" x="3535363" y="2149475"/>
          <p14:tracePt t="15787" x="3540125" y="2149475"/>
          <p14:tracePt t="15788" x="3543300" y="2149475"/>
          <p14:tracePt t="15789" x="3548063" y="2149475"/>
          <p14:tracePt t="15790" x="3551238" y="2149475"/>
          <p14:tracePt t="15791" x="3556000" y="2149475"/>
          <p14:tracePt t="15792" x="3559175" y="2149475"/>
          <p14:tracePt t="15793" x="3563938" y="2149475"/>
          <p14:tracePt t="15794" x="3567113" y="2149475"/>
          <p14:tracePt t="15796" x="3571875" y="2149475"/>
          <p14:tracePt t="15797" x="3579813" y="2149475"/>
          <p14:tracePt t="15798" x="3582988" y="2149475"/>
          <p14:tracePt t="15799" x="3590925" y="2149475"/>
          <p14:tracePt t="15800" x="3595688" y="2149475"/>
          <p14:tracePt t="15802" x="3598863" y="2149475"/>
          <p14:tracePt t="15802" x="3603625" y="2149475"/>
          <p14:tracePt t="15803" x="3611563" y="2149475"/>
          <p14:tracePt t="15804" x="3619500" y="2149475"/>
          <p14:tracePt t="15805" x="3624263" y="2149475"/>
          <p14:tracePt t="15806" x="3632200" y="2149475"/>
          <p14:tracePt t="15807" x="3640138" y="2149475"/>
          <p14:tracePt t="15808" x="3643313" y="2149475"/>
          <p14:tracePt t="15809" x="3656013" y="2149475"/>
          <p14:tracePt t="15810" x="3659188" y="2149475"/>
          <p14:tracePt t="15811" x="3667125" y="2149475"/>
          <p14:tracePt t="15812" x="3675063" y="2149475"/>
          <p14:tracePt t="15813" x="3679825" y="2149475"/>
          <p14:tracePt t="15814" x="3690938" y="2149475"/>
          <p14:tracePt t="15815" x="3698875" y="2149475"/>
          <p14:tracePt t="15816" x="3708400" y="2149475"/>
          <p14:tracePt t="15818" x="3711575" y="2149475"/>
          <p14:tracePt t="15819" x="3719513" y="2149475"/>
          <p14:tracePt t="15819" x="3732213" y="2149475"/>
          <p14:tracePt t="15821" x="3740150" y="2149475"/>
          <p14:tracePt t="15822" x="3748088" y="2149475"/>
          <p14:tracePt t="15823" x="3756025" y="2149475"/>
          <p14:tracePt t="15824" x="3763963" y="2149475"/>
          <p14:tracePt t="15824" x="3779838" y="2149475"/>
          <p14:tracePt t="15825" x="3787775" y="2149475"/>
          <p14:tracePt t="15826" x="3795713" y="2149475"/>
          <p14:tracePt t="15827" x="3803650" y="2149475"/>
          <p14:tracePt t="15828" x="3811588" y="2149475"/>
          <p14:tracePt t="15829" x="3824288" y="2149475"/>
          <p14:tracePt t="15830" x="3832225" y="2149475"/>
          <p14:tracePt t="15831" x="3840163" y="2149475"/>
          <p14:tracePt t="15832" x="3848100" y="2149475"/>
          <p14:tracePt t="15833" x="3856038" y="2149475"/>
          <p14:tracePt t="15835" x="3871913" y="2149475"/>
          <p14:tracePt t="15836" x="3879850" y="2149475"/>
          <p14:tracePt t="15836" x="3887788" y="2149475"/>
          <p14:tracePt t="15837" x="3895725" y="2149475"/>
          <p14:tracePt t="15838" x="3908425" y="2149475"/>
          <p14:tracePt t="15839" x="3919538" y="2149475"/>
          <p14:tracePt t="15840" x="3932238" y="2149475"/>
          <p14:tracePt t="15841" x="3940175" y="2146300"/>
          <p14:tracePt t="15842" x="3948113" y="2146300"/>
          <p14:tracePt t="15843" x="3956050" y="2146300"/>
          <p14:tracePt t="15845" x="3963988" y="2146300"/>
          <p14:tracePt t="15845" x="3971925" y="2146300"/>
          <p14:tracePt t="15846" x="3984625" y="2141538"/>
          <p14:tracePt t="15847" x="3992563" y="2141538"/>
          <p14:tracePt t="15848" x="4000500" y="2141538"/>
          <p14:tracePt t="15849" x="4011613" y="2141538"/>
          <p14:tracePt t="15850" x="4019550" y="2141538"/>
          <p14:tracePt t="15851" x="4027488" y="2138363"/>
          <p14:tracePt t="15853" x="4035425" y="2138363"/>
          <p14:tracePt t="15853" x="4043363" y="2138363"/>
          <p14:tracePt t="15854" x="4051300" y="2138363"/>
          <p14:tracePt t="15855" x="4059238" y="2138363"/>
          <p14:tracePt t="15856" x="4064000" y="2138363"/>
          <p14:tracePt t="15858" x="4071938" y="2138363"/>
          <p14:tracePt t="15858" x="4079875" y="2138363"/>
          <p14:tracePt t="15859" x="4084638" y="2138363"/>
          <p14:tracePt t="15860" x="4092575" y="2133600"/>
          <p14:tracePt t="15861" x="4095750" y="2133600"/>
          <p14:tracePt t="15862" x="4103688" y="2133600"/>
          <p14:tracePt t="15863" x="4108450" y="2133600"/>
          <p14:tracePt t="15865" x="4111625" y="2133600"/>
          <p14:tracePt t="15866" x="4119563" y="2133600"/>
          <p14:tracePt t="15866" x="4124325" y="2133600"/>
          <p14:tracePt t="15868" x="4132263" y="2133600"/>
          <p14:tracePt t="15871" x="4135438" y="2130425"/>
          <p14:tracePt t="15873" x="4140200" y="2130425"/>
          <p14:tracePt t="15875" x="4148138" y="2130425"/>
          <p14:tracePt t="15886" x="4168775" y="2125663"/>
          <p14:tracePt t="15890" x="4171950" y="2125663"/>
          <p14:tracePt t="15957" x="4176713" y="2125663"/>
          <p14:tracePt t="15959" x="4179888" y="2125663"/>
          <p14:tracePt t="15961" x="4184650" y="2125663"/>
          <p14:tracePt t="15963" x="4187825" y="2125663"/>
          <p14:tracePt t="15964" x="4192588" y="2125663"/>
          <p14:tracePt t="15966" x="4195763" y="2125663"/>
          <p14:tracePt t="15966" x="4200525" y="2125663"/>
          <p14:tracePt t="15967" x="4203700" y="2125663"/>
          <p14:tracePt t="15969" x="4208463" y="2125663"/>
          <p14:tracePt t="15970" x="4211638" y="2125663"/>
          <p14:tracePt t="15970" x="4216400" y="2125663"/>
          <p14:tracePt t="15973" x="4219575" y="2125663"/>
          <p14:tracePt t="15974" x="4227513" y="2125663"/>
          <p14:tracePt t="15975" x="4235450" y="2125663"/>
          <p14:tracePt t="15976" x="4240213" y="2125663"/>
          <p14:tracePt t="15977" x="4243388" y="2125663"/>
          <p14:tracePt t="15978" x="4248150" y="2125663"/>
          <p14:tracePt t="15980" x="4252913" y="2125663"/>
          <p14:tracePt t="15980" x="4260850" y="2125663"/>
          <p14:tracePt t="15981" x="4264025" y="2125663"/>
          <p14:tracePt t="15983" x="4271963" y="2125663"/>
          <p14:tracePt t="15985" x="4276725" y="2125663"/>
          <p14:tracePt t="15986" x="4284663" y="2125663"/>
          <p14:tracePt t="15986" x="4287838" y="2125663"/>
          <p14:tracePt t="15988" x="4292600" y="2125663"/>
          <p14:tracePt t="15989" x="4295775" y="2125663"/>
          <p14:tracePt t="15990" x="4303713" y="2125663"/>
          <p14:tracePt t="15991" x="4308475" y="2125663"/>
          <p14:tracePt t="15992" x="4316413" y="2125663"/>
          <p14:tracePt t="15993" x="4319588" y="2125663"/>
          <p14:tracePt t="15993" x="4324350" y="2125663"/>
          <p14:tracePt t="15994" x="4332288" y="2125663"/>
          <p14:tracePt t="15995" x="4340225" y="2130425"/>
          <p14:tracePt t="15997" x="4344988" y="2130425"/>
          <p14:tracePt t="15997" x="4348163" y="2130425"/>
          <p14:tracePt t="15998" x="4352925" y="2130425"/>
          <p14:tracePt t="15999" x="4356100" y="2130425"/>
          <p14:tracePt t="16000" x="4360863" y="2130425"/>
          <p14:tracePt t="16002" x="4368800" y="2130425"/>
          <p14:tracePt t="16003" x="4371975" y="2130425"/>
          <p14:tracePt t="16004" x="4376738" y="2130425"/>
          <p14:tracePt t="16004" x="4384675" y="2130425"/>
          <p14:tracePt t="16006" x="4387850" y="2130425"/>
          <p14:tracePt t="16007" x="4395788" y="2130425"/>
          <p14:tracePt t="16008" x="4400550" y="2130425"/>
          <p14:tracePt t="16009" x="4403725" y="2130425"/>
          <p14:tracePt t="16009" x="4408488" y="2130425"/>
          <p14:tracePt t="16010" x="4411663" y="2130425"/>
          <p14:tracePt t="16011" x="4416425" y="2130425"/>
          <p14:tracePt t="16012" x="4419600" y="2130425"/>
          <p14:tracePt t="16014" x="4424363" y="2130425"/>
          <p14:tracePt t="16015" x="4432300" y="2130425"/>
          <p14:tracePt t="16015" x="4437063" y="2130425"/>
          <p14:tracePt t="16016" x="4440238" y="2130425"/>
          <p14:tracePt t="16017" x="4445000" y="2130425"/>
          <p14:tracePt t="16019" x="4452938" y="2130425"/>
          <p14:tracePt t="16020" x="4456113" y="2130425"/>
          <p14:tracePt t="16021" x="4460875" y="2130425"/>
          <p14:tracePt t="16022" x="4464050" y="2130425"/>
          <p14:tracePt t="16022" x="4464050" y="2133600"/>
          <p14:tracePt t="16024" x="4468813" y="2133600"/>
          <p14:tracePt t="16024" x="4471988" y="2133600"/>
          <p14:tracePt t="16025" x="4479925" y="2133600"/>
          <p14:tracePt t="16026" x="4484688" y="2133600"/>
          <p14:tracePt t="16030" x="4492625" y="2133600"/>
          <p14:tracePt t="16030" x="4500563" y="2133600"/>
          <p14:tracePt t="16031" x="4503738" y="2133600"/>
          <p14:tracePt t="16032" x="4508500" y="2133600"/>
          <p14:tracePt t="16033" x="4511675" y="2133600"/>
          <p14:tracePt t="16035" x="4516438" y="2133600"/>
          <p14:tracePt t="16037" x="4521200" y="2133600"/>
          <p14:tracePt t="16038" x="4524375" y="2133600"/>
          <p14:tracePt t="16038" x="4529138" y="2133600"/>
          <p14:tracePt t="16040" x="4532313" y="2133600"/>
          <p14:tracePt t="16041" x="4537075" y="2133600"/>
          <p14:tracePt t="16041" x="4540250" y="2133600"/>
          <p14:tracePt t="16042" x="4548188" y="2133600"/>
          <p14:tracePt t="16043" x="4552950" y="2133600"/>
          <p14:tracePt t="16044" x="4556125" y="2133600"/>
          <p14:tracePt t="16046" x="4560888" y="2133600"/>
          <p14:tracePt t="16047" x="4564063" y="2133600"/>
          <p14:tracePt t="16048" x="4568825" y="2133600"/>
          <p14:tracePt t="16049" x="4572000" y="2133600"/>
          <p14:tracePt t="16050" x="4576763" y="2133600"/>
          <p14:tracePt t="16052" x="4579938" y="2133600"/>
          <p14:tracePt t="16053" x="4587875" y="2133600"/>
          <p14:tracePt t="16053" x="4592638" y="2133600"/>
          <p14:tracePt t="16054" x="4595813" y="2133600"/>
          <p14:tracePt t="16055" x="4600575" y="2133600"/>
          <p14:tracePt t="16056" x="4603750" y="2133600"/>
          <p14:tracePt t="16057" x="4613275" y="2133600"/>
          <p14:tracePt t="16059" x="4616450" y="2133600"/>
          <p14:tracePt t="16060" x="4624388" y="2133600"/>
          <p14:tracePt t="16061" x="4629150" y="2133600"/>
          <p14:tracePt t="16062" x="4637088" y="2133600"/>
          <p14:tracePt t="16063" x="4640263" y="2133600"/>
          <p14:tracePt t="16064" x="4645025" y="2133600"/>
          <p14:tracePt t="16065" x="4652963" y="2133600"/>
          <p14:tracePt t="16066" x="4660900" y="2133600"/>
          <p14:tracePt t="16068" x="4668838" y="2133600"/>
          <p14:tracePt t="16069" x="4676775" y="2133600"/>
          <p14:tracePt t="16071" x="4684713" y="2133600"/>
          <p14:tracePt t="16071" x="4687888" y="2133600"/>
          <p14:tracePt t="16073" x="4697413" y="2133600"/>
          <p14:tracePt t="16074" x="4705350" y="2133600"/>
          <p14:tracePt t="16075" x="4713288" y="2133600"/>
          <p14:tracePt t="16077" x="4721225" y="2133600"/>
          <p14:tracePt t="16077" x="4732338" y="2133600"/>
          <p14:tracePt t="16079" x="4740275" y="2133600"/>
          <p14:tracePt t="16080" x="4756150" y="2133600"/>
          <p14:tracePt t="16081" x="4764088" y="2133600"/>
          <p14:tracePt t="16082" x="4772025" y="2133600"/>
          <p14:tracePt t="16083" x="4779963" y="2133600"/>
          <p14:tracePt t="16085" x="4789488" y="2133600"/>
          <p14:tracePt t="16085" x="4797425" y="2133600"/>
          <p14:tracePt t="16086" x="4805363" y="2133600"/>
          <p14:tracePt t="16087" x="4813300" y="2133600"/>
          <p14:tracePt t="16088" x="4829175" y="2133600"/>
          <p14:tracePt t="16089" x="4837113" y="2133600"/>
          <p14:tracePt t="16090" x="4848225" y="2133600"/>
          <p14:tracePt t="16091" x="4856163" y="2133600"/>
          <p14:tracePt t="16092" x="4864100" y="2133600"/>
          <p14:tracePt t="16093" x="4881563" y="2133600"/>
          <p14:tracePt t="16094" x="4889500" y="2133600"/>
          <p14:tracePt t="16095" x="4897438" y="2133600"/>
          <p14:tracePt t="16096" x="4916488" y="2130425"/>
          <p14:tracePt t="16097" x="4924425" y="2130425"/>
          <p14:tracePt t="16098" x="4937125" y="2130425"/>
          <p14:tracePt t="16099" x="4945063" y="2130425"/>
          <p14:tracePt t="16100" x="4964113" y="2130425"/>
          <p14:tracePt t="16102" x="4976813" y="2130425"/>
          <p14:tracePt t="16102" x="4984750" y="2125663"/>
          <p14:tracePt t="16103" x="5000625" y="2125663"/>
          <p14:tracePt t="16105" x="5013325" y="2125663"/>
          <p14:tracePt t="16106" x="5021263" y="2125663"/>
          <p14:tracePt t="16107" x="5040313" y="2125663"/>
          <p14:tracePt t="16108" x="5065713" y="2125663"/>
          <p14:tracePt t="16109" x="5076825" y="2125663"/>
          <p14:tracePt t="16110" x="5097463" y="2125663"/>
          <p14:tracePt t="16111" x="5108575" y="2122488"/>
          <p14:tracePt t="16112" x="5124450" y="2122488"/>
          <p14:tracePt t="16113" x="5132388" y="2122488"/>
          <p14:tracePt t="16114" x="5145088" y="2122488"/>
          <p14:tracePt t="16116" x="5160963" y="2122488"/>
          <p14:tracePt t="16116" x="5176838" y="2117725"/>
          <p14:tracePt t="16118" x="5205413" y="2117725"/>
          <p14:tracePt t="16119" x="5213350" y="2117725"/>
          <p14:tracePt t="16120" x="5232400" y="2117725"/>
          <p14:tracePt t="16121" x="5249863" y="2117725"/>
          <p14:tracePt t="16122" x="5257800" y="2117725"/>
          <p14:tracePt t="16124" x="5268913" y="2117725"/>
          <p14:tracePt t="16124" x="5281613" y="2117725"/>
          <p14:tracePt t="16125" x="5292725" y="2117725"/>
          <p14:tracePt t="16126" x="5308600" y="2117725"/>
          <p14:tracePt t="16127" x="5316538" y="2117725"/>
          <p14:tracePt t="16128" x="5334000" y="2114550"/>
          <p14:tracePt t="16129" x="5341938" y="2114550"/>
          <p14:tracePt t="16131" x="5360988" y="2114550"/>
          <p14:tracePt t="16131" x="5368925" y="2114550"/>
          <p14:tracePt t="16132" x="5381625" y="2114550"/>
          <p14:tracePt t="16133" x="5389563" y="2114550"/>
          <p14:tracePt t="16135" x="5405438" y="2114550"/>
          <p14:tracePt t="16136" x="5413375" y="2114550"/>
          <p14:tracePt t="16136" x="5426075" y="2114550"/>
          <p14:tracePt t="16137" x="5434013" y="2114550"/>
          <p14:tracePt t="16138" x="5441950" y="2109788"/>
          <p14:tracePt t="16140" x="5449888" y="2109788"/>
          <p14:tracePt t="16140" x="5457825" y="2109788"/>
          <p14:tracePt t="16141" x="5465763" y="2109788"/>
          <p14:tracePt t="16142" x="5481638" y="2109788"/>
          <p14:tracePt t="16143" x="5489575" y="2106613"/>
          <p14:tracePt t="16144" x="5492750" y="2106613"/>
          <p14:tracePt t="16145" x="5500688" y="2106613"/>
          <p14:tracePt t="16146" x="5513388" y="2106613"/>
          <p14:tracePt t="16147" x="5521325" y="2106613"/>
          <p14:tracePt t="16149" x="5529263" y="2106613"/>
          <p14:tracePt t="16149" x="5534025" y="2106613"/>
          <p14:tracePt t="16150" x="5541963" y="2106613"/>
          <p14:tracePt t="16152" x="5549900" y="2106613"/>
          <p14:tracePt t="16153" x="5557838" y="2106613"/>
          <p14:tracePt t="16153" x="5561013" y="2106613"/>
          <p14:tracePt t="16155" x="5568950" y="2106613"/>
          <p14:tracePt t="16155" x="5576888" y="2106613"/>
          <p14:tracePt t="16156" x="5584825" y="2106613"/>
          <p14:tracePt t="16157" x="5589588" y="2106613"/>
          <p14:tracePt t="16158" x="5597525" y="2106613"/>
          <p14:tracePt t="16159" x="5602288" y="2106613"/>
          <p14:tracePt t="16160" x="5605463" y="2106613"/>
          <p14:tracePt t="16161" x="5613400" y="2106613"/>
          <p14:tracePt t="16162" x="5618163" y="2106613"/>
          <p14:tracePt t="16163" x="5626100" y="2106613"/>
          <p14:tracePt t="16164" x="5629275" y="2106613"/>
          <p14:tracePt t="16165" x="5634038" y="2106613"/>
          <p14:tracePt t="16166" x="5637213" y="2106613"/>
          <p14:tracePt t="16167" x="5641975" y="2106613"/>
          <p14:tracePt t="16168" x="5649913" y="2106613"/>
          <p14:tracePt t="16170" x="5653088" y="2106613"/>
          <p14:tracePt t="16171" x="5657850" y="2106613"/>
          <p14:tracePt t="16172" x="5665788" y="2106613"/>
          <p14:tracePt t="16173" x="5668963" y="2106613"/>
          <p14:tracePt t="16174" x="5673725" y="2106613"/>
          <p14:tracePt t="16174" x="5676900" y="2106613"/>
          <p14:tracePt t="16176" x="5684838" y="2106613"/>
          <p14:tracePt t="16176" x="5689600" y="2106613"/>
          <p14:tracePt t="16178" x="5694363" y="2106613"/>
          <p14:tracePt t="16178" x="5702300" y="2106613"/>
          <p14:tracePt t="16181" x="5705475" y="2106613"/>
          <p14:tracePt t="16182" x="5710238" y="2106613"/>
          <p14:tracePt t="16182" x="5718175" y="2106613"/>
          <p14:tracePt t="16184" x="5721350" y="2106613"/>
          <p14:tracePt t="16185" x="5726113" y="2106613"/>
          <p14:tracePt t="16186" x="5729288" y="2106613"/>
          <p14:tracePt t="16187" x="5737225" y="2106613"/>
          <p14:tracePt t="16188" x="5741988" y="2106613"/>
          <p14:tracePt t="16188" x="5745163" y="2106613"/>
          <p14:tracePt t="16190" x="5749925" y="2106613"/>
          <p14:tracePt t="16191" x="5757863" y="2106613"/>
          <p14:tracePt t="16192" x="5761038" y="2106613"/>
          <p14:tracePt t="16193" x="5765800" y="2106613"/>
          <p14:tracePt t="16194" x="5768975" y="2106613"/>
          <p14:tracePt t="16196" x="5773738" y="2106613"/>
          <p14:tracePt t="16197" x="5781675" y="2106613"/>
          <p14:tracePt t="16197" x="5786438" y="2106613"/>
          <p14:tracePt t="16198" x="5789613" y="2106613"/>
          <p14:tracePt t="16199" x="5794375" y="2106613"/>
          <p14:tracePt t="16201" x="5797550" y="2106613"/>
          <p14:tracePt t="16202" x="5802313" y="2106613"/>
          <p14:tracePt t="16203" x="5805488" y="2106613"/>
          <p14:tracePt t="16205" x="5813425" y="2106613"/>
          <p14:tracePt t="16205" x="5818188" y="2106613"/>
          <p14:tracePt t="16207" x="5821363" y="2106613"/>
          <p14:tracePt t="16208" x="5826125" y="2106613"/>
          <p14:tracePt t="16208" x="5829300" y="2106613"/>
          <p14:tracePt t="16209" x="5834063" y="2106613"/>
          <p14:tracePt t="16210" x="5837238" y="2106613"/>
          <p14:tracePt t="16211" x="5842000" y="2106613"/>
          <p14:tracePt t="16212" x="5849938" y="2106613"/>
          <p14:tracePt t="16213" x="5853113" y="2106613"/>
          <p14:tracePt t="16216" x="5857875" y="2106613"/>
          <p14:tracePt t="16217" x="5865813" y="2106613"/>
          <p14:tracePt t="16219" x="5873750" y="2106613"/>
          <p14:tracePt t="16219" x="5878513" y="2106613"/>
          <p14:tracePt t="16220" x="5881688" y="2106613"/>
          <p14:tracePt t="16221" x="5889625" y="2106613"/>
          <p14:tracePt t="16222" x="5894388" y="2106613"/>
          <p14:tracePt t="16223" x="5897563" y="2106613"/>
          <p14:tracePt t="16224" x="5905500" y="2106613"/>
          <p14:tracePt t="16225" x="5910263" y="2106613"/>
          <p14:tracePt t="16226" x="5913438" y="2106613"/>
          <p14:tracePt t="16227" x="5918200" y="2106613"/>
          <p14:tracePt t="16228" x="5926138" y="2106613"/>
          <p14:tracePt t="16229" x="5929313" y="2101850"/>
          <p14:tracePt t="16230" x="5934075" y="2101850"/>
          <p14:tracePt t="16231" x="5942013" y="2101850"/>
          <p14:tracePt t="16233" x="5949950" y="2101850"/>
          <p14:tracePt t="16233" x="5953125" y="2101850"/>
          <p14:tracePt t="16235" x="5962650" y="2101850"/>
          <p14:tracePt t="16236" x="5965825" y="2101850"/>
          <p14:tracePt t="16236" x="5973763" y="2097088"/>
          <p14:tracePt t="16238" x="5978525" y="2097088"/>
          <p14:tracePt t="16238" x="5986463" y="2097088"/>
          <p14:tracePt t="16239" x="5994400" y="2097088"/>
          <p14:tracePt t="16240" x="5997575" y="2097088"/>
          <p14:tracePt t="16241" x="6005513" y="2097088"/>
          <p14:tracePt t="16243" x="6013450" y="2097088"/>
          <p14:tracePt t="16243" x="6021388" y="2097088"/>
          <p14:tracePt t="16244" x="6026150" y="2097088"/>
          <p14:tracePt t="16245" x="6034088" y="2097088"/>
          <p14:tracePt t="16246" x="6042025" y="2093913"/>
          <p14:tracePt t="16247" x="6045200" y="2093913"/>
          <p14:tracePt t="16249" x="6054725" y="2093913"/>
          <p14:tracePt t="16250" x="6062663" y="2089150"/>
          <p14:tracePt t="16252" x="6065838" y="2089150"/>
          <p14:tracePt t="16252" x="6073775" y="2089150"/>
          <p14:tracePt t="16253" x="6078538" y="2089150"/>
          <p14:tracePt t="16254" x="6086475" y="2085975"/>
          <p14:tracePt t="16255" x="6089650" y="2085975"/>
          <p14:tracePt t="16256" x="6097588" y="2085975"/>
          <p14:tracePt t="16257" x="6102350" y="2085975"/>
          <p14:tracePt t="16258" x="6110288" y="2085975"/>
          <p14:tracePt t="16259" x="6113463" y="2081213"/>
          <p14:tracePt t="16260" x="6118225" y="2081213"/>
          <p14:tracePt t="16261" x="6121400" y="2081213"/>
          <p14:tracePt t="16262" x="6129338" y="2081213"/>
          <p14:tracePt t="16264" x="6129338" y="2078038"/>
          <p14:tracePt t="16264" x="6134100" y="2078038"/>
          <p14:tracePt t="16265" x="6137275" y="2078038"/>
          <p14:tracePt t="16266" x="6146800" y="2078038"/>
          <p14:tracePt t="16268" x="6154738" y="2078038"/>
          <p14:tracePt t="16270" x="6157913" y="2078038"/>
          <p14:tracePt t="16270" x="6162675" y="2078038"/>
          <p14:tracePt t="16271" x="6165850" y="2078038"/>
          <p14:tracePt t="16273" x="6170613" y="2078038"/>
          <p14:tracePt t="16273" x="6173788" y="2078038"/>
          <p14:tracePt t="16275" x="6178550" y="2078038"/>
          <p14:tracePt t="16275" x="6178550" y="2073275"/>
          <p14:tracePt t="16276" x="6181725" y="2073275"/>
          <p14:tracePt t="16278" x="6186488" y="2073275"/>
          <p14:tracePt t="16280" x="6189663" y="2073275"/>
          <p14:tracePt t="16283" x="6194425" y="2073275"/>
          <p14:tracePt t="16285" x="6197600" y="2073275"/>
          <p14:tracePt t="16287" x="6197600" y="2070100"/>
          <p14:tracePt t="16288" x="6202363" y="2070100"/>
          <p14:tracePt t="16294" x="6205538" y="2070100"/>
          <p14:tracePt t="16374" x="6210300" y="2070100"/>
          <p14:tracePt t="16386" x="6213475" y="2070100"/>
          <p14:tracePt t="16417" x="6218238" y="2070100"/>
          <p14:tracePt t="16424" x="6226175" y="2073275"/>
          <p14:tracePt t="16427" x="6229350" y="2073275"/>
          <p14:tracePt t="16428" x="6234113" y="2073275"/>
          <p14:tracePt t="16430" x="6238875" y="2078038"/>
          <p14:tracePt t="16431" x="6242050" y="2078038"/>
          <p14:tracePt t="16433" x="6249988" y="2081213"/>
          <p14:tracePt t="16436" x="6257925" y="2081213"/>
          <p14:tracePt t="16440" x="6273800" y="2085975"/>
          <p14:tracePt t="16442" x="6281738" y="2085975"/>
          <p14:tracePt t="16444" x="6294438" y="2085975"/>
          <p14:tracePt t="16445" x="6302375" y="2085975"/>
          <p14:tracePt t="16445" x="6305550" y="2085975"/>
          <p14:tracePt t="16446" x="6310313" y="2085975"/>
          <p14:tracePt t="16448" x="6318250" y="2085975"/>
          <p14:tracePt t="16449" x="6326188" y="2093913"/>
          <p14:tracePt t="16450" x="6330950" y="2093913"/>
          <p14:tracePt t="16452" x="6342063" y="2093913"/>
          <p14:tracePt t="16454" x="6357938" y="2097088"/>
          <p14:tracePt t="16455" x="6370638" y="2097088"/>
          <p14:tracePt t="16457" x="6378575" y="2097088"/>
          <p14:tracePt t="16457" x="6386513" y="2097088"/>
          <p14:tracePt t="16458" x="6394450" y="2101850"/>
          <p14:tracePt t="16459" x="6402388" y="2101850"/>
          <p14:tracePt t="16460" x="6410325" y="2101850"/>
          <p14:tracePt t="16462" x="6418263" y="2101850"/>
          <p14:tracePt t="16462" x="6430963" y="2101850"/>
          <p14:tracePt t="16464" x="6442075" y="2101850"/>
          <p14:tracePt t="16464" x="6450013" y="2101850"/>
          <p14:tracePt t="16465" x="6457950" y="2101850"/>
          <p14:tracePt t="16466" x="6465888" y="2101850"/>
          <p14:tracePt t="16468" x="6473825" y="2101850"/>
          <p14:tracePt t="16469" x="6486525" y="2101850"/>
          <p14:tracePt t="16471" x="6510338" y="2101850"/>
          <p14:tracePt t="16472" x="6523038" y="2106613"/>
          <p14:tracePt t="16472" x="6538913" y="2106613"/>
          <p14:tracePt t="16473" x="6546850" y="2106613"/>
          <p14:tracePt t="16474" x="6557963" y="2106613"/>
          <p14:tracePt t="16475" x="6565900" y="2106613"/>
          <p14:tracePt t="16477" x="6578600" y="2106613"/>
          <p14:tracePt t="16477" x="6589713" y="2106613"/>
          <p14:tracePt t="16478" x="6607175" y="2106613"/>
          <p14:tracePt t="16479" x="6623050" y="2106613"/>
          <p14:tracePt t="16480" x="6630988" y="2106613"/>
          <p14:tracePt t="16481" x="6642100" y="2106613"/>
          <p14:tracePt t="16483" x="6662738" y="2106613"/>
          <p14:tracePt t="16483" x="6670675" y="2106613"/>
          <p14:tracePt t="16485" x="6681788" y="2106613"/>
          <p14:tracePt t="16486" x="6699250" y="2106613"/>
          <p14:tracePt t="16486" x="6707188" y="2106613"/>
          <p14:tracePt t="16487" x="6726238" y="2106613"/>
          <p14:tracePt t="16488" x="6738938" y="2106613"/>
          <p14:tracePt t="16490" x="6746875" y="2106613"/>
          <p14:tracePt t="16490" x="6762750" y="2106613"/>
          <p14:tracePt t="16491" x="6770688" y="2106613"/>
          <p14:tracePt t="16493" x="6791325" y="2106613"/>
          <p14:tracePt t="16493" x="6799263" y="2106613"/>
          <p14:tracePt t="16494" x="6807200" y="2106613"/>
          <p14:tracePt t="16495" x="6818313" y="2101850"/>
          <p14:tracePt t="16496" x="6826250" y="2101850"/>
          <p14:tracePt t="16497" x="6842125" y="2101850"/>
          <p14:tracePt t="16498" x="6854825" y="2101850"/>
          <p14:tracePt t="16499" x="6862763" y="2101850"/>
          <p14:tracePt t="16500" x="6870700" y="2097088"/>
          <p14:tracePt t="16502" x="6878638" y="2097088"/>
          <p14:tracePt t="16503" x="6894513" y="2097088"/>
          <p14:tracePt t="16503" x="6907213" y="2097088"/>
          <p14:tracePt t="16504" x="6915150" y="2089150"/>
          <p14:tracePt t="16505" x="6923088" y="2089150"/>
          <p14:tracePt t="16507" x="6931025" y="2089150"/>
          <p14:tracePt t="16507" x="6938963" y="2089150"/>
          <p14:tracePt t="16509" x="6954838" y="2089150"/>
          <p14:tracePt t="16509" x="6962775" y="2085975"/>
          <p14:tracePt t="16510" x="6967538" y="2085975"/>
          <p14:tracePt t="16511" x="6975475" y="2085975"/>
          <p14:tracePt t="16512" x="6983413" y="2085975"/>
          <p14:tracePt t="16514" x="6991350" y="2085975"/>
          <p14:tracePt t="16514" x="6999288" y="2081213"/>
          <p14:tracePt t="16515" x="7002463" y="2081213"/>
          <p14:tracePt t="16516" x="7010400" y="2081213"/>
          <p14:tracePt t="16517" x="7015163" y="2081213"/>
          <p14:tracePt t="16519" x="7023100" y="2081213"/>
          <p14:tracePt t="16520" x="7026275" y="2078038"/>
          <p14:tracePt t="16520" x="7031038" y="2078038"/>
          <p14:tracePt t="16521" x="7034213" y="2078038"/>
          <p14:tracePt t="16523" x="7042150" y="2078038"/>
          <p14:tracePt t="16525" x="7046913" y="2078038"/>
          <p14:tracePt t="16525" x="7051675" y="2073275"/>
          <p14:tracePt t="16526" x="7054850" y="2073275"/>
          <p14:tracePt t="16527" x="7059613" y="2073275"/>
          <p14:tracePt t="16528" x="7062788" y="2073275"/>
          <p14:tracePt t="16530" x="7067550" y="2073275"/>
          <p14:tracePt t="16532" x="7070725" y="2073275"/>
          <p14:tracePt t="16533" x="7075488" y="2073275"/>
          <p14:tracePt t="16537" x="7078663" y="2073275"/>
          <p14:tracePt t="16685" x="7078663" y="2070100"/>
          <p14:tracePt t="16710" x="7078663" y="2065338"/>
          <p14:tracePt t="16711" x="7083425" y="2065338"/>
          <p14:tracePt t="16748" x="7083425" y="2062163"/>
          <p14:tracePt t="16774" x="7083425" y="2057400"/>
          <p14:tracePt t="16779" x="7083425" y="2054225"/>
          <p14:tracePt t="16784" x="7083425" y="2049463"/>
          <p14:tracePt t="16789" x="7083425" y="2046288"/>
          <p14:tracePt t="16793" x="7083425" y="2041525"/>
          <p14:tracePt t="16796" x="7083425" y="2038350"/>
          <p14:tracePt t="16799" x="7078663" y="2033588"/>
          <p14:tracePt t="16803" x="7075488" y="2033588"/>
          <p14:tracePt t="16809" x="7075488" y="2030413"/>
          <p14:tracePt t="16811" x="7070725" y="2030413"/>
          <p14:tracePt t="16813" x="7070725" y="2025650"/>
          <p14:tracePt t="16820" x="7067550" y="2025650"/>
          <p14:tracePt t="16826" x="7067550" y="2022475"/>
          <p14:tracePt t="16837" x="7062788" y="2022475"/>
          <p14:tracePt t="17111" x="7062788" y="2017713"/>
          <p14:tracePt t="17130" x="7062788" y="2014538"/>
          <p14:tracePt t="17134" x="7062788" y="2009775"/>
          <p14:tracePt t="17136" x="7067550" y="2009775"/>
          <p14:tracePt t="17137" x="7067550" y="2005013"/>
          <p14:tracePt t="17142" x="7067550" y="2001838"/>
          <p14:tracePt t="17144" x="7067550" y="1997075"/>
          <p14:tracePt t="17147" x="7067550" y="1993900"/>
          <p14:tracePt t="17148" x="7070725" y="1993900"/>
          <p14:tracePt t="17158" x="7070725" y="1989138"/>
          <p14:tracePt t="17159" x="7075488" y="1989138"/>
          <p14:tracePt t="17161" x="7075488" y="1985963"/>
          <p14:tracePt t="17165" x="7075488" y="1981200"/>
          <p14:tracePt t="17171" x="7075488" y="1978025"/>
          <p14:tracePt t="17176" x="7075488" y="1973263"/>
          <p14:tracePt t="17181" x="7075488" y="1970088"/>
          <p14:tracePt t="17186" x="7075488" y="1965325"/>
          <p14:tracePt t="17189" x="7075488" y="1962150"/>
          <p14:tracePt t="17194" x="7075488" y="1957388"/>
          <p14:tracePt t="17199" x="7075488" y="1954213"/>
          <p14:tracePt t="17201" x="7070725" y="1954213"/>
          <p14:tracePt t="17213" x="7067550" y="1954213"/>
          <p14:tracePt t="17309" x="7067550" y="1957388"/>
          <p14:tracePt t="17317" x="7067550" y="1962150"/>
          <p14:tracePt t="17323" x="7067550" y="1965325"/>
          <p14:tracePt t="17333" x="7067550" y="1970088"/>
          <p14:tracePt t="17339" x="7067550" y="1973263"/>
          <p14:tracePt t="17392" x="7070725" y="1973263"/>
          <p14:tracePt t="17404" x="7075488" y="1973263"/>
          <p14:tracePt t="17414" x="7078663" y="1973263"/>
          <p14:tracePt t="17419" x="7083425" y="1973263"/>
          <p14:tracePt t="17424" x="7083425" y="1970088"/>
          <p14:tracePt t="17425" x="7086600" y="1970088"/>
          <p14:tracePt t="17427" x="7091363" y="1970088"/>
          <p14:tracePt t="17428" x="7094538" y="1970088"/>
          <p14:tracePt t="17430" x="7099300" y="1970088"/>
          <p14:tracePt t="17431" x="7102475" y="1970088"/>
          <p14:tracePt t="17433" x="7107238" y="1965325"/>
          <p14:tracePt t="17434" x="7110413" y="1965325"/>
          <p14:tracePt t="17436" x="7115175" y="1965325"/>
          <p14:tracePt t="17438" x="7123113" y="1965325"/>
          <p14:tracePt t="17439" x="7126288" y="1965325"/>
          <p14:tracePt t="17441" x="7131050" y="1965325"/>
          <p14:tracePt t="17441" x="7135813" y="1965325"/>
          <p14:tracePt t="17442" x="7143750" y="1965325"/>
          <p14:tracePt t="17443" x="7146925" y="1962150"/>
          <p14:tracePt t="17445" x="7151688" y="1962150"/>
          <p14:tracePt t="17445" x="7159625" y="1962150"/>
          <p14:tracePt t="17446" x="7162800" y="1962150"/>
          <p14:tracePt t="17447" x="7170738" y="1962150"/>
          <p14:tracePt t="17448" x="7178675" y="1962150"/>
          <p14:tracePt t="17449" x="7183438" y="1962150"/>
          <p14:tracePt t="17450" x="7191375" y="1962150"/>
          <p14:tracePt t="17452" x="7199313" y="1962150"/>
          <p14:tracePt t="17453" x="7202488" y="1962150"/>
          <p14:tracePt t="17453" x="7215188" y="1962150"/>
          <p14:tracePt t="17454" x="7223125" y="1962150"/>
          <p14:tracePt t="17456" x="7231063" y="1962150"/>
          <p14:tracePt t="17457" x="7239000" y="1962150"/>
          <p14:tracePt t="17457" x="7246938" y="1962150"/>
          <p14:tracePt t="17459" x="7259638" y="1962150"/>
          <p14:tracePt t="17459" x="7267575" y="1962150"/>
          <p14:tracePt t="17460" x="7275513" y="1962150"/>
          <p14:tracePt t="17461" x="7283450" y="1962150"/>
          <p14:tracePt t="17462" x="7291388" y="1962150"/>
          <p14:tracePt t="17463" x="7307263" y="1962150"/>
          <p14:tracePt t="17464" x="7319963" y="1962150"/>
          <p14:tracePt t="17465" x="7327900" y="1962150"/>
          <p14:tracePt t="17466" x="7335838" y="1962150"/>
          <p14:tracePt t="17467" x="7351713" y="1962150"/>
          <p14:tracePt t="17468" x="7362825" y="1962150"/>
          <p14:tracePt t="17469" x="7370763" y="1962150"/>
          <p14:tracePt t="17470" x="7378700" y="1962150"/>
          <p14:tracePt t="17472" x="7394575" y="1962150"/>
          <p14:tracePt t="17472" x="7402513" y="1962150"/>
          <p14:tracePt t="17474" x="7415213" y="1962150"/>
          <p14:tracePt t="17474" x="7431088" y="1962150"/>
          <p14:tracePt t="17475" x="7439025" y="1962150"/>
          <p14:tracePt t="17476" x="7446963" y="1962150"/>
          <p14:tracePt t="17477" x="7459663" y="1962150"/>
          <p14:tracePt t="17478" x="7475538" y="1962150"/>
          <p14:tracePt t="17479" x="7483475" y="1962150"/>
          <p14:tracePt t="17480" x="7494588" y="1962150"/>
          <p14:tracePt t="17481" x="7504113" y="1962150"/>
          <p14:tracePt t="17482" x="7512050" y="1962150"/>
          <p14:tracePt t="17484" x="7539038" y="1962150"/>
          <p14:tracePt t="17486" x="7546975" y="1962150"/>
          <p14:tracePt t="17486" x="7559675" y="1962150"/>
          <p14:tracePt t="17488" x="7567613" y="1962150"/>
          <p14:tracePt t="17489" x="7583488" y="1962150"/>
          <p14:tracePt t="17490" x="7591425" y="1962150"/>
          <p14:tracePt t="17491" x="7604125" y="1962150"/>
          <p14:tracePt t="17492" x="7612063" y="1962150"/>
          <p14:tracePt t="17493" x="7620000" y="1962150"/>
          <p14:tracePt t="17494" x="7631113" y="1962150"/>
          <p14:tracePt t="17495" x="7643813" y="1962150"/>
          <p14:tracePt t="17495" x="7654925" y="1962150"/>
          <p14:tracePt t="17497" x="7662863" y="1962150"/>
          <p14:tracePt t="17497" x="7670800" y="1962150"/>
          <p14:tracePt t="17498" x="7688263" y="1962150"/>
          <p14:tracePt t="17500" x="7696200" y="1962150"/>
          <p14:tracePt t="17500" x="7704138" y="1962150"/>
          <p14:tracePt t="17502" x="7712075" y="1962150"/>
          <p14:tracePt t="17502" x="7727950" y="1962150"/>
          <p14:tracePt t="17503" x="7735888" y="1962150"/>
          <p14:tracePt t="17505" x="7743825" y="1962150"/>
          <p14:tracePt t="17506" x="7751763" y="1962150"/>
          <p14:tracePt t="17507" x="7759700" y="1962150"/>
          <p14:tracePt t="17507" x="7767638" y="1962150"/>
          <p14:tracePt t="17508" x="7775575" y="1962150"/>
          <p14:tracePt t="17509" x="7783513" y="1965325"/>
          <p14:tracePt t="17510" x="7791450" y="1965325"/>
          <p14:tracePt t="17511" x="7799388" y="1965325"/>
          <p14:tracePt t="17512" x="7807325" y="1965325"/>
          <p14:tracePt t="17513" x="7812088" y="1965325"/>
          <p14:tracePt t="17514" x="7823200" y="1970088"/>
          <p14:tracePt t="17515" x="7827963" y="1970088"/>
          <p14:tracePt t="17516" x="7835900" y="1970088"/>
          <p14:tracePt t="17518" x="7839075" y="1973263"/>
          <p14:tracePt t="17519" x="7847013" y="1973263"/>
          <p14:tracePt t="17520" x="7854950" y="1973263"/>
          <p14:tracePt t="17520" x="7859713" y="1978025"/>
          <p14:tracePt t="17521" x="7867650" y="1978025"/>
          <p14:tracePt t="17523" x="7872413" y="1978025"/>
          <p14:tracePt t="17523" x="7880350" y="1981200"/>
          <p14:tracePt t="17524" x="7888288" y="1981200"/>
          <p14:tracePt t="17525" x="7896225" y="1981200"/>
          <p14:tracePt t="17526" x="7899400" y="1985963"/>
          <p14:tracePt t="17528" x="7907338" y="1985963"/>
          <p14:tracePt t="17528" x="7915275" y="1985963"/>
          <p14:tracePt t="17531" x="7923213" y="1989138"/>
          <p14:tracePt t="17532" x="7927975" y="1989138"/>
          <p14:tracePt t="17533" x="7931150" y="1989138"/>
          <p14:tracePt t="17533" x="7935913" y="1993900"/>
          <p14:tracePt t="17535" x="7943850" y="1993900"/>
          <p14:tracePt t="17536" x="7948613" y="1993900"/>
          <p14:tracePt t="17537" x="7951788" y="1993900"/>
          <p14:tracePt t="17538" x="7956550" y="1997075"/>
          <p14:tracePt t="17538" x="7964488" y="1997075"/>
          <p14:tracePt t="17540" x="7967663" y="1997075"/>
          <p14:tracePt t="17541" x="7975600" y="2001838"/>
          <p14:tracePt t="17541" x="7980363" y="2001838"/>
          <p14:tracePt t="17542" x="7983538" y="2001838"/>
          <p14:tracePt t="17545" x="7988300" y="2005013"/>
          <p14:tracePt t="17546" x="7996238" y="2009775"/>
          <p14:tracePt t="17548" x="7999413" y="2009775"/>
          <p14:tracePt t="17548" x="8004175" y="2009775"/>
          <p14:tracePt t="17549" x="8007350" y="2009775"/>
          <p14:tracePt t="17551" x="8007350" y="2014538"/>
          <p14:tracePt t="17552" x="8012113" y="2014538"/>
          <p14:tracePt t="17555" x="8015288" y="2014538"/>
          <p14:tracePt t="17557" x="8020050" y="2014538"/>
          <p14:tracePt t="17560" x="8023225" y="2014538"/>
          <p14:tracePt t="17598" x="8023225" y="2017713"/>
          <p14:tracePt t="17638" x="8023225" y="2022475"/>
          <p14:tracePt t="17648" x="8023225" y="2025650"/>
          <p14:tracePt t="17653" x="8023225" y="2030413"/>
          <p14:tracePt t="17658" x="8023225" y="2033588"/>
          <p14:tracePt t="17662" x="8023225" y="2038350"/>
          <p14:tracePt t="17670" x="8023225" y="2041525"/>
          <p14:tracePt t="17675" x="8023225" y="2046288"/>
          <p14:tracePt t="17681" x="8023225" y="2049463"/>
          <p14:tracePt t="17688" x="8023225" y="2054225"/>
          <p14:tracePt t="17694" x="8023225" y="2057400"/>
          <p14:tracePt t="17695" x="8020050" y="2057400"/>
          <p14:tracePt t="17697" x="8020050" y="2062163"/>
          <p14:tracePt t="17704" x="8020050" y="2065338"/>
          <p14:tracePt t="17707" x="8015288" y="2070100"/>
          <p14:tracePt t="17710" x="8015288" y="2073275"/>
          <p14:tracePt t="17713" x="8015288" y="2078038"/>
          <p14:tracePt t="17717" x="8012113" y="2081213"/>
          <p14:tracePt t="17718" x="8012113" y="2085975"/>
          <p14:tracePt t="17721" x="8007350" y="2089150"/>
          <p14:tracePt t="17723" x="8007350" y="2093913"/>
          <p14:tracePt t="17725" x="8004175" y="2097088"/>
          <p14:tracePt t="17726" x="8004175" y="2101850"/>
          <p14:tracePt t="17729" x="7999413" y="2101850"/>
          <p14:tracePt t="17730" x="7999413" y="2106613"/>
          <p14:tracePt t="17733" x="7996238" y="2109788"/>
          <p14:tracePt t="17735" x="7996238" y="2114550"/>
          <p14:tracePt t="17737" x="7991475" y="2117725"/>
          <p14:tracePt t="17739" x="7988300" y="2122488"/>
          <p14:tracePt t="17741" x="7988300" y="2125663"/>
          <p14:tracePt t="17741" x="7988300" y="2130425"/>
          <p14:tracePt t="17742" x="7983538" y="2130425"/>
          <p14:tracePt t="17743" x="7983538" y="2133600"/>
          <p14:tracePt t="17745" x="7980363" y="2138363"/>
          <p14:tracePt t="17747" x="7975600" y="2141538"/>
          <p14:tracePt t="17751" x="7972425" y="2146300"/>
          <p14:tracePt t="17752" x="7967663" y="2146300"/>
          <p14:tracePt t="17754" x="7967663" y="2149475"/>
          <p14:tracePt t="17754" x="7964488" y="2149475"/>
          <p14:tracePt t="17755" x="7964488" y="2154238"/>
          <p14:tracePt t="17757" x="7959725" y="2154238"/>
          <p14:tracePt t="17757" x="7959725" y="2157413"/>
          <p14:tracePt t="17758" x="7956550" y="2157413"/>
          <p14:tracePt t="17760" x="7951788" y="2162175"/>
          <p14:tracePt t="17762" x="7948613" y="2165350"/>
          <p14:tracePt t="17764" x="7943850" y="2165350"/>
          <p14:tracePt t="17765" x="7939088" y="2170113"/>
          <p14:tracePt t="17768" x="7935913" y="2170113"/>
          <p14:tracePt t="17769" x="7931150" y="2173288"/>
          <p14:tracePt t="17771" x="7927975" y="2178050"/>
          <p14:tracePt t="17772" x="7923213" y="2178050"/>
          <p14:tracePt t="17774" x="7920038" y="2178050"/>
          <p14:tracePt t="17775" x="7915275" y="2181225"/>
          <p14:tracePt t="17775" x="7912100" y="2181225"/>
          <p14:tracePt t="17776" x="7907338" y="2181225"/>
          <p14:tracePt t="17779" x="7904163" y="2181225"/>
          <p14:tracePt t="17781" x="7896225" y="2181225"/>
          <p14:tracePt t="17782" x="7891463" y="2185988"/>
          <p14:tracePt t="17783" x="7888288" y="2185988"/>
          <p14:tracePt t="17784" x="7883525" y="2185988"/>
          <p14:tracePt t="17785" x="7880350" y="2189163"/>
          <p14:tracePt t="17786" x="7875588" y="2189163"/>
          <p14:tracePt t="17788" x="7867650" y="2193925"/>
          <p14:tracePt t="17788" x="7864475" y="2193925"/>
          <p14:tracePt t="17790" x="7854950" y="2198688"/>
          <p14:tracePt t="17791" x="7851775" y="2198688"/>
          <p14:tracePt t="17792" x="7847013" y="2198688"/>
          <p14:tracePt t="17793" x="7843838" y="2201863"/>
          <p14:tracePt t="17794" x="7839075" y="2201863"/>
          <p14:tracePt t="17795" x="7831138" y="2201863"/>
          <p14:tracePt t="17796" x="7823200" y="2206625"/>
          <p14:tracePt t="17797" x="7820025" y="2206625"/>
          <p14:tracePt t="17798" x="7815263" y="2206625"/>
          <p14:tracePt t="17799" x="7812088" y="2209800"/>
          <p14:tracePt t="17800" x="7804150" y="2209800"/>
          <p14:tracePt t="17802" x="7799388" y="2209800"/>
          <p14:tracePt t="17803" x="7791450" y="2214563"/>
          <p14:tracePt t="17804" x="7788275" y="2214563"/>
          <p14:tracePt t="17805" x="7783513" y="2214563"/>
          <p14:tracePt t="17805" x="7775575" y="2217738"/>
          <p14:tracePt t="17807" x="7767638" y="2217738"/>
          <p14:tracePt t="17807" x="7762875" y="2217738"/>
          <p14:tracePt t="17808" x="7759700" y="2217738"/>
          <p14:tracePt t="17809" x="7751763" y="2222500"/>
          <p14:tracePt t="17810" x="7743825" y="2222500"/>
          <p14:tracePt t="17812" x="7735888" y="2222500"/>
          <p14:tracePt t="17813" x="7731125" y="2225675"/>
          <p14:tracePt t="17814" x="7727950" y="2225675"/>
          <p14:tracePt t="17815" x="7720013" y="2225675"/>
          <p14:tracePt t="17816" x="7712075" y="2230438"/>
          <p14:tracePt t="17817" x="7707313" y="2230438"/>
          <p14:tracePt t="17818" x="7699375" y="2230438"/>
          <p14:tracePt t="17821" x="7688263" y="2233613"/>
          <p14:tracePt t="17822" x="7680325" y="2233613"/>
          <p14:tracePt t="17823" x="7670800" y="2233613"/>
          <p14:tracePt t="17824" x="7667625" y="2233613"/>
          <p14:tracePt t="17825" x="7662863" y="2233613"/>
          <p14:tracePt t="17826" x="7646988" y="2238375"/>
          <p14:tracePt t="17827" x="7643813" y="2238375"/>
          <p14:tracePt t="17828" x="7639050" y="2238375"/>
          <p14:tracePt t="17830" x="7635875" y="2241550"/>
          <p14:tracePt t="17830" x="7627938" y="2241550"/>
          <p14:tracePt t="17831" x="7623175" y="2241550"/>
          <p14:tracePt t="17832" x="7615238" y="2241550"/>
          <p14:tracePt t="17833" x="7615238" y="2246313"/>
          <p14:tracePt t="17835" x="7612063" y="2246313"/>
          <p14:tracePt t="17836" x="7607300" y="2246313"/>
          <p14:tracePt t="17837" x="7599363" y="2246313"/>
          <p14:tracePt t="17838" x="7596188" y="2246313"/>
          <p14:tracePt t="17839" x="7591425" y="2246313"/>
          <p14:tracePt t="17839" x="7588250" y="2246313"/>
          <p14:tracePt t="17841" x="7583488" y="2249488"/>
          <p14:tracePt t="17842" x="7578725" y="2249488"/>
          <p14:tracePt t="17842" x="7575550" y="2249488"/>
          <p14:tracePt t="17844" x="7570788" y="2249488"/>
          <p14:tracePt t="17845" x="7567613" y="2249488"/>
          <p14:tracePt t="17848" x="7562850" y="2249488"/>
          <p14:tracePt t="17848" x="7559675" y="2249488"/>
          <p14:tracePt t="17850" x="7551738" y="2254250"/>
          <p14:tracePt t="17852" x="7546975" y="2254250"/>
          <p14:tracePt t="17854" x="7543800" y="2254250"/>
          <p14:tracePt t="17855" x="7539038" y="2254250"/>
          <p14:tracePt t="17855" x="7535863" y="2254250"/>
          <p14:tracePt t="17857" x="7531100" y="2254250"/>
          <p14:tracePt t="17858" x="7527925" y="2254250"/>
          <p14:tracePt t="17859" x="7523163" y="2254250"/>
          <p14:tracePt t="17860" x="7519988" y="2254250"/>
          <p14:tracePt t="17863" x="7515225" y="2254250"/>
          <p14:tracePt t="17865" x="7512050" y="2254250"/>
          <p14:tracePt t="17866" x="7507288" y="2254250"/>
          <p14:tracePt t="17867" x="7504113" y="2254250"/>
          <p14:tracePt t="17870" x="7499350" y="2254250"/>
          <p14:tracePt t="17871" x="7494588" y="2254250"/>
          <p14:tracePt t="17873" x="7491413" y="2254250"/>
          <p14:tracePt t="17875" x="7486650" y="2254250"/>
          <p14:tracePt t="17877" x="7483475" y="2254250"/>
          <p14:tracePt t="17886" x="7470775" y="2254250"/>
          <p14:tracePt t="17888" x="7467600" y="2254250"/>
          <p14:tracePt t="17891" x="7462838" y="2254250"/>
          <p14:tracePt t="17892" x="7459663" y="2254250"/>
          <p14:tracePt t="17896" x="7454900" y="2254250"/>
          <p14:tracePt t="17897" x="7451725" y="2254250"/>
          <p14:tracePt t="17899" x="7446963" y="2254250"/>
          <p14:tracePt t="17902" x="7443788" y="2254250"/>
          <p14:tracePt t="17905" x="7439025" y="2254250"/>
          <p14:tracePt t="17907" x="7435850" y="2254250"/>
          <p14:tracePt t="17909" x="7431088" y="2254250"/>
          <p14:tracePt t="17912" x="7427913" y="2254250"/>
          <p14:tracePt t="17915" x="7423150" y="2254250"/>
          <p14:tracePt t="17917" x="7419975" y="2254250"/>
          <p14:tracePt t="17920" x="7415213" y="2254250"/>
          <p14:tracePt t="17921" x="7412038" y="2254250"/>
          <p14:tracePt t="17922" x="7407275" y="2254250"/>
          <p14:tracePt t="17924" x="7402513" y="2254250"/>
          <p14:tracePt t="17927" x="7399338" y="2254250"/>
          <p14:tracePt t="17928" x="7399338" y="2249488"/>
          <p14:tracePt t="17930" x="7394575" y="2249488"/>
          <p14:tracePt t="17932" x="7391400" y="2249488"/>
          <p14:tracePt t="17935" x="7386638" y="2249488"/>
          <p14:tracePt t="17937" x="7383463" y="2249488"/>
          <p14:tracePt t="17937" x="7378700" y="2249488"/>
          <p14:tracePt t="17940" x="7375525" y="2249488"/>
          <p14:tracePt t="17942" x="7370763" y="2249488"/>
          <p14:tracePt t="17944" x="7367588" y="2246313"/>
          <p14:tracePt t="17945" x="7362825" y="2246313"/>
          <p14:tracePt t="17947" x="7359650" y="2246313"/>
          <p14:tracePt t="17952" x="7354888" y="2246313"/>
          <p14:tracePt t="17954" x="7351713" y="2246313"/>
          <p14:tracePt t="17957" x="7346950" y="2246313"/>
          <p14:tracePt t="17959" x="7343775" y="2241550"/>
          <p14:tracePt t="17962" x="7339013" y="2241550"/>
          <p14:tracePt t="17965" x="7335838" y="2241550"/>
          <p14:tracePt t="17969" x="7331075" y="2241550"/>
          <p14:tracePt t="17973" x="7327900" y="2241550"/>
          <p14:tracePt t="17979" x="7323138" y="2241550"/>
          <p14:tracePt t="18080" x="7327900" y="2241550"/>
          <p14:tracePt t="18082" x="7331075" y="2241550"/>
          <p14:tracePt t="18086" x="7335838" y="2241550"/>
          <p14:tracePt t="18089" x="7339013" y="2241550"/>
          <p14:tracePt t="18090" x="7343775" y="2241550"/>
          <p14:tracePt t="18093" x="7346950" y="2246313"/>
          <p14:tracePt t="18094" x="7351713" y="2246313"/>
          <p14:tracePt t="18095" x="7354888" y="2246313"/>
          <p14:tracePt t="18099" x="7359650" y="2246313"/>
          <p14:tracePt t="18101" x="7362825" y="2246313"/>
          <p14:tracePt t="18102" x="7367588" y="2249488"/>
          <p14:tracePt t="18104" x="7370763" y="2249488"/>
          <p14:tracePt t="18106" x="7375525" y="2249488"/>
          <p14:tracePt t="18107" x="7378700" y="2249488"/>
          <p14:tracePt t="18108" x="7386638" y="2249488"/>
          <p14:tracePt t="18110" x="7391400" y="2249488"/>
          <p14:tracePt t="18112" x="7394575" y="2249488"/>
          <p14:tracePt t="18114" x="7399338" y="2254250"/>
          <p14:tracePt t="18116" x="7402513" y="2254250"/>
          <p14:tracePt t="18117" x="7407275" y="2254250"/>
          <p14:tracePt t="18120" x="7412038" y="2254250"/>
          <p14:tracePt t="18121" x="7415213" y="2254250"/>
          <p14:tracePt t="18123" x="7419975" y="2254250"/>
          <p14:tracePt t="18124" x="7423150" y="2254250"/>
          <p14:tracePt t="18125" x="7427913" y="2254250"/>
          <p14:tracePt t="18126" x="7431088" y="2254250"/>
          <p14:tracePt t="18127" x="7435850" y="2254250"/>
          <p14:tracePt t="18131" x="7439025" y="2254250"/>
          <p14:tracePt t="18133" x="7443788" y="2254250"/>
          <p14:tracePt t="18134" x="7446963" y="2254250"/>
          <p14:tracePt t="18135" x="7451725" y="2254250"/>
          <p14:tracePt t="18137" x="7454900" y="2254250"/>
          <p14:tracePt t="18137" x="7459663" y="2254250"/>
          <p14:tracePt t="18140" x="7462838" y="2254250"/>
          <p14:tracePt t="18143" x="7467600" y="2254250"/>
          <p14:tracePt t="18144" x="7470775" y="2254250"/>
          <p14:tracePt t="18145" x="7475538" y="2254250"/>
          <p14:tracePt t="18151" x="7478713" y="2254250"/>
          <p14:tracePt t="18156" x="7483475" y="2254250"/>
          <p14:tracePt t="18163" x="7486650" y="2254250"/>
          <p14:tracePt t="18173" x="7491413" y="2254250"/>
          <p14:tracePt t="18177" x="7494588" y="2254250"/>
          <p14:tracePt t="18183" x="7499350" y="2254250"/>
          <p14:tracePt t="18187" x="7504113" y="2254250"/>
          <p14:tracePt t="18190" x="7507288" y="2254250"/>
          <p14:tracePt t="18193" x="7512050" y="2254250"/>
          <p14:tracePt t="18196" x="7515225" y="2254250"/>
          <p14:tracePt t="18202" x="7519988" y="2254250"/>
          <p14:tracePt t="18205" x="7523163" y="2254250"/>
          <p14:tracePt t="18206" x="7523163" y="2249488"/>
          <p14:tracePt t="18207" x="7527925" y="2249488"/>
          <p14:tracePt t="18209" x="7531100" y="2249488"/>
          <p14:tracePt t="18211" x="7535863" y="2249488"/>
          <p14:tracePt t="18214" x="7539038" y="2249488"/>
          <p14:tracePt t="18216" x="7543800" y="2249488"/>
          <p14:tracePt t="18217" x="7546975" y="2246313"/>
          <p14:tracePt t="18218" x="7551738" y="2246313"/>
          <p14:tracePt t="18222" x="7554913" y="2246313"/>
          <p14:tracePt t="18225" x="7559675" y="2246313"/>
          <p14:tracePt t="18227" x="7562850" y="2246313"/>
          <p14:tracePt t="18229" x="7567613" y="2246313"/>
          <p14:tracePt t="18232" x="7570788" y="2241550"/>
          <p14:tracePt t="18234" x="7575550" y="2241550"/>
          <p14:tracePt t="18235" x="7578725" y="2241550"/>
          <p14:tracePt t="18237" x="7583488" y="2241550"/>
          <p14:tracePt t="18239" x="7583488" y="2238375"/>
          <p14:tracePt t="18239" x="7588250" y="2238375"/>
          <p14:tracePt t="18242" x="7591425" y="2238375"/>
          <p14:tracePt t="18245" x="7596188" y="2238375"/>
          <p14:tracePt t="18249" x="7599363" y="2233613"/>
          <p14:tracePt t="18251" x="7604125" y="2233613"/>
          <p14:tracePt t="18253" x="7607300" y="2233613"/>
          <p14:tracePt t="18256" x="7612063" y="2233613"/>
          <p14:tracePt t="18257" x="7615238" y="2233613"/>
          <p14:tracePt t="18259" x="7615238" y="2230438"/>
          <p14:tracePt t="18259" x="7620000" y="2230438"/>
          <p14:tracePt t="18261" x="7623175" y="2230438"/>
          <p14:tracePt t="18264" x="7627938" y="2230438"/>
          <p14:tracePt t="18265" x="7631113" y="2230438"/>
          <p14:tracePt t="18267" x="7635875" y="2230438"/>
          <p14:tracePt t="18270" x="7639050" y="2230438"/>
          <p14:tracePt t="18271" x="7643813" y="2230438"/>
          <p14:tracePt t="18273" x="7646988" y="2230438"/>
          <p14:tracePt t="18274" x="7651750" y="2225675"/>
          <p14:tracePt t="18275" x="7654925" y="2225675"/>
          <p14:tracePt t="18275" x="7659688" y="2225675"/>
          <p14:tracePt t="18278" x="7662863" y="2225675"/>
          <p14:tracePt t="18279" x="7667625" y="2225675"/>
          <p14:tracePt t="18280" x="7670800" y="2225675"/>
          <p14:tracePt t="18280" x="7675563" y="2225675"/>
          <p14:tracePt t="18282" x="7680325" y="2222500"/>
          <p14:tracePt t="18284" x="7688263" y="2222500"/>
          <p14:tracePt t="18285" x="7691438" y="2222500"/>
          <p14:tracePt t="18286" x="7696200" y="2222500"/>
          <p14:tracePt t="18287" x="7699375" y="2222500"/>
          <p14:tracePt t="18288" x="7704138" y="2222500"/>
          <p14:tracePt t="18288" x="7712075" y="2222500"/>
          <p14:tracePt t="18290" x="7715250" y="2222500"/>
          <p14:tracePt t="18290" x="7720013" y="2217738"/>
          <p14:tracePt t="18291" x="7723188" y="2217738"/>
          <p14:tracePt t="18292" x="7731125" y="2217738"/>
          <p14:tracePt t="18293" x="7735888" y="2217738"/>
          <p14:tracePt t="18295" x="7743825" y="2217738"/>
          <p14:tracePt t="18296" x="7751763" y="2217738"/>
          <p14:tracePt t="18298" x="7754938" y="2217738"/>
          <p14:tracePt t="18298" x="7762875" y="2217738"/>
          <p14:tracePt t="18300" x="7767638" y="2217738"/>
          <p14:tracePt t="18300" x="7775575" y="2214563"/>
          <p14:tracePt t="18302" x="7780338" y="2214563"/>
          <p14:tracePt t="18303" x="7788275" y="2214563"/>
          <p14:tracePt t="18304" x="7791450" y="2214563"/>
          <p14:tracePt t="18304" x="7799388" y="2214563"/>
          <p14:tracePt t="18305" x="7807325" y="2214563"/>
          <p14:tracePt t="18306" x="7815263" y="2214563"/>
          <p14:tracePt t="18307" x="7820025" y="2214563"/>
          <p14:tracePt t="18308" x="7831138" y="2209800"/>
          <p14:tracePt t="18309" x="7835900" y="2209800"/>
          <p14:tracePt t="18310" x="7843838" y="2209800"/>
          <p14:tracePt t="18312" x="7847013" y="2209800"/>
          <p14:tracePt t="18312" x="7854950" y="2209800"/>
          <p14:tracePt t="18313" x="7864475" y="2209800"/>
          <p14:tracePt t="18315" x="7872413" y="2209800"/>
          <p14:tracePt t="18315" x="7875588" y="2209800"/>
          <p14:tracePt t="18316" x="7883525" y="2206625"/>
          <p14:tracePt t="18318" x="7891463" y="2206625"/>
          <p14:tracePt t="18320" x="7899400" y="2206625"/>
          <p14:tracePt t="18321" x="7907338" y="2206625"/>
          <p14:tracePt t="18322" x="7912100" y="2206625"/>
          <p14:tracePt t="18323" x="7920038" y="2206625"/>
          <p14:tracePt t="18323" x="7931150" y="2201863"/>
          <p14:tracePt t="18325" x="7939088" y="2201863"/>
          <p14:tracePt t="18327" x="7956550" y="2201863"/>
          <p14:tracePt t="18329" x="7959725" y="2201863"/>
          <p14:tracePt t="18329" x="7967663" y="2198688"/>
          <p14:tracePt t="18330" x="7975600" y="2198688"/>
          <p14:tracePt t="18331" x="7983538" y="2198688"/>
          <p14:tracePt t="18332" x="7988300" y="2198688"/>
          <p14:tracePt t="18333" x="7996238" y="2198688"/>
          <p14:tracePt t="18335" x="8012113" y="2198688"/>
          <p14:tracePt t="18336" x="8015288" y="2193925"/>
          <p14:tracePt t="18338" x="8023225" y="2193925"/>
          <p14:tracePt t="18338" x="8031163" y="2193925"/>
          <p14:tracePt t="18339" x="8040688" y="2193925"/>
          <p14:tracePt t="18340" x="8043863" y="2193925"/>
          <p14:tracePt t="18341" x="8051800" y="2193925"/>
          <p14:tracePt t="18342" x="8059738" y="2189163"/>
          <p14:tracePt t="18343" x="8064500" y="2189163"/>
          <p14:tracePt t="18344" x="8075613" y="2189163"/>
          <p14:tracePt t="18345" x="8080375" y="2189163"/>
          <p14:tracePt t="18346" x="8088313" y="2189163"/>
          <p14:tracePt t="18347" x="8091488" y="2189163"/>
          <p14:tracePt t="18348" x="8099425" y="2185988"/>
          <p14:tracePt t="18349" x="8107363" y="2185988"/>
          <p14:tracePt t="18350" x="8115300" y="2185988"/>
          <p14:tracePt t="18352" x="8123238" y="2185988"/>
          <p14:tracePt t="18353" x="8128000" y="2185988"/>
          <p14:tracePt t="18353" x="8135938" y="2185988"/>
          <p14:tracePt t="18354" x="8143875" y="2181225"/>
          <p14:tracePt t="18355" x="8151813" y="2181225"/>
          <p14:tracePt t="18356" x="8156575" y="2181225"/>
          <p14:tracePt t="18357" x="8164513" y="2181225"/>
          <p14:tracePt t="18358" x="8167688" y="2178050"/>
          <p14:tracePt t="18360" x="8175625" y="2178050"/>
          <p14:tracePt t="18360" x="8180388" y="2178050"/>
          <p14:tracePt t="18362" x="8188325" y="2178050"/>
          <p14:tracePt t="18362" x="8191500" y="2178050"/>
          <p14:tracePt t="18364" x="8199438" y="2173288"/>
          <p14:tracePt t="18365" x="8204200" y="2173288"/>
          <p14:tracePt t="18366" x="8207375" y="2173288"/>
          <p14:tracePt t="18366" x="8215313" y="2173288"/>
          <p14:tracePt t="18368" x="8220075" y="2170113"/>
          <p14:tracePt t="18369" x="8228013" y="2170113"/>
          <p14:tracePt t="18370" x="8232775" y="2170113"/>
          <p14:tracePt t="18371" x="8235950" y="2170113"/>
          <p14:tracePt t="18373" x="8243888" y="2170113"/>
          <p14:tracePt t="18374" x="8248650" y="2170113"/>
          <p14:tracePt t="18374" x="8251825" y="2170113"/>
          <p14:tracePt t="18375" x="8256588" y="2165350"/>
          <p14:tracePt t="18376" x="8259763" y="2165350"/>
          <p14:tracePt t="18379" x="8264525" y="2165350"/>
          <p14:tracePt t="18379" x="8267700" y="2162175"/>
          <p14:tracePt t="18381" x="8272463" y="2162175"/>
          <p14:tracePt t="18383" x="8275638" y="2162175"/>
          <p14:tracePt t="18385" x="8280400" y="2157413"/>
          <p14:tracePt t="18387" x="8283575" y="2157413"/>
          <p14:tracePt t="18389" x="8288338" y="2157413"/>
          <p14:tracePt t="18392" x="8291513" y="2157413"/>
          <p14:tracePt t="18394" x="8291513" y="2154238"/>
          <p14:tracePt t="18396" x="8296275" y="2154238"/>
          <p14:tracePt t="18399" x="8299450" y="2154238"/>
          <p14:tracePt t="18401" x="8304213" y="2154238"/>
          <p14:tracePt t="18402" x="8304213" y="2149475"/>
          <p14:tracePt t="18404" x="8307388" y="2149475"/>
          <p14:tracePt t="18411" x="8312150" y="2149475"/>
          <p14:tracePt t="18415" x="8316913" y="2149475"/>
          <p14:tracePt t="18417" x="8320088" y="2146300"/>
          <p14:tracePt t="18420" x="8324850" y="2146300"/>
          <p14:tracePt t="18422" x="8328025" y="2146300"/>
          <p14:tracePt t="18424" x="8332788" y="2146300"/>
          <p14:tracePt t="18425" x="8335963" y="2146300"/>
          <p14:tracePt t="18428" x="8340725" y="2146300"/>
          <p14:tracePt t="18429" x="8340725" y="2141538"/>
          <p14:tracePt t="18430" x="8343900" y="2141538"/>
          <p14:tracePt t="18431" x="8348663" y="2141538"/>
          <p14:tracePt t="18433" x="8351838" y="2141538"/>
          <p14:tracePt t="18435" x="8356600" y="2141538"/>
          <p14:tracePt t="18436" x="8359775" y="2141538"/>
          <p14:tracePt t="18439" x="8364538" y="2141538"/>
          <p14:tracePt t="18441" x="8367713" y="2138363"/>
          <p14:tracePt t="18441" x="8372475" y="2138363"/>
          <p14:tracePt t="18442" x="8375650" y="2138363"/>
          <p14:tracePt t="18445" x="8380413" y="2138363"/>
          <p14:tracePt t="18446" x="8383588" y="2138363"/>
          <p14:tracePt t="18448" x="8388350" y="2138363"/>
          <p14:tracePt t="18449" x="8391525" y="2138363"/>
          <p14:tracePt t="18451" x="8396288" y="2138363"/>
          <p14:tracePt t="18452" x="8401050" y="2138363"/>
          <p14:tracePt t="18453" x="8404225" y="2138363"/>
          <p14:tracePt t="18455" x="8408988" y="2138363"/>
          <p14:tracePt t="18455" x="8412163" y="2133600"/>
          <p14:tracePt t="18457" x="8416925" y="2133600"/>
          <p14:tracePt t="18458" x="8420100" y="2133600"/>
          <p14:tracePt t="18460" x="8424863" y="2133600"/>
          <p14:tracePt t="18460" x="8428038" y="2133600"/>
          <p14:tracePt t="18464" x="8432800" y="2133600"/>
          <p14:tracePt t="18464" x="8435975" y="2133600"/>
          <p14:tracePt t="18465" x="8440738" y="2133600"/>
          <p14:tracePt t="18467" x="8443913" y="2133600"/>
          <p14:tracePt t="18470" x="8448675" y="2133600"/>
          <p14:tracePt t="18470" x="8451850" y="2133600"/>
          <p14:tracePt t="18473" x="8456613" y="2133600"/>
          <p14:tracePt t="18475" x="8459788" y="2133600"/>
          <p14:tracePt t="18477" x="8464550" y="2133600"/>
          <p14:tracePt t="18480" x="8464550" y="2130425"/>
          <p14:tracePt t="18481" x="8467725" y="2130425"/>
          <p14:tracePt t="18527" x="8464550" y="2130425"/>
          <p14:tracePt t="18530" x="8459788" y="2130425"/>
          <p14:tracePt t="18531" x="8456613" y="2130425"/>
          <p14:tracePt t="18532" x="8451850" y="2130425"/>
          <p14:tracePt t="18534" x="8448675" y="2130425"/>
          <p14:tracePt t="18535" x="8443913" y="2130425"/>
          <p14:tracePt t="18536" x="8440738" y="2130425"/>
          <p14:tracePt t="18536" x="8435975" y="2130425"/>
          <p14:tracePt t="18537" x="8428038" y="2133600"/>
          <p14:tracePt t="18538" x="8424863" y="2133600"/>
          <p14:tracePt t="18540" x="8416925" y="2133600"/>
          <p14:tracePt t="18541" x="8412163" y="2138363"/>
          <p14:tracePt t="18542" x="8404225" y="2138363"/>
          <p14:tracePt t="18543" x="8401050" y="2138363"/>
          <p14:tracePt t="18544" x="8391525" y="2138363"/>
          <p14:tracePt t="18545" x="8383588" y="2141538"/>
          <p14:tracePt t="18547" x="8375650" y="2141538"/>
          <p14:tracePt t="18548" x="8372475" y="2141538"/>
          <p14:tracePt t="18549" x="8364538" y="2141538"/>
          <p14:tracePt t="18549" x="8356600" y="2141538"/>
          <p14:tracePt t="18550" x="8340725" y="2146300"/>
          <p14:tracePt t="18552" x="8332788" y="2146300"/>
          <p14:tracePt t="18553" x="8320088" y="2146300"/>
          <p14:tracePt t="18553" x="8312150" y="2146300"/>
          <p14:tracePt t="18554" x="8304213" y="2149475"/>
          <p14:tracePt t="18555" x="8288338" y="2149475"/>
          <p14:tracePt t="18556" x="8275638" y="2149475"/>
          <p14:tracePt t="18557" x="8267700" y="2154238"/>
          <p14:tracePt t="18558" x="8251825" y="2154238"/>
          <p14:tracePt t="18559" x="8240713" y="2154238"/>
          <p14:tracePt t="18560" x="8224838" y="2154238"/>
          <p14:tracePt t="18561" x="8212138" y="2154238"/>
          <p14:tracePt t="18562" x="8196263" y="2157413"/>
          <p14:tracePt t="18563" x="8183563" y="2157413"/>
          <p14:tracePt t="18564" x="8172450" y="2157413"/>
          <p14:tracePt t="18565" x="8151813" y="2157413"/>
          <p14:tracePt t="18566" x="8135938" y="2162175"/>
          <p14:tracePt t="18567" x="8123238" y="2162175"/>
          <p14:tracePt t="18568" x="8107363" y="2162175"/>
          <p14:tracePt t="18570" x="8096250" y="2162175"/>
          <p14:tracePt t="18570" x="8067675" y="2170113"/>
          <p14:tracePt t="18572" x="8056563" y="2170113"/>
          <p14:tracePt t="18573" x="8035925" y="2170113"/>
          <p14:tracePt t="18574" x="8023225" y="2170113"/>
          <p14:tracePt t="18575" x="8004175" y="2170113"/>
          <p14:tracePt t="18576" x="7983538" y="2173288"/>
          <p14:tracePt t="18576" x="7964488" y="2173288"/>
          <p14:tracePt t="18577" x="7951788" y="2173288"/>
          <p14:tracePt t="18578" x="7935913" y="2173288"/>
          <p14:tracePt t="18580" x="7920038" y="2173288"/>
          <p14:tracePt t="18580" x="7891463" y="2178050"/>
          <p14:tracePt t="18581" x="7880350" y="2178050"/>
          <p14:tracePt t="18582" x="7859713" y="2178050"/>
          <p14:tracePt t="18584" x="7839075" y="2178050"/>
          <p14:tracePt t="18585" x="7799388" y="2178050"/>
          <p14:tracePt t="18587" x="7788275" y="2178050"/>
          <p14:tracePt t="18588" x="7767638" y="2178050"/>
          <p14:tracePt t="18589" x="7754938" y="2181225"/>
          <p14:tracePt t="18590" x="7735888" y="2181225"/>
          <p14:tracePt t="18590" x="7715250" y="2181225"/>
          <p14:tracePt t="18591" x="7704138" y="2181225"/>
          <p14:tracePt t="18593" x="7683500" y="2181225"/>
          <p14:tracePt t="18593" x="7667625" y="2181225"/>
          <p14:tracePt t="18594" x="7651750" y="2189163"/>
          <p14:tracePt t="18595" x="7635875" y="2189163"/>
          <p14:tracePt t="18597" x="7615238" y="2189163"/>
          <p14:tracePt t="18597" x="7599363" y="2189163"/>
          <p14:tracePt t="18599" x="7583488" y="2189163"/>
          <p14:tracePt t="18599" x="7570788" y="2189163"/>
          <p14:tracePt t="18600" x="7551738" y="2189163"/>
          <p14:tracePt t="18602" x="7539038" y="2189163"/>
          <p14:tracePt t="18603" x="7512050" y="2189163"/>
          <p14:tracePt t="18605" x="7499350" y="2193925"/>
          <p14:tracePt t="18605" x="7486650" y="2193925"/>
          <p14:tracePt t="18607" x="7475538" y="2193925"/>
          <p14:tracePt t="18608" x="7459663" y="2193925"/>
          <p14:tracePt t="18609" x="7451725" y="2193925"/>
          <p14:tracePt t="18609" x="7439025" y="2193925"/>
          <p14:tracePt t="18611" x="7423150" y="2193925"/>
          <p14:tracePt t="18611" x="7415213" y="2193925"/>
          <p14:tracePt t="18612" x="7407275" y="2193925"/>
          <p14:tracePt t="18614" x="7399338" y="2193925"/>
          <p14:tracePt t="18614" x="7391400" y="2193925"/>
          <p14:tracePt t="18615" x="7383463" y="2193925"/>
          <p14:tracePt t="18616" x="7375525" y="2193925"/>
          <p14:tracePt t="18617" x="7367588" y="2193925"/>
          <p14:tracePt t="18618" x="7362825" y="2193925"/>
          <p14:tracePt t="18620" x="7354888" y="2193925"/>
          <p14:tracePt t="18621" x="7346950" y="2193925"/>
          <p14:tracePt t="18621" x="7343775" y="2193925"/>
          <p14:tracePt t="18623" x="7335838" y="2193925"/>
          <p14:tracePt t="18623" x="7331075" y="2193925"/>
          <p14:tracePt t="18625" x="7327900" y="2193925"/>
          <p14:tracePt t="18626" x="7319963" y="2193925"/>
          <p14:tracePt t="18628" x="7315200" y="2193925"/>
          <p14:tracePt t="18630" x="7310438" y="2193925"/>
          <p14:tracePt t="18631" x="7302500" y="2193925"/>
          <p14:tracePt t="18633" x="7299325" y="2193925"/>
          <p14:tracePt t="18635" x="7294563" y="2193925"/>
          <p14:tracePt t="18637" x="7291388" y="2193925"/>
          <p14:tracePt t="18639" x="7286625" y="2193925"/>
          <p14:tracePt t="18641" x="7283450" y="2193925"/>
          <p14:tracePt t="18645" x="7278688" y="2189163"/>
          <p14:tracePt t="18705" x="7283450" y="2185988"/>
          <p14:tracePt t="18709" x="7286625" y="2185988"/>
          <p14:tracePt t="18711" x="7291388" y="2185988"/>
          <p14:tracePt t="18712" x="7294563" y="2185988"/>
          <p14:tracePt t="18713" x="7299325" y="2185988"/>
          <p14:tracePt t="18714" x="7302500" y="2185988"/>
          <p14:tracePt t="18716" x="7302500" y="2181225"/>
          <p14:tracePt t="18717" x="7307263" y="2181225"/>
          <p14:tracePt t="18718" x="7310438" y="2181225"/>
          <p14:tracePt t="18719" x="7315200" y="2181225"/>
          <p14:tracePt t="18721" x="7319963" y="2181225"/>
          <p14:tracePt t="18721" x="7327900" y="2178050"/>
          <p14:tracePt t="18722" x="7331075" y="2178050"/>
          <p14:tracePt t="18723" x="7335838" y="2178050"/>
          <p14:tracePt t="18724" x="7343775" y="2178050"/>
          <p14:tracePt t="18725" x="7346950" y="2178050"/>
          <p14:tracePt t="18726" x="7354888" y="2173288"/>
          <p14:tracePt t="18727" x="7362825" y="2173288"/>
          <p14:tracePt t="18728" x="7367588" y="2173288"/>
          <p14:tracePt t="18729" x="7375525" y="2173288"/>
          <p14:tracePt t="18730" x="7383463" y="2173288"/>
          <p14:tracePt t="18733" x="7399338" y="2173288"/>
          <p14:tracePt t="18733" x="7407275" y="2173288"/>
          <p14:tracePt t="18735" x="7415213" y="2173288"/>
          <p14:tracePt t="18736" x="7423150" y="2173288"/>
          <p14:tracePt t="18737" x="7439025" y="2173288"/>
          <p14:tracePt t="18737" x="7446963" y="2173288"/>
          <p14:tracePt t="18738" x="7459663" y="2173288"/>
          <p14:tracePt t="18739" x="7467600" y="2173288"/>
          <p14:tracePt t="18740" x="7483475" y="2173288"/>
          <p14:tracePt t="18741" x="7494588" y="2173288"/>
          <p14:tracePt t="18742" x="7507288" y="2173288"/>
          <p14:tracePt t="18743" x="7515225" y="2173288"/>
          <p14:tracePt t="18744" x="7531100" y="2173288"/>
          <p14:tracePt t="18745" x="7543800" y="2173288"/>
          <p14:tracePt t="18746" x="7559675" y="2173288"/>
          <p14:tracePt t="18747" x="7570788" y="2173288"/>
          <p14:tracePt t="18749" x="7583488" y="2173288"/>
          <p14:tracePt t="18749" x="7599363" y="2173288"/>
          <p14:tracePt t="18750" x="7612063" y="2173288"/>
          <p14:tracePt t="18752" x="7631113" y="2173288"/>
          <p14:tracePt t="18753" x="7651750" y="2173288"/>
          <p14:tracePt t="18753" x="7662863" y="2173288"/>
          <p14:tracePt t="18754" x="7680325" y="2173288"/>
          <p14:tracePt t="18755" x="7691438" y="2173288"/>
          <p14:tracePt t="18756" x="7712075" y="2173288"/>
          <p14:tracePt t="18757" x="7723188" y="2173288"/>
          <p14:tracePt t="18758" x="7739063" y="2173288"/>
          <p14:tracePt t="18759" x="7759700" y="2173288"/>
          <p14:tracePt t="18760" x="7772400" y="2173288"/>
          <p14:tracePt t="18761" x="7791450" y="2173288"/>
          <p14:tracePt t="18762" x="7804150" y="2173288"/>
          <p14:tracePt t="18763" x="7820025" y="2173288"/>
          <p14:tracePt t="18764" x="7835900" y="2173288"/>
          <p14:tracePt t="18765" x="7851775" y="2173288"/>
          <p14:tracePt t="18766" x="7872413" y="2173288"/>
          <p14:tracePt t="18767" x="7888288" y="2173288"/>
          <p14:tracePt t="18769" x="7904163" y="2173288"/>
          <p14:tracePt t="18770" x="7923213" y="2173288"/>
          <p14:tracePt t="18770" x="7935913" y="2173288"/>
          <p14:tracePt t="18771" x="7959725" y="2173288"/>
          <p14:tracePt t="18772" x="7975600" y="2173288"/>
          <p14:tracePt t="18773" x="7988300" y="2173288"/>
          <p14:tracePt t="18774" x="8007350" y="2173288"/>
          <p14:tracePt t="18775" x="8020050" y="2173288"/>
          <p14:tracePt t="18776" x="8040688" y="2173288"/>
          <p14:tracePt t="18777" x="8059738" y="2173288"/>
          <p14:tracePt t="18778" x="8072438" y="2173288"/>
          <p14:tracePt t="18779" x="8088313" y="2173288"/>
          <p14:tracePt t="18781" x="8099425" y="2173288"/>
          <p14:tracePt t="18781" x="8120063" y="2173288"/>
          <p14:tracePt t="18782" x="8140700" y="2173288"/>
          <p14:tracePt t="18783" x="8151813" y="2173288"/>
          <p14:tracePt t="18785" x="8188325" y="2173288"/>
          <p14:tracePt t="18786" x="8204200" y="2173288"/>
          <p14:tracePt t="18787" x="8220075" y="2178050"/>
          <p14:tracePt t="18788" x="8232775" y="2178050"/>
          <p14:tracePt t="18789" x="8248650" y="2178050"/>
          <p14:tracePt t="18790" x="8259763" y="2178050"/>
          <p14:tracePt t="18792" x="8272463" y="2178050"/>
          <p14:tracePt t="18792" x="8291513" y="2178050"/>
          <p14:tracePt t="18793" x="8307388" y="2178050"/>
          <p14:tracePt t="18795" x="8335963" y="2178050"/>
          <p14:tracePt t="18796" x="8351838" y="2178050"/>
          <p14:tracePt t="18797" x="8359775" y="2178050"/>
          <p14:tracePt t="18798" x="8375650" y="2178050"/>
          <p14:tracePt t="18799" x="8383588" y="2178050"/>
          <p14:tracePt t="18800" x="8396288" y="2178050"/>
          <p14:tracePt t="18802" x="8404225" y="2178050"/>
          <p14:tracePt t="18803" x="8424863" y="2178050"/>
          <p14:tracePt t="18803" x="8432800" y="2178050"/>
          <p14:tracePt t="18805" x="8440738" y="2178050"/>
          <p14:tracePt t="18805" x="8456613" y="2178050"/>
          <p14:tracePt t="18806" x="8467725" y="2178050"/>
          <p14:tracePt t="18807" x="8475663" y="2178050"/>
          <p14:tracePt t="18808" x="8483600" y="2178050"/>
          <p14:tracePt t="18809" x="8493125" y="2178050"/>
          <p14:tracePt t="18811" x="8501063" y="2178050"/>
          <p14:tracePt t="18811" x="8509000" y="2178050"/>
          <p14:tracePt t="18812" x="8516938" y="2178050"/>
          <p14:tracePt t="18813" x="8528050" y="2173288"/>
          <p14:tracePt t="18814" x="8535988" y="2173288"/>
          <p14:tracePt t="18816" x="8540750" y="2173288"/>
          <p14:tracePt t="18816" x="8548688" y="2173288"/>
          <p14:tracePt t="18817" x="8556625" y="2173288"/>
          <p14:tracePt t="18820" x="8559800" y="2173288"/>
          <p14:tracePt t="18820" x="8567738" y="2173288"/>
          <p14:tracePt t="18821" x="8572500" y="2173288"/>
          <p14:tracePt t="18822" x="8580438" y="2173288"/>
          <p14:tracePt t="18823" x="8585200" y="2170113"/>
          <p14:tracePt t="18824" x="8588375" y="2170113"/>
          <p14:tracePt t="18826" x="8593138" y="2170113"/>
          <p14:tracePt t="18826" x="8596313" y="2170113"/>
          <p14:tracePt t="18828" x="8601075" y="2170113"/>
          <p14:tracePt t="18829" x="8604250" y="2170113"/>
          <p14:tracePt t="18831" x="8609013" y="2170113"/>
          <p14:tracePt t="18832" x="8609013" y="2165350"/>
          <p14:tracePt t="18836" x="8612188" y="2165350"/>
          <p14:tracePt t="18838" x="8616950" y="2165350"/>
          <p14:tracePt t="18843" x="8620125" y="2165350"/>
          <p14:tracePt t="18849" x="8624888" y="2165350"/>
          <p14:tracePt t="18862" x="8624888" y="2162175"/>
          <p14:tracePt t="18966" x="8620125" y="2162175"/>
          <p14:tracePt t="18968" x="8616950" y="2162175"/>
          <p14:tracePt t="18970" x="8612188" y="2162175"/>
          <p14:tracePt t="18973" x="8609013" y="2162175"/>
          <p14:tracePt t="18974" x="8604250" y="2162175"/>
          <p14:tracePt t="18976" x="8596313" y="2162175"/>
          <p14:tracePt t="18978" x="8588375" y="2162175"/>
          <p14:tracePt t="18980" x="8580438" y="2162175"/>
          <p14:tracePt t="18981" x="8575675" y="2162175"/>
          <p14:tracePt t="18984" x="8556625" y="2165350"/>
          <p14:tracePt t="18987" x="8543925" y="2165350"/>
          <p14:tracePt t="18989" x="8532813" y="2165350"/>
          <p14:tracePt t="18991" x="8516938" y="2165350"/>
          <p14:tracePt t="18992" x="8512175" y="2165350"/>
          <p14:tracePt t="18994" x="8493125" y="2165350"/>
          <p14:tracePt t="18995" x="8483600" y="2165350"/>
          <p14:tracePt t="18996" x="8475663" y="2165350"/>
          <p14:tracePt t="18999" x="8448675" y="2165350"/>
          <p14:tracePt t="19000" x="8440738" y="2165350"/>
          <p14:tracePt t="19001" x="8432800" y="2165350"/>
          <p14:tracePt t="19002" x="8424863" y="2165350"/>
          <p14:tracePt t="19003" x="8412163" y="2165350"/>
          <p14:tracePt t="19003" x="8396288" y="2165350"/>
          <p14:tracePt t="19004" x="8388350" y="2165350"/>
          <p14:tracePt t="19005" x="8380413" y="2165350"/>
          <p14:tracePt t="19007" x="8367713" y="2165350"/>
          <p14:tracePt t="19007" x="8359775" y="2165350"/>
          <p14:tracePt t="19008" x="8343900" y="2165350"/>
          <p14:tracePt t="19009" x="8335963" y="2165350"/>
          <p14:tracePt t="19010" x="8324850" y="2165350"/>
          <p14:tracePt t="19011" x="8316913" y="2165350"/>
          <p14:tracePt t="19012" x="8296275" y="2165350"/>
          <p14:tracePt t="19013" x="8288338" y="2165350"/>
          <p14:tracePt t="19015" x="8275638" y="2165350"/>
          <p14:tracePt t="19015" x="8267700" y="2165350"/>
          <p14:tracePt t="19016" x="8251825" y="2165350"/>
          <p14:tracePt t="19017" x="8240713" y="2165350"/>
          <p14:tracePt t="19019" x="8224838" y="2165350"/>
          <p14:tracePt t="19019" x="8212138" y="2165350"/>
          <p14:tracePt t="19020" x="8199438" y="2165350"/>
          <p14:tracePt t="19022" x="8183563" y="2165350"/>
          <p14:tracePt t="19022" x="8172450" y="2165350"/>
          <p14:tracePt t="19023" x="8156575" y="2165350"/>
          <p14:tracePt t="19024" x="8143875" y="2165350"/>
          <p14:tracePt t="19025" x="8128000" y="2165350"/>
          <p14:tracePt t="19026" x="8115300" y="2165350"/>
          <p14:tracePt t="19028" x="8104188" y="2165350"/>
          <p14:tracePt t="19028" x="8088313" y="2165350"/>
          <p14:tracePt t="19030" x="8075613" y="2165350"/>
          <p14:tracePt t="19030" x="8059738" y="2165350"/>
          <p14:tracePt t="19031" x="8048625" y="2165350"/>
          <p14:tracePt t="19032" x="8027988" y="2165350"/>
          <p14:tracePt t="19033" x="8020050" y="2165350"/>
          <p14:tracePt t="19034" x="8007350" y="2165350"/>
          <p14:tracePt t="19036" x="7991475" y="2165350"/>
          <p14:tracePt t="19036" x="7983538" y="2162175"/>
          <p14:tracePt t="19037" x="7972425" y="2162175"/>
          <p14:tracePt t="19038" x="7956550" y="2162175"/>
          <p14:tracePt t="19039" x="7943850" y="2162175"/>
          <p14:tracePt t="19040" x="7927975" y="2162175"/>
          <p14:tracePt t="19041" x="7920038" y="2162175"/>
          <p14:tracePt t="19042" x="7907338" y="2162175"/>
          <p14:tracePt t="19043" x="7896225" y="2162175"/>
          <p14:tracePt t="19044" x="7888288" y="2162175"/>
          <p14:tracePt t="19046" x="7875588" y="2162175"/>
          <p14:tracePt t="19046" x="7867650" y="2162175"/>
          <p14:tracePt t="19047" x="7859713" y="2162175"/>
          <p14:tracePt t="19048" x="7851775" y="2157413"/>
          <p14:tracePt t="19049" x="7843838" y="2157413"/>
          <p14:tracePt t="19050" x="7835900" y="2157413"/>
          <p14:tracePt t="19052" x="7827963" y="2157413"/>
          <p14:tracePt t="19053" x="7823200" y="2157413"/>
          <p14:tracePt t="19053" x="7815263" y="2157413"/>
          <p14:tracePt t="19054" x="7807325" y="2157413"/>
          <p14:tracePt t="19055" x="7804150" y="2157413"/>
          <p14:tracePt t="19056" x="7799388" y="2157413"/>
          <p14:tracePt t="19057" x="7796213" y="2157413"/>
          <p14:tracePt t="19058" x="7788275" y="2157413"/>
          <p14:tracePt t="19061" x="7783513" y="2157413"/>
          <p14:tracePt t="19062" x="7780338" y="2157413"/>
          <p14:tracePt t="19063" x="7775575" y="2157413"/>
          <p14:tracePt t="19063" x="7772400" y="2157413"/>
          <p14:tracePt t="19065" x="7767638" y="2157413"/>
          <p14:tracePt t="19067" x="7762875" y="2157413"/>
          <p14:tracePt t="19068" x="7759700" y="2157413"/>
          <p14:tracePt t="19070" x="7754938" y="2157413"/>
          <p14:tracePt t="19094" x="7754938" y="2154238"/>
          <p14:tracePt t="19132" x="7759700" y="2154238"/>
          <p14:tracePt t="19134" x="7762875" y="2154238"/>
          <p14:tracePt t="19135" x="7767638" y="2154238"/>
          <p14:tracePt t="19138" x="7772400" y="2154238"/>
          <p14:tracePt t="19140" x="7775575" y="2154238"/>
          <p14:tracePt t="19141" x="7780338" y="2154238"/>
          <p14:tracePt t="19141" x="7783513" y="2157413"/>
          <p14:tracePt t="19145" x="7791450" y="2157413"/>
          <p14:tracePt t="19146" x="7796213" y="2157413"/>
          <p14:tracePt t="19147" x="7804150" y="2157413"/>
          <p14:tracePt t="19148" x="7807325" y="2157413"/>
          <p14:tracePt t="19149" x="7812088" y="2157413"/>
          <p14:tracePt t="19150" x="7815263" y="2157413"/>
          <p14:tracePt t="19152" x="7820025" y="2162175"/>
          <p14:tracePt t="19153" x="7827963" y="2162175"/>
          <p14:tracePt t="19154" x="7831138" y="2162175"/>
          <p14:tracePt t="19155" x="7839075" y="2162175"/>
          <p14:tracePt t="19157" x="7847013" y="2162175"/>
          <p14:tracePt t="19158" x="7851775" y="2162175"/>
          <p14:tracePt t="19159" x="7859713" y="2162175"/>
          <p14:tracePt t="19160" x="7864475" y="2165350"/>
          <p14:tracePt t="19161" x="7867650" y="2165350"/>
          <p14:tracePt t="19161" x="7875588" y="2165350"/>
          <p14:tracePt t="19162" x="7880350" y="2165350"/>
          <p14:tracePt t="19164" x="7883525" y="2165350"/>
          <p14:tracePt t="19164" x="7891463" y="2165350"/>
          <p14:tracePt t="19166" x="7899400" y="2165350"/>
          <p14:tracePt t="19166" x="7904163" y="2165350"/>
          <p14:tracePt t="19168" x="7912100" y="2165350"/>
          <p14:tracePt t="19169" x="7923213" y="2170113"/>
          <p14:tracePt t="19171" x="7931150" y="2170113"/>
          <p14:tracePt t="19173" x="7939088" y="2170113"/>
          <p14:tracePt t="19174" x="7948613" y="2170113"/>
          <p14:tracePt t="19174" x="7951788" y="2170113"/>
          <p14:tracePt t="19176" x="7959725" y="2170113"/>
          <p14:tracePt t="19176" x="7967663" y="2170113"/>
          <p14:tracePt t="19178" x="7972425" y="2170113"/>
          <p14:tracePt t="19179" x="7980363" y="2170113"/>
          <p14:tracePt t="19179" x="7988300" y="2170113"/>
          <p14:tracePt t="19181" x="7996238" y="2170113"/>
          <p14:tracePt t="19181" x="7999413" y="2170113"/>
          <p14:tracePt t="19182" x="8004175" y="2170113"/>
          <p14:tracePt t="19183" x="8012113" y="2170113"/>
          <p14:tracePt t="19185" x="8027988" y="2170113"/>
          <p14:tracePt t="19186" x="8031163" y="2170113"/>
          <p14:tracePt t="19187" x="8040688" y="2170113"/>
          <p14:tracePt t="19189" x="8048625" y="2173288"/>
          <p14:tracePt t="19189" x="8051800" y="2173288"/>
          <p14:tracePt t="19191" x="8059738" y="2173288"/>
          <p14:tracePt t="19192" x="8064500" y="2173288"/>
          <p14:tracePt t="19193" x="8067675" y="2173288"/>
          <p14:tracePt t="19193" x="8072438" y="2173288"/>
          <p14:tracePt t="19195" x="8080375" y="2173288"/>
          <p14:tracePt t="19196" x="8083550" y="2173288"/>
          <p14:tracePt t="19196" x="8091488" y="2173288"/>
          <p14:tracePt t="19198" x="8096250" y="2173288"/>
          <p14:tracePt t="19199" x="8099425" y="2173288"/>
          <p14:tracePt t="19201" x="8104188" y="2173288"/>
          <p14:tracePt t="19202" x="8107363" y="2173288"/>
          <p14:tracePt t="19203" x="8112125" y="2173288"/>
          <p14:tracePt t="19204" x="8115300" y="2173288"/>
          <p14:tracePt t="19204" x="8120063" y="2173288"/>
          <p14:tracePt t="19207" x="8123238" y="2173288"/>
          <p14:tracePt t="19208" x="8128000" y="2173288"/>
          <p14:tracePt t="19210" x="8132763" y="2173288"/>
          <p14:tracePt t="19214" x="8135938" y="2173288"/>
          <p14:tracePt t="19218" x="8140700" y="2173288"/>
          <p14:tracePt t="19352" x="8143875" y="2173288"/>
          <p14:tracePt t="19357" x="8148638" y="2173288"/>
          <p14:tracePt t="19361" x="8156575" y="2173288"/>
          <p14:tracePt t="19362" x="8159750" y="2173288"/>
          <p14:tracePt t="19363" x="8164513" y="2173288"/>
          <p14:tracePt t="19364" x="8167688" y="2173288"/>
          <p14:tracePt t="19366" x="8172450" y="2173288"/>
          <p14:tracePt t="19370" x="8175625" y="2173288"/>
          <p14:tracePt t="19371" x="8180388" y="2173288"/>
          <p14:tracePt t="19372" x="8183563" y="2173288"/>
          <p14:tracePt t="19373" x="8188325" y="2173288"/>
          <p14:tracePt t="19375" x="8191500" y="2173288"/>
          <p14:tracePt t="19377" x="8196263" y="2173288"/>
          <p14:tracePt t="19379" x="8199438" y="2173288"/>
          <p14:tracePt t="19379" x="8204200" y="2173288"/>
          <p14:tracePt t="19382" x="8207375" y="2173288"/>
          <p14:tracePt t="19384" x="8212138" y="2170113"/>
          <p14:tracePt t="19388" x="8215313" y="2170113"/>
          <p14:tracePt t="19390" x="8220075" y="2170113"/>
          <p14:tracePt t="19391" x="8224838" y="2170113"/>
          <p14:tracePt t="19393" x="8228013" y="2170113"/>
          <p14:tracePt t="19394" x="8232775" y="2170113"/>
          <p14:tracePt t="19397" x="8235950" y="2170113"/>
          <p14:tracePt t="19398" x="8240713" y="2170113"/>
          <p14:tracePt t="19399" x="8240713" y="2165350"/>
          <p14:tracePt t="19401" x="8243888" y="2165350"/>
          <p14:tracePt t="19402" x="8248650" y="2165350"/>
          <p14:tracePt t="19404" x="8251825" y="2165350"/>
          <p14:tracePt t="19406" x="8256588" y="2165350"/>
          <p14:tracePt t="19408" x="8259763" y="2165350"/>
          <p14:tracePt t="19410" x="8264525" y="2165350"/>
          <p14:tracePt t="19413" x="8267700" y="2165350"/>
          <p14:tracePt t="19415" x="8272463" y="2165350"/>
          <p14:tracePt t="19416" x="8275638" y="2165350"/>
          <p14:tracePt t="19420" x="8280400" y="2165350"/>
          <p14:tracePt t="19421" x="8283575" y="2162175"/>
          <p14:tracePt t="19423" x="8288338" y="2162175"/>
          <p14:tracePt t="19426" x="8291513" y="2162175"/>
          <p14:tracePt t="19431" x="8296275" y="2162175"/>
          <p14:tracePt t="19433" x="8299450" y="2162175"/>
          <p14:tracePt t="19435" x="8304213" y="2162175"/>
          <p14:tracePt t="19437" x="8307388" y="2162175"/>
          <p14:tracePt t="19439" x="8312150" y="2162175"/>
          <p14:tracePt t="19442" x="8316913" y="2162175"/>
          <p14:tracePt t="19445" x="8320088" y="2162175"/>
          <p14:tracePt t="19447" x="8324850" y="2162175"/>
          <p14:tracePt t="19450" x="8328025" y="2162175"/>
          <p14:tracePt t="19453" x="8332788" y="2162175"/>
          <p14:tracePt t="19460" x="8335963" y="2162175"/>
          <p14:tracePt t="19464" x="8340725" y="2162175"/>
          <p14:tracePt t="19477" x="8343900" y="2162175"/>
          <p14:tracePt t="20236" x="8340725" y="2162175"/>
          <p14:tracePt t="20242" x="8335963" y="2162175"/>
          <p14:tracePt t="20246" x="8332788" y="2162175"/>
          <p14:tracePt t="20248" x="8324850" y="2162175"/>
          <p14:tracePt t="20250" x="8316913" y="2162175"/>
          <p14:tracePt t="20253" x="8312150" y="2162175"/>
          <p14:tracePt t="20254" x="8307388" y="2162175"/>
          <p14:tracePt t="20255" x="8304213" y="2162175"/>
          <p14:tracePt t="20256" x="8299450" y="2162175"/>
          <p14:tracePt t="20258" x="8296275" y="2162175"/>
          <p14:tracePt t="20259" x="8291513" y="2162175"/>
          <p14:tracePt t="20261" x="8283575" y="2162175"/>
          <p14:tracePt t="20263" x="8275638" y="2165350"/>
          <p14:tracePt t="20264" x="8272463" y="2165350"/>
          <p14:tracePt t="20264" x="8264525" y="2165350"/>
          <p14:tracePt t="20266" x="8259763" y="2165350"/>
          <p14:tracePt t="20266" x="8251825" y="2165350"/>
          <p14:tracePt t="20267" x="8248650" y="2165350"/>
          <p14:tracePt t="20270" x="8240713" y="2170113"/>
          <p14:tracePt t="20271" x="8228013" y="2170113"/>
          <p14:tracePt t="20273" x="8220075" y="2170113"/>
          <p14:tracePt t="20273" x="8215313" y="2170113"/>
          <p14:tracePt t="20275" x="8207375" y="2173288"/>
          <p14:tracePt t="20276" x="8199438" y="2173288"/>
          <p14:tracePt t="20276" x="8191500" y="2173288"/>
          <p14:tracePt t="20278" x="8183563" y="2173288"/>
          <p14:tracePt t="20279" x="8180388" y="2173288"/>
          <p14:tracePt t="20280" x="8172450" y="2173288"/>
          <p14:tracePt t="20280" x="8156575" y="2178050"/>
          <p14:tracePt t="20281" x="8148638" y="2178050"/>
          <p14:tracePt t="20282" x="8140700" y="2178050"/>
          <p14:tracePt t="20283" x="8132763" y="2178050"/>
          <p14:tracePt t="20285" x="8123238" y="2178050"/>
          <p14:tracePt t="20286" x="8107363" y="2185988"/>
          <p14:tracePt t="20287" x="8099425" y="2185988"/>
          <p14:tracePt t="20287" x="8091488" y="2185988"/>
          <p14:tracePt t="20289" x="8080375" y="2185988"/>
          <p14:tracePt t="20290" x="8072438" y="2185988"/>
          <p14:tracePt t="20291" x="8056563" y="2189163"/>
          <p14:tracePt t="20291" x="8043863" y="2189163"/>
          <p14:tracePt t="20292" x="8031163" y="2189163"/>
          <p14:tracePt t="20293" x="8015288" y="2189163"/>
          <p14:tracePt t="20294" x="8004175" y="2193925"/>
          <p14:tracePt t="20295" x="7983538" y="2193925"/>
          <p14:tracePt t="20296" x="7967663" y="2193925"/>
          <p14:tracePt t="20297" x="7956550" y="2193925"/>
          <p14:tracePt t="20298" x="7943850" y="2198688"/>
          <p14:tracePt t="20299" x="7927975" y="2198688"/>
          <p14:tracePt t="20300" x="7904163" y="2198688"/>
          <p14:tracePt t="20302" x="7888288" y="2201863"/>
          <p14:tracePt t="20303" x="7867650" y="2201863"/>
          <p14:tracePt t="20304" x="7854950" y="2201863"/>
          <p14:tracePt t="20305" x="7835900" y="2201863"/>
          <p14:tracePt t="20306" x="7815263" y="2201863"/>
          <p14:tracePt t="20307" x="7791450" y="2201863"/>
          <p14:tracePt t="20308" x="7772400" y="2209800"/>
          <p14:tracePt t="20308" x="7751763" y="2209800"/>
          <p14:tracePt t="20310" x="7735888" y="2209800"/>
          <p14:tracePt t="20311" x="7699375" y="2209800"/>
          <p14:tracePt t="20311" x="7680325" y="2214563"/>
          <p14:tracePt t="20312" x="7662863" y="2214563"/>
          <p14:tracePt t="20313" x="7635875" y="2214563"/>
          <p14:tracePt t="20314" x="7615238" y="2217738"/>
          <p14:tracePt t="20315" x="7591425" y="2217738"/>
          <p14:tracePt t="20316" x="7554913" y="2217738"/>
          <p14:tracePt t="20317" x="7527925" y="2217738"/>
          <p14:tracePt t="20319" x="7504113" y="2217738"/>
          <p14:tracePt t="20320" x="7475538" y="2217738"/>
          <p14:tracePt t="20320" x="7439025" y="2222500"/>
          <p14:tracePt t="20321" x="7407275" y="2222500"/>
          <p14:tracePt t="20322" x="7378700" y="2222500"/>
          <p14:tracePt t="20324" x="7351713" y="2222500"/>
          <p14:tracePt t="20326" x="7291388" y="2222500"/>
          <p14:tracePt t="20326" x="7246938" y="2230438"/>
          <p14:tracePt t="20327" x="7210425" y="2230438"/>
          <p14:tracePt t="20328" x="7178675" y="2230438"/>
          <p14:tracePt t="20329" x="7151688" y="2230438"/>
          <p14:tracePt t="20330" x="7099300" y="2230438"/>
          <p14:tracePt t="20331" x="7067550" y="2230438"/>
          <p14:tracePt t="20332" x="7031038" y="2238375"/>
          <p14:tracePt t="20333" x="6994525" y="2238375"/>
          <p14:tracePt t="20336" x="6918325" y="2238375"/>
          <p14:tracePt t="20336" x="6883400" y="2238375"/>
          <p14:tracePt t="20337" x="6846888" y="2238375"/>
          <p14:tracePt t="20339" x="6815138" y="2238375"/>
          <p14:tracePt t="20340" x="6778625" y="2238375"/>
          <p14:tracePt t="20341" x="6726238" y="2238375"/>
          <p14:tracePt t="20343" x="6646863" y="2241550"/>
          <p14:tracePt t="20343" x="6615113" y="2241550"/>
          <p14:tracePt t="20344" x="6578600" y="2241550"/>
          <p14:tracePt t="20345" x="6542088" y="2241550"/>
          <p14:tracePt t="20346" x="6481763" y="2241550"/>
          <p14:tracePt t="20347" x="6446838" y="2249488"/>
          <p14:tracePt t="20348" x="6405563" y="2249488"/>
          <p14:tracePt t="20349" x="6370638" y="2254250"/>
          <p14:tracePt t="20350" x="6318250" y="2254250"/>
          <p14:tracePt t="20352" x="6273800" y="2254250"/>
          <p14:tracePt t="20353" x="6238875" y="2262188"/>
          <p14:tracePt t="20354" x="6194425" y="2262188"/>
          <p14:tracePt t="20355" x="6162675" y="2262188"/>
          <p14:tracePt t="20355" x="6118225" y="2265363"/>
          <p14:tracePt t="20357" x="6057900" y="2265363"/>
          <p14:tracePt t="20358" x="5978525" y="2265363"/>
          <p14:tracePt t="20359" x="5942013" y="2273300"/>
          <p14:tracePt t="20360" x="5881688" y="2273300"/>
          <p14:tracePt t="20361" x="5837238" y="2278063"/>
          <p14:tracePt t="20362" x="5797550" y="2278063"/>
          <p14:tracePt t="20363" x="5753100" y="2278063"/>
          <p14:tracePt t="20364" x="5718175" y="2286000"/>
          <p14:tracePt t="20365" x="5673725" y="2286000"/>
          <p14:tracePt t="20366" x="5613400" y="2290763"/>
          <p14:tracePt t="20367" x="5568950" y="2290763"/>
          <p14:tracePt t="20369" x="5526088" y="2290763"/>
          <p14:tracePt t="20370" x="5434013" y="2298700"/>
          <p14:tracePt t="20372" x="5397500" y="2301875"/>
          <p14:tracePt t="20372" x="5353050" y="2301875"/>
          <p14:tracePt t="20374" x="5316538" y="2309813"/>
          <p14:tracePt t="20374" x="5273675" y="2309813"/>
          <p14:tracePt t="20375" x="5237163" y="2309813"/>
          <p14:tracePt t="20376" x="5176838" y="2317750"/>
          <p14:tracePt t="20377" x="5145088" y="2317750"/>
          <p14:tracePt t="20378" x="5100638" y="2322513"/>
          <p14:tracePt t="20379" x="5065713" y="2322513"/>
          <p14:tracePt t="20380" x="5013325" y="2322513"/>
          <p14:tracePt t="20381" x="4976813" y="2330450"/>
          <p14:tracePt t="20382" x="4932363" y="2330450"/>
          <p14:tracePt t="20383" x="4897438" y="2333625"/>
          <p14:tracePt t="20385" x="4864100" y="2333625"/>
          <p14:tracePt t="20386" x="4829175" y="2341563"/>
          <p14:tracePt t="20387" x="4776788" y="2341563"/>
          <p14:tracePt t="20389" x="4713288" y="2346325"/>
          <p14:tracePt t="20390" x="4676775" y="2354263"/>
          <p14:tracePt t="20391" x="4652963" y="2354263"/>
          <p14:tracePt t="20392" x="4600575" y="2354263"/>
          <p14:tracePt t="20392" x="4572000" y="2357438"/>
          <p14:tracePt t="20393" x="4545013" y="2357438"/>
          <p14:tracePt t="20394" x="4511675" y="2357438"/>
          <p14:tracePt t="20395" x="4484688" y="2362200"/>
          <p14:tracePt t="20396" x="4440238" y="2362200"/>
          <p14:tracePt t="20397" x="4411663" y="2362200"/>
          <p14:tracePt t="20398" x="4384675" y="2370138"/>
          <p14:tracePt t="20399" x="4368800" y="2370138"/>
          <p14:tracePt t="20400" x="4327525" y="2373313"/>
          <p14:tracePt t="20402" x="4308475" y="2373313"/>
          <p14:tracePt t="20403" x="4279900" y="2373313"/>
          <p14:tracePt t="20404" x="4235450" y="2378075"/>
          <p14:tracePt t="20406" x="4216400" y="2378075"/>
          <p14:tracePt t="20407" x="4192588" y="2378075"/>
          <p14:tracePt t="20408" x="4164013" y="2386013"/>
          <p14:tracePt t="20408" x="4143375" y="2386013"/>
          <p14:tracePt t="20409" x="4124325" y="2386013"/>
          <p14:tracePt t="20410" x="4108450" y="2386013"/>
          <p14:tracePt t="20411" x="4079875" y="2390775"/>
          <p14:tracePt t="20412" x="4068763" y="2390775"/>
          <p14:tracePt t="20413" x="4048125" y="2390775"/>
          <p14:tracePt t="20414" x="4027488" y="2390775"/>
          <p14:tracePt t="20415" x="4008438" y="2390775"/>
          <p14:tracePt t="20416" x="3992563" y="2390775"/>
          <p14:tracePt t="20417" x="3971925" y="2393950"/>
          <p14:tracePt t="20419" x="3956050" y="2393950"/>
          <p14:tracePt t="20420" x="3943350" y="2393950"/>
          <p14:tracePt t="20421" x="3924300" y="2393950"/>
          <p14:tracePt t="20422" x="3903663" y="2393950"/>
          <p14:tracePt t="20422" x="3892550" y="2393950"/>
          <p14:tracePt t="20424" x="3875088" y="2393950"/>
          <p14:tracePt t="20424" x="3863975" y="2393950"/>
          <p14:tracePt t="20425" x="3848100" y="2401888"/>
          <p14:tracePt t="20426" x="3832225" y="2401888"/>
          <p14:tracePt t="20428" x="3824288" y="2401888"/>
          <p14:tracePt t="20428" x="3808413" y="2401888"/>
          <p14:tracePt t="20429" x="3795713" y="2401888"/>
          <p14:tracePt t="20430" x="3787775" y="2401888"/>
          <p14:tracePt t="20432" x="3767138" y="2401888"/>
          <p14:tracePt t="20433" x="3759200" y="2401888"/>
          <p14:tracePt t="20433" x="3751263" y="2401888"/>
          <p14:tracePt t="20434" x="3735388" y="2401888"/>
          <p14:tracePt t="20436" x="3727450" y="2401888"/>
          <p14:tracePt t="20437" x="3708400" y="2401888"/>
          <p14:tracePt t="20439" x="3698875" y="2401888"/>
          <p14:tracePt t="20439" x="3690938" y="2401888"/>
          <p14:tracePt t="20440" x="3683000" y="2401888"/>
          <p14:tracePt t="20441" x="3667125" y="2401888"/>
          <p14:tracePt t="20442" x="3659188" y="2401888"/>
          <p14:tracePt t="20443" x="3651250" y="2401888"/>
          <p14:tracePt t="20444" x="3648075" y="2401888"/>
          <p14:tracePt t="20445" x="3640138" y="2401888"/>
          <p14:tracePt t="20446" x="3627438" y="2401888"/>
          <p14:tracePt t="20447" x="3619500" y="2401888"/>
          <p14:tracePt t="20448" x="3616325" y="2401888"/>
          <p14:tracePt t="20449" x="3606800" y="2401888"/>
          <p14:tracePt t="20450" x="3598863" y="2401888"/>
          <p14:tracePt t="20452" x="3587750" y="2401888"/>
          <p14:tracePt t="20453" x="3579813" y="2401888"/>
          <p14:tracePt t="20454" x="3571875" y="2401888"/>
          <p14:tracePt t="20455" x="3567113" y="2401888"/>
          <p14:tracePt t="20457" x="3559175" y="2401888"/>
          <p14:tracePt t="20457" x="3551238" y="2401888"/>
          <p14:tracePt t="20458" x="3548063" y="2401888"/>
          <p14:tracePt t="20459" x="3540125" y="2401888"/>
          <p14:tracePt t="20460" x="3535363" y="2401888"/>
          <p14:tracePt t="20461" x="3532188" y="2401888"/>
          <p14:tracePt t="20462" x="3519488" y="2401888"/>
          <p14:tracePt t="20464" x="3511550" y="2401888"/>
          <p14:tracePt t="20465" x="3503613" y="2401888"/>
          <p14:tracePt t="20466" x="3495675" y="2401888"/>
          <p14:tracePt t="20467" x="3487738" y="2401888"/>
          <p14:tracePt t="20469" x="3475038" y="2401888"/>
          <p14:tracePt t="20471" x="3467100" y="2401888"/>
          <p14:tracePt t="20471" x="3451225" y="2401888"/>
          <p14:tracePt t="20472" x="3443288" y="2401888"/>
          <p14:tracePt t="20473" x="3435350" y="2401888"/>
          <p14:tracePt t="20474" x="3427413" y="2401888"/>
          <p14:tracePt t="20475" x="3419475" y="2401888"/>
          <p14:tracePt t="20476" x="3406775" y="2401888"/>
          <p14:tracePt t="20477" x="3398838" y="2401888"/>
          <p14:tracePt t="20478" x="3387725" y="2401888"/>
          <p14:tracePt t="20479" x="3379788" y="2401888"/>
          <p14:tracePt t="20480" x="3371850" y="2401888"/>
          <p14:tracePt t="20481" x="3359150" y="2401888"/>
          <p14:tracePt t="20483" x="3338513" y="2401888"/>
          <p14:tracePt t="20484" x="3322638" y="2398713"/>
          <p14:tracePt t="20485" x="3314700" y="2398713"/>
          <p14:tracePt t="20486" x="3295650" y="2398713"/>
          <p14:tracePt t="20487" x="3287713" y="2398713"/>
          <p14:tracePt t="20488" x="3275013" y="2393950"/>
          <p14:tracePt t="20489" x="3259138" y="2393950"/>
          <p14:tracePt t="20490" x="3251200" y="2393950"/>
          <p14:tracePt t="20492" x="3238500" y="2390775"/>
          <p14:tracePt t="20492" x="3219450" y="2390775"/>
          <p14:tracePt t="20493" x="3203575" y="2390775"/>
          <p14:tracePt t="20494" x="3190875" y="2386013"/>
          <p14:tracePt t="20495" x="3175000" y="2386013"/>
          <p14:tracePt t="20496" x="3159125" y="2382838"/>
          <p14:tracePt t="20497" x="3143250" y="2382838"/>
          <p14:tracePt t="20498" x="3130550" y="2382838"/>
          <p14:tracePt t="20499" x="3114675" y="2373313"/>
          <p14:tracePt t="20500" x="3103563" y="2373313"/>
          <p14:tracePt t="20502" x="3087688" y="2370138"/>
          <p14:tracePt t="20503" x="3071813" y="2370138"/>
          <p14:tracePt t="20503" x="3054350" y="2365375"/>
          <p14:tracePt t="20504" x="3043238" y="2365375"/>
          <p14:tracePt t="20505" x="3027363" y="2362200"/>
          <p14:tracePt t="20506" x="3006725" y="2362200"/>
          <p14:tracePt t="20507" x="2995613" y="2362200"/>
          <p14:tracePt t="20508" x="2978150" y="2357438"/>
          <p14:tracePt t="20509" x="2967038" y="2357438"/>
          <p14:tracePt t="20510" x="2951163" y="2354263"/>
          <p14:tracePt t="20511" x="2938463" y="2354263"/>
          <p14:tracePt t="20512" x="2919413" y="2346325"/>
          <p14:tracePt t="20513" x="2906713" y="2346325"/>
          <p14:tracePt t="20514" x="2895600" y="2341563"/>
          <p14:tracePt t="20515" x="2882900" y="2341563"/>
          <p14:tracePt t="20516" x="2862263" y="2338388"/>
          <p14:tracePt t="20517" x="2854325" y="2338388"/>
          <p14:tracePt t="20519" x="2843213" y="2333625"/>
          <p14:tracePt t="20520" x="2835275" y="2333625"/>
          <p14:tracePt t="20520" x="2819400" y="2330450"/>
          <p14:tracePt t="20521" x="2811463" y="2330450"/>
          <p14:tracePt t="20522" x="2790825" y="2322513"/>
          <p14:tracePt t="20523" x="2782888" y="2322513"/>
          <p14:tracePt t="20524" x="2774950" y="2317750"/>
          <p14:tracePt t="20525" x="2759075" y="2317750"/>
          <p14:tracePt t="20526" x="2746375" y="2314575"/>
          <p14:tracePt t="20527" x="2738438" y="2314575"/>
          <p14:tracePt t="20528" x="2730500" y="2309813"/>
          <p14:tracePt t="20529" x="2722563" y="2309813"/>
          <p14:tracePt t="20530" x="2711450" y="2306638"/>
          <p14:tracePt t="20531" x="2701925" y="2306638"/>
          <p14:tracePt t="20532" x="2693988" y="2306638"/>
          <p14:tracePt t="20533" x="2686050" y="2301875"/>
          <p14:tracePt t="20534" x="2678113" y="2301875"/>
          <p14:tracePt t="20535" x="2670175" y="2301875"/>
          <p14:tracePt t="20537" x="2662238" y="2298700"/>
          <p14:tracePt t="20538" x="2654300" y="2298700"/>
          <p14:tracePt t="20539" x="2646363" y="2298700"/>
          <p14:tracePt t="20539" x="2643188" y="2293938"/>
          <p14:tracePt t="20540" x="2635250" y="2293938"/>
          <p14:tracePt t="20541" x="2630488" y="2290763"/>
          <p14:tracePt t="20542" x="2622550" y="2290763"/>
          <p14:tracePt t="20543" x="2614613" y="2290763"/>
          <p14:tracePt t="20545" x="2609850" y="2286000"/>
          <p14:tracePt t="20545" x="2606675" y="2286000"/>
          <p14:tracePt t="20546" x="2598738" y="2286000"/>
          <p14:tracePt t="20547" x="2593975" y="2286000"/>
          <p14:tracePt t="20548" x="2590800" y="2281238"/>
          <p14:tracePt t="20550" x="2586038" y="2281238"/>
          <p14:tracePt t="20552" x="2578100" y="2278063"/>
          <p14:tracePt t="20555" x="2574925" y="2278063"/>
          <p14:tracePt t="20556" x="2570163" y="2278063"/>
          <p14:tracePt t="20556" x="2566988" y="2278063"/>
          <p14:tracePt t="20558" x="2566988" y="2273300"/>
          <p14:tracePt t="20558" x="2562225" y="2273300"/>
          <p14:tracePt t="20561" x="2559050" y="2273300"/>
          <p14:tracePt t="20562" x="2554288" y="2273300"/>
          <p14:tracePt t="20563" x="2551113" y="2273300"/>
          <p14:tracePt t="20565" x="2546350" y="2270125"/>
          <p14:tracePt t="20570" x="2543175" y="2270125"/>
          <p14:tracePt t="20630" x="2546350" y="2270125"/>
          <p14:tracePt t="20632" x="2551113" y="2270125"/>
          <p14:tracePt t="20634" x="2554288" y="2270125"/>
          <p14:tracePt t="20636" x="2559050" y="2270125"/>
          <p14:tracePt t="20637" x="2562225" y="2270125"/>
          <p14:tracePt t="20638" x="2566988" y="2270125"/>
          <p14:tracePt t="20640" x="2574925" y="2270125"/>
          <p14:tracePt t="20641" x="2578100" y="2270125"/>
          <p14:tracePt t="20642" x="2582863" y="2270125"/>
          <p14:tracePt t="20643" x="2586038" y="2270125"/>
          <p14:tracePt t="20644" x="2593975" y="2270125"/>
          <p14:tracePt t="20645" x="2598738" y="2270125"/>
          <p14:tracePt t="20646" x="2601913" y="2270125"/>
          <p14:tracePt t="20647" x="2609850" y="2270125"/>
          <p14:tracePt t="20648" x="2617788" y="2270125"/>
          <p14:tracePt t="20649" x="2622550" y="2270125"/>
          <p14:tracePt t="20650" x="2630488" y="2270125"/>
          <p14:tracePt t="20652" x="2638425" y="2270125"/>
          <p14:tracePt t="20653" x="2646363" y="2273300"/>
          <p14:tracePt t="20653" x="2654300" y="2273300"/>
          <p14:tracePt t="20654" x="2662238" y="2273300"/>
          <p14:tracePt t="20655" x="2670175" y="2273300"/>
          <p14:tracePt t="20656" x="2678113" y="2273300"/>
          <p14:tracePt t="20657" x="2686050" y="2273300"/>
          <p14:tracePt t="20658" x="2701925" y="2273300"/>
          <p14:tracePt t="20659" x="2711450" y="2273300"/>
          <p14:tracePt t="20660" x="2722563" y="2273300"/>
          <p14:tracePt t="20662" x="2730500" y="2273300"/>
          <p14:tracePt t="20662" x="2746375" y="2273300"/>
          <p14:tracePt t="20663" x="2759075" y="2273300"/>
          <p14:tracePt t="20664" x="2767013" y="2273300"/>
          <p14:tracePt t="20665" x="2782888" y="2273300"/>
          <p14:tracePt t="20666" x="2794000" y="2273300"/>
          <p14:tracePt t="20667" x="2803525" y="2273300"/>
          <p14:tracePt t="20669" x="2822575" y="2273300"/>
          <p14:tracePt t="20670" x="2835275" y="2273300"/>
          <p14:tracePt t="20671" x="2851150" y="2273300"/>
          <p14:tracePt t="20672" x="2862263" y="2273300"/>
          <p14:tracePt t="20672" x="2878138" y="2273300"/>
          <p14:tracePt t="20673" x="2890838" y="2273300"/>
          <p14:tracePt t="20675" x="2903538" y="2273300"/>
          <p14:tracePt t="20675" x="2919413" y="2273300"/>
          <p14:tracePt t="20676" x="2930525" y="2270125"/>
          <p14:tracePt t="20677" x="2951163" y="2270125"/>
          <p14:tracePt t="20678" x="2967038" y="2270125"/>
          <p14:tracePt t="20679" x="2982913" y="2270125"/>
          <p14:tracePt t="20680" x="2998788" y="2265363"/>
          <p14:tracePt t="20681" x="3011488" y="2265363"/>
          <p14:tracePt t="20682" x="3030538" y="2265363"/>
          <p14:tracePt t="20683" x="3043238" y="2265363"/>
          <p14:tracePt t="20684" x="3059113" y="2262188"/>
          <p14:tracePt t="20686" x="3079750" y="2262188"/>
          <p14:tracePt t="20687" x="3090863" y="2262188"/>
          <p14:tracePt t="20688" x="3106738" y="2262188"/>
          <p14:tracePt t="20688" x="3127375" y="2254250"/>
          <p14:tracePt t="20689" x="3138488" y="2254250"/>
          <p14:tracePt t="20690" x="3151188" y="2254250"/>
          <p14:tracePt t="20692" x="3167063" y="2254250"/>
          <p14:tracePt t="20692" x="3187700" y="2249488"/>
          <p14:tracePt t="20693" x="3198813" y="2249488"/>
          <p14:tracePt t="20694" x="3214688" y="2249488"/>
          <p14:tracePt t="20695" x="3227388" y="2246313"/>
          <p14:tracePt t="20696" x="3238500" y="2246313"/>
          <p14:tracePt t="20697" x="3255963" y="2246313"/>
          <p14:tracePt t="20698" x="3275013" y="2241550"/>
          <p14:tracePt t="20699" x="3287713" y="2241550"/>
          <p14:tracePt t="20700" x="3303588" y="2241550"/>
          <p14:tracePt t="20702" x="3335338" y="2238375"/>
          <p14:tracePt t="20704" x="3363913" y="2238375"/>
          <p14:tracePt t="20706" x="3371850" y="2233613"/>
          <p14:tracePt t="20706" x="3382963" y="2233613"/>
          <p14:tracePt t="20707" x="3398838" y="2233613"/>
          <p14:tracePt t="20708" x="3419475" y="2225675"/>
          <p14:tracePt t="20709" x="3430588" y="2225675"/>
          <p14:tracePt t="20710" x="3440113" y="2225675"/>
          <p14:tracePt t="20711" x="3455988" y="2222500"/>
          <p14:tracePt t="20712" x="3463925" y="2222500"/>
          <p14:tracePt t="20713" x="3482975" y="2222500"/>
          <p14:tracePt t="20714" x="3490913" y="2222500"/>
          <p14:tracePt t="20715" x="3498850" y="2217738"/>
          <p14:tracePt t="20716" x="3511550" y="2217738"/>
          <p14:tracePt t="20717" x="3519488" y="2217738"/>
          <p14:tracePt t="20719" x="3540125" y="2217738"/>
          <p14:tracePt t="20720" x="3548063" y="2214563"/>
          <p14:tracePt t="20720" x="3556000" y="2214563"/>
          <p14:tracePt t="20721" x="3563938" y="2214563"/>
          <p14:tracePt t="20722" x="3579813" y="2214563"/>
          <p14:tracePt t="20723" x="3587750" y="2214563"/>
          <p14:tracePt t="20725" x="3595688" y="2209800"/>
          <p14:tracePt t="20725" x="3603625" y="2209800"/>
          <p14:tracePt t="20726" x="3611563" y="2209800"/>
          <p14:tracePt t="20727" x="3619500" y="2209800"/>
          <p14:tracePt t="20728" x="3627438" y="2209800"/>
          <p14:tracePt t="20729" x="3635375" y="2209800"/>
          <p14:tracePt t="20730" x="3643313" y="2209800"/>
          <p14:tracePt t="20731" x="3648075" y="2209800"/>
          <p14:tracePt t="20732" x="3656013" y="2206625"/>
          <p14:tracePt t="20733" x="3663950" y="2206625"/>
          <p14:tracePt t="20734" x="3671888" y="2206625"/>
          <p14:tracePt t="20735" x="3675063" y="2206625"/>
          <p14:tracePt t="20736" x="3683000" y="2206625"/>
          <p14:tracePt t="20737" x="3687763" y="2206625"/>
          <p14:tracePt t="20738" x="3695700" y="2206625"/>
          <p14:tracePt t="20740" x="3703638" y="2206625"/>
          <p14:tracePt t="20741" x="3708400" y="2206625"/>
          <p14:tracePt t="20742" x="3711575" y="2206625"/>
          <p14:tracePt t="20742" x="3719513" y="2206625"/>
          <p14:tracePt t="20744" x="3727450" y="2206625"/>
          <p14:tracePt t="20745" x="3732213" y="2206625"/>
          <p14:tracePt t="20746" x="3735388" y="2206625"/>
          <p14:tracePt t="20748" x="3740150" y="2206625"/>
          <p14:tracePt t="20749" x="3751263" y="2206625"/>
          <p14:tracePt t="20750" x="3756025" y="2206625"/>
          <p14:tracePt t="20752" x="3759200" y="2206625"/>
          <p14:tracePt t="20753" x="3763963" y="2206625"/>
          <p14:tracePt t="20753" x="3771900" y="2206625"/>
          <p14:tracePt t="20755" x="3775075" y="2206625"/>
          <p14:tracePt t="20756" x="3779838" y="2206625"/>
          <p14:tracePt t="20756" x="3783013" y="2206625"/>
          <p14:tracePt t="20757" x="3787775" y="2206625"/>
          <p14:tracePt t="20759" x="3790950" y="2206625"/>
          <p14:tracePt t="20760" x="3795713" y="2206625"/>
          <p14:tracePt t="20762" x="3800475" y="2206625"/>
          <p14:tracePt t="20763" x="3803650" y="2206625"/>
          <p14:tracePt t="20765" x="3808413" y="2206625"/>
          <p14:tracePt t="20765" x="3811588" y="2206625"/>
          <p14:tracePt t="20766" x="3816350" y="2206625"/>
          <p14:tracePt t="20769" x="3824288" y="2206625"/>
          <p14:tracePt t="20771" x="3827463" y="2206625"/>
          <p14:tracePt t="20772" x="3832225" y="2206625"/>
          <p14:tracePt t="20773" x="3835400" y="2206625"/>
          <p14:tracePt t="20775" x="3840163" y="2206625"/>
          <p14:tracePt t="20776" x="3843338" y="2206625"/>
          <p14:tracePt t="20777" x="3848100" y="2206625"/>
          <p14:tracePt t="20778" x="3851275" y="2206625"/>
          <p14:tracePt t="20780" x="3856038" y="2206625"/>
          <p14:tracePt t="20780" x="3859213" y="2206625"/>
          <p14:tracePt t="20781" x="3863975" y="2206625"/>
          <p14:tracePt t="20782" x="3867150" y="2206625"/>
          <p14:tracePt t="20783" x="3871913" y="2206625"/>
          <p14:tracePt t="20784" x="3875088" y="2206625"/>
          <p14:tracePt t="20787" x="3879850" y="2206625"/>
          <p14:tracePt t="20787" x="3884613" y="2206625"/>
          <p14:tracePt t="20789" x="3887788" y="2206625"/>
          <p14:tracePt t="20790" x="3892550" y="2206625"/>
          <p14:tracePt t="20791" x="3900488" y="2206625"/>
          <p14:tracePt t="20792" x="3903663" y="2206625"/>
          <p14:tracePt t="20792" x="3908425" y="2209800"/>
          <p14:tracePt t="20793" x="3911600" y="2209800"/>
          <p14:tracePt t="20794" x="3916363" y="2209800"/>
          <p14:tracePt t="20795" x="3919538" y="2209800"/>
          <p14:tracePt t="20797" x="3924300" y="2209800"/>
          <p14:tracePt t="20798" x="3932238" y="2209800"/>
          <p14:tracePt t="20799" x="3935413" y="2209800"/>
          <p14:tracePt t="20800" x="3940175" y="2209800"/>
          <p14:tracePt t="20802" x="3943350" y="2209800"/>
          <p14:tracePt t="20803" x="3948113" y="2214563"/>
          <p14:tracePt t="20803" x="3956050" y="2214563"/>
          <p14:tracePt t="20804" x="3959225" y="2214563"/>
          <p14:tracePt t="20805" x="3967163" y="2214563"/>
          <p14:tracePt t="20806" x="3971925" y="2214563"/>
          <p14:tracePt t="20807" x="3976688" y="2214563"/>
          <p14:tracePt t="20808" x="3979863" y="2214563"/>
          <p14:tracePt t="20809" x="3984625" y="2214563"/>
          <p14:tracePt t="20810" x="3987800" y="2214563"/>
          <p14:tracePt t="20811" x="3992563" y="2214563"/>
          <p14:tracePt t="20812" x="3995738" y="2214563"/>
          <p14:tracePt t="20813" x="4003675" y="2214563"/>
          <p14:tracePt t="20814" x="4008438" y="2214563"/>
          <p14:tracePt t="20815" x="4011613" y="2214563"/>
          <p14:tracePt t="20816" x="4019550" y="2214563"/>
          <p14:tracePt t="20817" x="4024313" y="2214563"/>
          <p14:tracePt t="20819" x="4032250" y="2214563"/>
          <p14:tracePt t="20820" x="4035425" y="2214563"/>
          <p14:tracePt t="20822" x="4043363" y="2214563"/>
          <p14:tracePt t="20823" x="4048125" y="2214563"/>
          <p14:tracePt t="20824" x="4051300" y="2214563"/>
          <p14:tracePt t="20825" x="4059238" y="2214563"/>
          <p14:tracePt t="20826" x="4068763" y="2214563"/>
          <p14:tracePt t="20827" x="4071938" y="2214563"/>
          <p14:tracePt t="20828" x="4079875" y="2214563"/>
          <p14:tracePt t="20829" x="4084638" y="2214563"/>
          <p14:tracePt t="20830" x="4087813" y="2214563"/>
          <p14:tracePt t="20831" x="4095750" y="2214563"/>
          <p14:tracePt t="20833" x="4100513" y="2214563"/>
          <p14:tracePt t="20834" x="4108450" y="2214563"/>
          <p14:tracePt t="20836" x="4111625" y="2214563"/>
          <p14:tracePt t="20837" x="4116388" y="2214563"/>
          <p14:tracePt t="20837" x="4119563" y="2214563"/>
          <p14:tracePt t="20838" x="4127500" y="2214563"/>
          <p14:tracePt t="20839" x="4132263" y="2214563"/>
          <p14:tracePt t="20840" x="4135438" y="2214563"/>
          <p14:tracePt t="20842" x="4140200" y="2214563"/>
          <p14:tracePt t="20843" x="4143375" y="2214563"/>
          <p14:tracePt t="20843" x="4148138" y="2214563"/>
          <p14:tracePt t="20845" x="4151313" y="2214563"/>
          <p14:tracePt t="20846" x="4156075" y="2214563"/>
          <p14:tracePt t="20847" x="4160838" y="2214563"/>
          <p14:tracePt t="20848" x="4168775" y="2214563"/>
          <p14:tracePt t="20850" x="4176713" y="2214563"/>
          <p14:tracePt t="20851" x="4179888" y="2214563"/>
          <p14:tracePt t="20853" x="4184650" y="2214563"/>
          <p14:tracePt t="20853" x="4187825" y="2214563"/>
          <p14:tracePt t="20855" x="4192588" y="2214563"/>
          <p14:tracePt t="20856" x="4195763" y="2214563"/>
          <p14:tracePt t="20857" x="4200525" y="2214563"/>
          <p14:tracePt t="20858" x="4203700" y="2214563"/>
          <p14:tracePt t="20859" x="4208463" y="2214563"/>
          <p14:tracePt t="20860" x="4211638" y="2214563"/>
          <p14:tracePt t="20861" x="4216400" y="2214563"/>
          <p14:tracePt t="20862" x="4219575" y="2214563"/>
          <p14:tracePt t="20863" x="4224338" y="2214563"/>
          <p14:tracePt t="20864" x="4227513" y="2214563"/>
          <p14:tracePt t="20865" x="4232275" y="2214563"/>
          <p14:tracePt t="20866" x="4235450" y="2214563"/>
          <p14:tracePt t="20867" x="4240213" y="2214563"/>
          <p14:tracePt t="20869" x="4243388" y="2214563"/>
          <p14:tracePt t="20871" x="4248150" y="2214563"/>
          <p14:tracePt t="20872" x="4252913" y="2214563"/>
          <p14:tracePt t="20873" x="4256088" y="2214563"/>
          <p14:tracePt t="20873" x="4260850" y="2214563"/>
          <p14:tracePt t="20874" x="4264025" y="2214563"/>
          <p14:tracePt t="20875" x="4268788" y="2214563"/>
          <p14:tracePt t="20876" x="4271963" y="2214563"/>
          <p14:tracePt t="20877" x="4276725" y="2214563"/>
          <p14:tracePt t="20878" x="4279900" y="2214563"/>
          <p14:tracePt t="20879" x="4284663" y="2214563"/>
          <p14:tracePt t="20882" x="4287838" y="2214563"/>
          <p14:tracePt t="20882" x="4292600" y="2214563"/>
          <p14:tracePt t="20883" x="4295775" y="2214563"/>
          <p14:tracePt t="20885" x="4300538" y="2214563"/>
          <p14:tracePt t="20886" x="4303713" y="2214563"/>
          <p14:tracePt t="20886" x="4308475" y="2214563"/>
          <p14:tracePt t="20888" x="4311650" y="2214563"/>
          <p14:tracePt t="20889" x="4319588" y="2214563"/>
          <p14:tracePt t="20891" x="4327525" y="2214563"/>
          <p14:tracePt t="20892" x="4332288" y="2214563"/>
          <p14:tracePt t="20893" x="4337050" y="2214563"/>
          <p14:tracePt t="20894" x="4340225" y="2209800"/>
          <p14:tracePt t="20903" x="4368800" y="2209800"/>
          <p14:tracePt t="20905" x="4371975" y="2209800"/>
          <p14:tracePt t="20906" x="4376738" y="2209800"/>
          <p14:tracePt t="20908" x="4379913" y="2209800"/>
          <p14:tracePt t="20911" x="4384675" y="2209800"/>
          <p14:tracePt t="20913" x="4387850" y="2209800"/>
          <p14:tracePt t="20915" x="4392613" y="2209800"/>
          <p14:tracePt t="20917" x="4395788" y="2209800"/>
          <p14:tracePt t="20921" x="4400550" y="2209800"/>
          <p14:tracePt t="20924" x="4400550" y="2206625"/>
          <p14:tracePt t="20929" x="4403725" y="2206625"/>
          <p14:tracePt t="20963" x="4403725" y="2201863"/>
          <p14:tracePt t="20987" x="4403725" y="2198688"/>
          <p14:tracePt t="21006" x="4403725" y="2193925"/>
          <p14:tracePt t="21016" x="4403725" y="2189163"/>
          <p14:tracePt t="21026" x="4400550" y="2189163"/>
          <p14:tracePt t="21027" x="4400550" y="2185988"/>
          <p14:tracePt t="21032" x="4395788" y="2185988"/>
          <p14:tracePt t="21033" x="4395788" y="2181225"/>
          <p14:tracePt t="21035" x="4392613" y="2181225"/>
          <p14:tracePt t="21039" x="4392613" y="2178050"/>
          <p14:tracePt t="21041" x="4387850" y="2178050"/>
          <p14:tracePt t="21044" x="4384675" y="2178050"/>
          <p14:tracePt t="21049" x="4384675" y="2173288"/>
          <p14:tracePt t="21051" x="4379913" y="2173288"/>
          <p14:tracePt t="21054" x="4376738" y="2170113"/>
          <p14:tracePt t="21055" x="4371975" y="2170113"/>
          <p14:tracePt t="21058" x="4368800" y="2165350"/>
          <p14:tracePt t="21062" x="4364038" y="2162175"/>
          <p14:tracePt t="21063" x="4360863" y="2162175"/>
          <p14:tracePt t="21064" x="4356100" y="2157413"/>
          <p14:tracePt t="21066" x="4352925" y="2157413"/>
          <p14:tracePt t="21067" x="4352925" y="2154238"/>
          <p14:tracePt t="21069" x="4348163" y="2154238"/>
          <p14:tracePt t="21071" x="4344988" y="2149475"/>
          <p14:tracePt t="21074" x="4340225" y="2149475"/>
          <p14:tracePt t="21074" x="4337050" y="2146300"/>
          <p14:tracePt t="21076" x="4332288" y="2146300"/>
          <p14:tracePt t="21078" x="4327525" y="2141538"/>
          <p14:tracePt t="21079" x="4324350" y="2141538"/>
          <p14:tracePt t="21080" x="4319588" y="2138363"/>
          <p14:tracePt t="21081" x="4316413" y="2138363"/>
          <p14:tracePt t="21082" x="4311650" y="2138363"/>
          <p14:tracePt t="21083" x="4308475" y="2138363"/>
          <p14:tracePt t="21084" x="4303713" y="2138363"/>
          <p14:tracePt t="21086" x="4303713" y="2133600"/>
          <p14:tracePt t="21087" x="4300538" y="2133600"/>
          <p14:tracePt t="21087" x="4300538" y="2130425"/>
          <p14:tracePt t="21088" x="4295775" y="2130425"/>
          <p14:tracePt t="21089" x="4292600" y="2125663"/>
          <p14:tracePt t="21090" x="4284663" y="2125663"/>
          <p14:tracePt t="21091" x="4279900" y="2122488"/>
          <p14:tracePt t="21092" x="4276725" y="2122488"/>
          <p14:tracePt t="21093" x="4271963" y="2122488"/>
          <p14:tracePt t="21094" x="4268788" y="2117725"/>
          <p14:tracePt t="21095" x="4264025" y="2117725"/>
          <p14:tracePt t="21096" x="4260850" y="2114550"/>
          <p14:tracePt t="21098" x="4256088" y="2114550"/>
          <p14:tracePt t="21099" x="4252913" y="2109788"/>
          <p14:tracePt t="21100" x="4248150" y="2109788"/>
          <p14:tracePt t="21102" x="4240213" y="2106613"/>
          <p14:tracePt t="21104" x="4235450" y="2101850"/>
          <p14:tracePt t="21104" x="4227513" y="2101850"/>
          <p14:tracePt t="21105" x="4224338" y="2101850"/>
          <p14:tracePt t="21107" x="4219575" y="2097088"/>
          <p14:tracePt t="21108" x="4211638" y="2097088"/>
          <p14:tracePt t="21108" x="4208463" y="2097088"/>
          <p14:tracePt t="21110" x="4203700" y="2097088"/>
          <p14:tracePt t="21111" x="4200525" y="2097088"/>
          <p14:tracePt t="21112" x="4195763" y="2093913"/>
          <p14:tracePt t="21113" x="4192588" y="2093913"/>
          <p14:tracePt t="21114" x="4184650" y="2093913"/>
          <p14:tracePt t="21115" x="4179888" y="2089150"/>
          <p14:tracePt t="21116" x="4176713" y="2089150"/>
          <p14:tracePt t="21117" x="4171950" y="2089150"/>
          <p14:tracePt t="21119" x="4168775" y="2085975"/>
          <p14:tracePt t="21119" x="4164013" y="2085975"/>
          <p14:tracePt t="21120" x="4156075" y="2085975"/>
          <p14:tracePt t="21121" x="4156075" y="2081213"/>
          <p14:tracePt t="21123" x="4151313" y="2081213"/>
          <p14:tracePt t="21124" x="4143375" y="2081213"/>
          <p14:tracePt t="21125" x="4140200" y="2078038"/>
          <p14:tracePt t="21126" x="4135438" y="2078038"/>
          <p14:tracePt t="21127" x="4132263" y="2078038"/>
          <p14:tracePt t="21128" x="4127500" y="2073275"/>
          <p14:tracePt t="21129" x="4124325" y="2073275"/>
          <p14:tracePt t="21130" x="4119563" y="2073275"/>
          <p14:tracePt t="21131" x="4116388" y="2073275"/>
          <p14:tracePt t="21133" x="4111625" y="2070100"/>
          <p14:tracePt t="21134" x="4108450" y="2070100"/>
          <p14:tracePt t="21137" x="4103688" y="2070100"/>
          <p14:tracePt t="21137" x="4100513" y="2070100"/>
          <p14:tracePt t="21139" x="4095750" y="2065338"/>
          <p14:tracePt t="21140" x="4092575" y="2065338"/>
          <p14:tracePt t="21140" x="4087813" y="2065338"/>
          <p14:tracePt t="21141" x="4084638" y="2065338"/>
          <p14:tracePt t="21142" x="4084638" y="2062163"/>
          <p14:tracePt t="21143" x="4079875" y="2062163"/>
          <p14:tracePt t="21144" x="4076700" y="2062163"/>
          <p14:tracePt t="21148" x="4071938" y="2062163"/>
          <p14:tracePt t="21149" x="4068763" y="2057400"/>
          <p14:tracePt t="21150" x="4059238" y="2057400"/>
          <p14:tracePt t="21153" x="4056063" y="2057400"/>
          <p14:tracePt t="21155" x="4051300" y="2057400"/>
          <p14:tracePt t="21157" x="4043363" y="2057400"/>
          <p14:tracePt t="21158" x="4040188" y="2057400"/>
          <p14:tracePt t="21159" x="4035425" y="2057400"/>
          <p14:tracePt t="21160" x="4032250" y="2057400"/>
          <p14:tracePt t="21161" x="4032250" y="2054225"/>
          <p14:tracePt t="21162" x="4027488" y="2054225"/>
          <p14:tracePt t="21166" x="4024313" y="2054225"/>
          <p14:tracePt t="21167" x="4019550" y="2054225"/>
          <p14:tracePt t="21169" x="4016375" y="2054225"/>
          <p14:tracePt t="21171" x="4011613" y="2054225"/>
          <p14:tracePt t="21172" x="4008438" y="2054225"/>
          <p14:tracePt t="21174" x="4003675" y="2054225"/>
          <p14:tracePt t="21176" x="4000500" y="2054225"/>
          <p14:tracePt t="21177" x="3995738" y="2054225"/>
          <p14:tracePt t="21178" x="3992563" y="2049463"/>
          <p14:tracePt t="21179" x="3987800" y="2049463"/>
          <p14:tracePt t="21182" x="3984625" y="2049463"/>
          <p14:tracePt t="21183" x="3979863" y="2049463"/>
          <p14:tracePt t="21185" x="3976688" y="2049463"/>
          <p14:tracePt t="21186" x="3971925" y="2049463"/>
          <p14:tracePt t="21188" x="3967163" y="2046288"/>
          <p14:tracePt t="21189" x="3963988" y="2046288"/>
          <p14:tracePt t="21189" x="3959225" y="2046288"/>
          <p14:tracePt t="21192" x="3956050" y="2046288"/>
          <p14:tracePt t="21192" x="3951288" y="2046288"/>
          <p14:tracePt t="21194" x="3948113" y="2046288"/>
          <p14:tracePt t="21197" x="3943350" y="2046288"/>
          <p14:tracePt t="21197" x="3940175" y="2046288"/>
          <p14:tracePt t="21199" x="3935413" y="2046288"/>
          <p14:tracePt t="21200" x="3932238" y="2046288"/>
          <p14:tracePt t="21202" x="3927475" y="2046288"/>
          <p14:tracePt t="21204" x="3924300" y="2046288"/>
          <p14:tracePt t="21204" x="3919538" y="2046288"/>
          <p14:tracePt t="21206" x="3916363" y="2046288"/>
          <p14:tracePt t="21208" x="3911600" y="2046288"/>
          <p14:tracePt t="21208" x="3908425" y="2046288"/>
          <p14:tracePt t="21212" x="3903663" y="2046288"/>
          <p14:tracePt t="21213" x="3900488" y="2046288"/>
          <p14:tracePt t="21213" x="3900488" y="2041525"/>
          <p14:tracePt t="21214" x="3895725" y="2041525"/>
          <p14:tracePt t="21215" x="3892550" y="2041525"/>
          <p14:tracePt t="21217" x="3887788" y="2041525"/>
          <p14:tracePt t="21219" x="3884613" y="2041525"/>
          <p14:tracePt t="21221" x="3879850" y="2041525"/>
          <p14:tracePt t="21222" x="3875088" y="2041525"/>
          <p14:tracePt t="21224" x="3871913" y="2041525"/>
          <p14:tracePt t="21224" x="3867150" y="2041525"/>
          <p14:tracePt t="21227" x="3863975" y="2041525"/>
          <p14:tracePt t="21230" x="3859213" y="2041525"/>
          <p14:tracePt t="21230" x="3856038" y="2041525"/>
          <p14:tracePt t="21232" x="3851275" y="2041525"/>
          <p14:tracePt t="21234" x="3848100" y="2041525"/>
          <p14:tracePt t="21236" x="3843338" y="2041525"/>
          <p14:tracePt t="21238" x="3840163" y="2041525"/>
          <p14:tracePt t="21238" x="3835400" y="2041525"/>
          <p14:tracePt t="21241" x="3832225" y="2041525"/>
          <p14:tracePt t="21242" x="3827463" y="2041525"/>
          <p14:tracePt t="21245" x="3824288" y="2041525"/>
          <p14:tracePt t="21247" x="3819525" y="2041525"/>
          <p14:tracePt t="21247" x="3816350" y="2041525"/>
          <p14:tracePt t="21249" x="3811588" y="2041525"/>
          <p14:tracePt t="21250" x="3808413" y="2041525"/>
          <p14:tracePt t="21252" x="3803650" y="2041525"/>
          <p14:tracePt t="21253" x="3800475" y="2041525"/>
          <p14:tracePt t="21254" x="3795713" y="2041525"/>
          <p14:tracePt t="21255" x="3790950" y="2041525"/>
          <p14:tracePt t="21257" x="3787775" y="2041525"/>
          <p14:tracePt t="21259" x="3783013" y="2041525"/>
          <p14:tracePt t="21260" x="3779838" y="2038350"/>
          <p14:tracePt t="21260" x="3775075" y="2038350"/>
          <p14:tracePt t="21261" x="3771900" y="2038350"/>
          <p14:tracePt t="21262" x="3767138" y="2038350"/>
          <p14:tracePt t="21263" x="3763963" y="2038350"/>
          <p14:tracePt t="21264" x="3759200" y="2038350"/>
          <p14:tracePt t="21265" x="3756025" y="2038350"/>
          <p14:tracePt t="21266" x="3748088" y="2038350"/>
          <p14:tracePt t="21267" x="3743325" y="2038350"/>
          <p14:tracePt t="21269" x="3740150" y="2038350"/>
          <p14:tracePt t="21271" x="3735388" y="2038350"/>
          <p14:tracePt t="21272" x="3727450" y="2038350"/>
          <p14:tracePt t="21273" x="3724275" y="2038350"/>
          <p14:tracePt t="21274" x="3719513" y="2038350"/>
          <p14:tracePt t="21275" x="3716338" y="2038350"/>
          <p14:tracePt t="21276" x="3708400" y="2033588"/>
          <p14:tracePt t="21277" x="3698875" y="2033588"/>
          <p14:tracePt t="21277" x="3695700" y="2033588"/>
          <p14:tracePt t="21278" x="3690938" y="2033588"/>
          <p14:tracePt t="21280" x="3683000" y="2033588"/>
          <p14:tracePt t="21280" x="3679825" y="2033588"/>
          <p14:tracePt t="21281" x="3671888" y="2033588"/>
          <p14:tracePt t="21282" x="3667125" y="2033588"/>
          <p14:tracePt t="21283" x="3663950" y="2033588"/>
          <p14:tracePt t="21284" x="3659188" y="2033588"/>
          <p14:tracePt t="21285" x="3651250" y="2033588"/>
          <p14:tracePt t="21286" x="3640138" y="2030413"/>
          <p14:tracePt t="21288" x="3632200" y="2030413"/>
          <p14:tracePt t="21290" x="3624263" y="2030413"/>
          <p14:tracePt t="21291" x="3619500" y="2030413"/>
          <p14:tracePt t="21292" x="3606800" y="2030413"/>
          <p14:tracePt t="21292" x="3603625" y="2030413"/>
          <p14:tracePt t="21293" x="3595688" y="2025650"/>
          <p14:tracePt t="21294" x="3587750" y="2025650"/>
          <p14:tracePt t="21295" x="3582988" y="2025650"/>
          <p14:tracePt t="21296" x="3571875" y="2025650"/>
          <p14:tracePt t="21297" x="3567113" y="2025650"/>
          <p14:tracePt t="21298" x="3559175" y="2025650"/>
          <p14:tracePt t="21299" x="3551238" y="2022475"/>
          <p14:tracePt t="21300" x="3543300" y="2022475"/>
          <p14:tracePt t="21302" x="3535363" y="2022475"/>
          <p14:tracePt t="21303" x="3524250" y="2022475"/>
          <p14:tracePt t="21303" x="3514725" y="2022475"/>
          <p14:tracePt t="21306" x="3506788" y="2017713"/>
          <p14:tracePt t="21307" x="3490913" y="2017713"/>
          <p14:tracePt t="21308" x="3482975" y="2017713"/>
          <p14:tracePt t="21308" x="3479800" y="2017713"/>
          <p14:tracePt t="21310" x="3471863" y="2017713"/>
          <p14:tracePt t="21311" x="3463925" y="2017713"/>
          <p14:tracePt t="21311" x="3451225" y="2014538"/>
          <p14:tracePt t="21312" x="3443288" y="2014538"/>
          <p14:tracePt t="21313" x="3435350" y="2014538"/>
          <p14:tracePt t="21314" x="3427413" y="2014538"/>
          <p14:tracePt t="21315" x="3414713" y="2014538"/>
          <p14:tracePt t="21316" x="3403600" y="2014538"/>
          <p14:tracePt t="21317" x="3395663" y="2009775"/>
          <p14:tracePt t="21319" x="3387725" y="2009775"/>
          <p14:tracePt t="21320" x="3379788" y="2009775"/>
          <p14:tracePt t="21321" x="3371850" y="2009775"/>
          <p14:tracePt t="21321" x="3363913" y="2009775"/>
          <p14:tracePt t="21322" x="3355975" y="2009775"/>
          <p14:tracePt t="21323" x="3343275" y="2001838"/>
          <p14:tracePt t="21324" x="3335338" y="2001838"/>
          <p14:tracePt t="21325" x="3327400" y="2001838"/>
          <p14:tracePt t="21327" x="3319463" y="2001838"/>
          <p14:tracePt t="21327" x="3311525" y="2001838"/>
          <p14:tracePt t="21328" x="3303588" y="2001838"/>
          <p14:tracePt t="21329" x="3295650" y="1997075"/>
          <p14:tracePt t="21330" x="3287713" y="1997075"/>
          <p14:tracePt t="21331" x="3275013" y="1997075"/>
          <p14:tracePt t="21332" x="3263900" y="1997075"/>
          <p14:tracePt t="21333" x="3255963" y="1993900"/>
          <p14:tracePt t="21334" x="3246438" y="1993900"/>
          <p14:tracePt t="21336" x="3238500" y="1993900"/>
          <p14:tracePt t="21337" x="3227388" y="1993900"/>
          <p14:tracePt t="21337" x="3219450" y="1993900"/>
          <p14:tracePt t="21338" x="3211513" y="1993900"/>
          <p14:tracePt t="21339" x="3203575" y="1989138"/>
          <p14:tracePt t="21341" x="3190875" y="1989138"/>
          <p14:tracePt t="21342" x="3182938" y="1989138"/>
          <p14:tracePt t="21342" x="3171825" y="1989138"/>
          <p14:tracePt t="21343" x="3163888" y="1989138"/>
          <p14:tracePt t="21344" x="3154363" y="1989138"/>
          <p14:tracePt t="21345" x="3146425" y="1989138"/>
          <p14:tracePt t="21346" x="3130550" y="1989138"/>
          <p14:tracePt t="21347" x="3122613" y="1989138"/>
          <p14:tracePt t="21349" x="3114675" y="1989138"/>
          <p14:tracePt t="21349" x="3106738" y="1989138"/>
          <p14:tracePt t="21350" x="3098800" y="1989138"/>
          <p14:tracePt t="21352" x="3087688" y="1985963"/>
          <p14:tracePt t="21353" x="3071813" y="1985963"/>
          <p14:tracePt t="21355" x="3062288" y="1985963"/>
          <p14:tracePt t="21355" x="3054350" y="1985963"/>
          <p14:tracePt t="21356" x="3038475" y="1985963"/>
          <p14:tracePt t="21358" x="3030538" y="1985963"/>
          <p14:tracePt t="21358" x="3022600" y="1985963"/>
          <p14:tracePt t="21359" x="3014663" y="1985963"/>
          <p14:tracePt t="21360" x="3006725" y="1985963"/>
          <p14:tracePt t="21361" x="2998788" y="1985963"/>
          <p14:tracePt t="21362" x="2982913" y="1985963"/>
          <p14:tracePt t="21363" x="2974975" y="1985963"/>
          <p14:tracePt t="21364" x="2967038" y="1985963"/>
          <p14:tracePt t="21365" x="2959100" y="1985963"/>
          <p14:tracePt t="21366" x="2946400" y="1985963"/>
          <p14:tracePt t="21367" x="2938463" y="1985963"/>
          <p14:tracePt t="21369" x="2930525" y="1985963"/>
          <p14:tracePt t="21370" x="2922588" y="1985963"/>
          <p14:tracePt t="21370" x="2914650" y="1985963"/>
          <p14:tracePt t="21372" x="2911475" y="1985963"/>
          <p14:tracePt t="21373" x="2898775" y="1985963"/>
          <p14:tracePt t="21373" x="2890838" y="1985963"/>
          <p14:tracePt t="21374" x="2882900" y="1985963"/>
          <p14:tracePt t="21375" x="2874963" y="1985963"/>
          <p14:tracePt t="21376" x="2867025" y="1985963"/>
          <p14:tracePt t="21377" x="2862263" y="1985963"/>
          <p14:tracePt t="21378" x="2854325" y="1985963"/>
          <p14:tracePt t="21379" x="2846388" y="1985963"/>
          <p14:tracePt t="21380" x="2843213" y="1985963"/>
          <p14:tracePt t="21381" x="2835275" y="1985963"/>
          <p14:tracePt t="21382" x="2827338" y="1985963"/>
          <p14:tracePt t="21383" x="2819400" y="1985963"/>
          <p14:tracePt t="21384" x="2814638" y="1985963"/>
          <p14:tracePt t="21386" x="2806700" y="1985963"/>
          <p14:tracePt t="21386" x="2803525" y="1985963"/>
          <p14:tracePt t="21387" x="2794000" y="1985963"/>
          <p14:tracePt t="21388" x="2790825" y="1985963"/>
          <p14:tracePt t="21389" x="2782888" y="1985963"/>
          <p14:tracePt t="21390" x="2778125" y="1985963"/>
          <p14:tracePt t="21391" x="2774950" y="1985963"/>
          <p14:tracePt t="21392" x="2767013" y="1985963"/>
          <p14:tracePt t="21393" x="2762250" y="1985963"/>
          <p14:tracePt t="21394" x="2762250" y="1989138"/>
          <p14:tracePt t="21395" x="2759075" y="1989138"/>
          <p14:tracePt t="21396" x="2751138" y="1989138"/>
          <p14:tracePt t="21397" x="2746375" y="1989138"/>
          <p14:tracePt t="21398" x="2743200" y="1989138"/>
          <p14:tracePt t="21399" x="2738438" y="1989138"/>
          <p14:tracePt t="21400" x="2738438" y="1993900"/>
          <p14:tracePt t="21401" x="2735263" y="1993900"/>
          <p14:tracePt t="21403" x="2730500" y="1993900"/>
          <p14:tracePt t="21403" x="2727325" y="1993900"/>
          <p14:tracePt t="21405" x="2719388" y="1993900"/>
          <p14:tracePt t="21406" x="2714625" y="1997075"/>
          <p14:tracePt t="21409" x="2711450" y="1997075"/>
          <p14:tracePt t="21410" x="2706688" y="1997075"/>
          <p14:tracePt t="21412" x="2701925" y="1997075"/>
          <p14:tracePt t="21413" x="2701925" y="2001838"/>
          <p14:tracePt t="21414" x="2698750" y="2001838"/>
          <p14:tracePt t="21416" x="2693988" y="2001838"/>
          <p14:tracePt t="21419" x="2690813" y="2001838"/>
          <p14:tracePt t="21421" x="2686050" y="2001838"/>
          <p14:tracePt t="21422" x="2686050" y="2005013"/>
          <p14:tracePt t="21423" x="2682875" y="2005013"/>
          <p14:tracePt t="21425" x="2678113" y="2005013"/>
          <p14:tracePt t="21473" x="2678113" y="2009775"/>
          <p14:tracePt t="21491" x="2678113" y="2014538"/>
          <p14:tracePt t="21495" x="2678113" y="2017713"/>
          <p14:tracePt t="21497" x="2682875" y="2017713"/>
          <p14:tracePt t="21499" x="2686050" y="2022475"/>
          <p14:tracePt t="21499" x="2686050" y="2025650"/>
          <p14:tracePt t="21500" x="2690813" y="2025650"/>
          <p14:tracePt t="21502" x="2690813" y="2030413"/>
          <p14:tracePt t="21503" x="2693988" y="2030413"/>
          <p14:tracePt t="21503" x="2698750" y="2033588"/>
          <p14:tracePt t="21505" x="2701925" y="2033588"/>
          <p14:tracePt t="21507" x="2706688" y="2038350"/>
          <p14:tracePt t="21509" x="2711450" y="2041525"/>
          <p14:tracePt t="21511" x="2714625" y="2046288"/>
          <p14:tracePt t="21512" x="2719388" y="2046288"/>
          <p14:tracePt t="21513" x="2722563" y="2046288"/>
          <p14:tracePt t="21514" x="2730500" y="2049463"/>
          <p14:tracePt t="21515" x="2735263" y="2049463"/>
          <p14:tracePt t="21516" x="2738438" y="2054225"/>
          <p14:tracePt t="21517" x="2743200" y="2057400"/>
          <p14:tracePt t="21519" x="2746375" y="2057400"/>
          <p14:tracePt t="21520" x="2751138" y="2062163"/>
          <p14:tracePt t="21521" x="2754313" y="2062163"/>
          <p14:tracePt t="21522" x="2762250" y="2065338"/>
          <p14:tracePt t="21523" x="2762250" y="2070100"/>
          <p14:tracePt t="21524" x="2767013" y="2070100"/>
          <p14:tracePt t="21525" x="2770188" y="2073275"/>
          <p14:tracePt t="21526" x="2774950" y="2073275"/>
          <p14:tracePt t="21527" x="2778125" y="2078038"/>
          <p14:tracePt t="21528" x="2786063" y="2078038"/>
          <p14:tracePt t="21529" x="2790825" y="2081213"/>
          <p14:tracePt t="21531" x="2803525" y="2085975"/>
          <p14:tracePt t="21531" x="2806700" y="2085975"/>
          <p14:tracePt t="21532" x="2814638" y="2089150"/>
          <p14:tracePt t="21533" x="2819400" y="2089150"/>
          <p14:tracePt t="21534" x="2822575" y="2093913"/>
          <p14:tracePt t="21535" x="2827338" y="2093913"/>
          <p14:tracePt t="21537" x="2830513" y="2097088"/>
          <p14:tracePt t="21538" x="2838450" y="2097088"/>
          <p14:tracePt t="21538" x="2843213" y="2097088"/>
          <p14:tracePt t="21540" x="2846388" y="2097088"/>
          <p14:tracePt t="21541" x="2851150" y="2101850"/>
          <p14:tracePt t="21541" x="2859088" y="2101850"/>
          <p14:tracePt t="21542" x="2867025" y="2106613"/>
          <p14:tracePt t="21544" x="2870200" y="2106613"/>
          <p14:tracePt t="21545" x="2874963" y="2109788"/>
          <p14:tracePt t="21545" x="2882900" y="2109788"/>
          <p14:tracePt t="21546" x="2886075" y="2109788"/>
          <p14:tracePt t="21547" x="2895600" y="2114550"/>
          <p14:tracePt t="21548" x="2898775" y="2114550"/>
          <p14:tracePt t="21549" x="2906713" y="2117725"/>
          <p14:tracePt t="21550" x="2911475" y="2117725"/>
          <p14:tracePt t="21552" x="2914650" y="2122488"/>
          <p14:tracePt t="21553" x="2922588" y="2122488"/>
          <p14:tracePt t="21555" x="2930525" y="2125663"/>
          <p14:tracePt t="21556" x="2935288" y="2125663"/>
          <p14:tracePt t="21557" x="2938463" y="2125663"/>
          <p14:tracePt t="21558" x="2946400" y="2125663"/>
          <p14:tracePt t="21558" x="2951163" y="2130425"/>
          <p14:tracePt t="21559" x="2954338" y="2130425"/>
          <p14:tracePt t="21560" x="2959100" y="2130425"/>
          <p14:tracePt t="21561" x="2962275" y="2130425"/>
          <p14:tracePt t="21562" x="2970213" y="2133600"/>
          <p14:tracePt t="21563" x="2974975" y="2133600"/>
          <p14:tracePt t="21564" x="2978150" y="2133600"/>
          <p14:tracePt t="21565" x="2987675" y="2138363"/>
          <p14:tracePt t="21566" x="2990850" y="2138363"/>
          <p14:tracePt t="21569" x="2995613" y="2138363"/>
          <p14:tracePt t="21570" x="2998788" y="2141538"/>
          <p14:tracePt t="21571" x="3003550" y="2141538"/>
          <p14:tracePt t="21572" x="3006725" y="2141538"/>
          <p14:tracePt t="21572" x="3014663" y="2141538"/>
          <p14:tracePt t="21573" x="3019425" y="2141538"/>
          <p14:tracePt t="21574" x="3022600" y="2141538"/>
          <p14:tracePt t="21576" x="3027363" y="2141538"/>
          <p14:tracePt t="21577" x="3030538" y="2141538"/>
          <p14:tracePt t="21578" x="3035300" y="2141538"/>
          <p14:tracePt t="21579" x="3038475" y="2141538"/>
          <p14:tracePt t="21581" x="3043238" y="2141538"/>
          <p14:tracePt t="21582" x="3046413" y="2141538"/>
          <p14:tracePt t="21583" x="3051175" y="2141538"/>
          <p14:tracePt t="21584" x="3051175" y="2146300"/>
          <p14:tracePt t="21585" x="3054350" y="2146300"/>
          <p14:tracePt t="21587" x="3059113" y="2146300"/>
          <p14:tracePt t="21587" x="3062288" y="2146300"/>
          <p14:tracePt t="21588" x="3067050" y="2146300"/>
          <p14:tracePt t="21590" x="3071813" y="2146300"/>
          <p14:tracePt t="21591" x="3074988" y="2146300"/>
          <p14:tracePt t="21593" x="3079750" y="2146300"/>
          <p14:tracePt t="21595" x="3082925" y="2146300"/>
          <p14:tracePt t="21597" x="3087688" y="2146300"/>
          <p14:tracePt t="21599" x="3090863" y="2146300"/>
          <p14:tracePt t="21601" x="3095625" y="2146300"/>
          <p14:tracePt t="21602" x="3098800" y="2146300"/>
          <p14:tracePt t="21605" x="3103563" y="2146300"/>
          <p14:tracePt t="21606" x="3106738" y="2146300"/>
          <p14:tracePt t="21608" x="3111500" y="2146300"/>
          <p14:tracePt t="21610" x="3114675" y="2146300"/>
          <p14:tracePt t="21612" x="3119438" y="2146300"/>
          <p14:tracePt t="21616" x="3122613" y="2146300"/>
          <p14:tracePt t="21618" x="3127375" y="2146300"/>
          <p14:tracePt t="21620" x="3130550" y="2146300"/>
          <p14:tracePt t="21622" x="3135313" y="2146300"/>
          <p14:tracePt t="21623" x="3138488" y="2146300"/>
          <p14:tracePt t="21625" x="3143250" y="2146300"/>
          <p14:tracePt t="21628" x="3146425" y="2146300"/>
          <p14:tracePt t="21628" x="3151188" y="2146300"/>
          <p14:tracePt t="21629" x="3154363" y="2146300"/>
          <p14:tracePt t="21631" x="3159125" y="2146300"/>
          <p14:tracePt t="21634" x="3163888" y="2146300"/>
          <p14:tracePt t="21636" x="3167063" y="2146300"/>
          <p14:tracePt t="21636" x="3171825" y="2146300"/>
          <p14:tracePt t="21638" x="3175000" y="2141538"/>
          <p14:tracePt t="21640" x="3179763" y="2141538"/>
          <p14:tracePt t="21640" x="3182938" y="2141538"/>
          <p14:tracePt t="21641" x="3187700" y="2141538"/>
          <p14:tracePt t="21642" x="3190875" y="2141538"/>
          <p14:tracePt t="21643" x="3195638" y="2141538"/>
          <p14:tracePt t="21644" x="3198813" y="2141538"/>
          <p14:tracePt t="21646" x="3203575" y="2141538"/>
          <p14:tracePt t="21647" x="3206750" y="2138363"/>
          <p14:tracePt t="21648" x="3211513" y="2138363"/>
          <p14:tracePt t="21649" x="3214688" y="2138363"/>
          <p14:tracePt t="21650" x="3219450" y="2138363"/>
          <p14:tracePt t="21653" x="3230563" y="2138363"/>
          <p14:tracePt t="21654" x="3235325" y="2138363"/>
          <p14:tracePt t="21655" x="3238500" y="2138363"/>
          <p14:tracePt t="21655" x="3243263" y="2133600"/>
          <p14:tracePt t="21657" x="3246438" y="2133600"/>
          <p14:tracePt t="21657" x="3251200" y="2133600"/>
          <p14:tracePt t="21658" x="3255963" y="2133600"/>
          <p14:tracePt t="21659" x="3263900" y="2133600"/>
          <p14:tracePt t="21660" x="3267075" y="2130425"/>
          <p14:tracePt t="21661" x="3271838" y="2130425"/>
          <p14:tracePt t="21662" x="3275013" y="2130425"/>
          <p14:tracePt t="21663" x="3282950" y="2130425"/>
          <p14:tracePt t="21664" x="3290888" y="2130425"/>
          <p14:tracePt t="21665" x="3295650" y="2130425"/>
          <p14:tracePt t="21666" x="3303588" y="2125663"/>
          <p14:tracePt t="21667" x="3306763" y="2125663"/>
          <p14:tracePt t="21669" x="3314700" y="2125663"/>
          <p14:tracePt t="21670" x="3319463" y="2125663"/>
          <p14:tracePt t="21671" x="3327400" y="2125663"/>
          <p14:tracePt t="21671" x="3330575" y="2125663"/>
          <p14:tracePt t="21672" x="3338513" y="2122488"/>
          <p14:tracePt t="21673" x="3348038" y="2122488"/>
          <p14:tracePt t="21674" x="3355975" y="2122488"/>
          <p14:tracePt t="21675" x="3359150" y="2122488"/>
          <p14:tracePt t="21677" x="3367088" y="2122488"/>
          <p14:tracePt t="21678" x="3379788" y="2117725"/>
          <p14:tracePt t="21679" x="3387725" y="2117725"/>
          <p14:tracePt t="21680" x="3395663" y="2117725"/>
          <p14:tracePt t="21681" x="3398838" y="2117725"/>
          <p14:tracePt t="21682" x="3406775" y="2114550"/>
          <p14:tracePt t="21683" x="3414713" y="2114550"/>
          <p14:tracePt t="21685" x="3419475" y="2114550"/>
          <p14:tracePt t="21686" x="3422650" y="2114550"/>
          <p14:tracePt t="21687" x="3440113" y="2109788"/>
          <p14:tracePt t="21689" x="3451225" y="2109788"/>
          <p14:tracePt t="21689" x="3455988" y="2109788"/>
          <p14:tracePt t="21691" x="3459163" y="2109788"/>
          <p14:tracePt t="21691" x="3471863" y="2109788"/>
          <p14:tracePt t="21692" x="3479800" y="2109788"/>
          <p14:tracePt t="21693" x="3479800" y="2106613"/>
          <p14:tracePt t="21694" x="3495675" y="2106613"/>
          <p14:tracePt t="21696" x="3503613" y="2106613"/>
          <p14:tracePt t="21697" x="3514725" y="2101850"/>
          <p14:tracePt t="21698" x="3524250" y="2101850"/>
          <p14:tracePt t="21699" x="3532188" y="2101850"/>
          <p14:tracePt t="21701" x="3535363" y="2101850"/>
          <p14:tracePt t="21703" x="3551238" y="2101850"/>
          <p14:tracePt t="21704" x="3563938" y="2097088"/>
          <p14:tracePt t="21704" x="3571875" y="2097088"/>
          <p14:tracePt t="21705" x="3575050" y="2097088"/>
          <p14:tracePt t="21707" x="3582988" y="2097088"/>
          <p14:tracePt t="21707" x="3590925" y="2097088"/>
          <p14:tracePt t="21709" x="3598863" y="2097088"/>
          <p14:tracePt t="21709" x="3606800" y="2097088"/>
          <p14:tracePt t="21710" x="3616325" y="2093913"/>
          <p14:tracePt t="21711" x="3624263" y="2093913"/>
          <p14:tracePt t="21712" x="3632200" y="2093913"/>
          <p14:tracePt t="21713" x="3640138" y="2093913"/>
          <p14:tracePt t="21714" x="3648075" y="2093913"/>
          <p14:tracePt t="21715" x="3659188" y="2093913"/>
          <p14:tracePt t="21716" x="3667125" y="2089150"/>
          <p14:tracePt t="21718" x="3675063" y="2089150"/>
          <p14:tracePt t="21719" x="3690938" y="2089150"/>
          <p14:tracePt t="21720" x="3698875" y="2089150"/>
          <p14:tracePt t="21722" x="3703638" y="2089150"/>
          <p14:tracePt t="21722" x="3711575" y="2089150"/>
          <p14:tracePt t="21723" x="3719513" y="2085975"/>
          <p14:tracePt t="21724" x="3727450" y="2085975"/>
          <p14:tracePt t="21726" x="3735388" y="2085975"/>
          <p14:tracePt t="21726" x="3740150" y="2085975"/>
          <p14:tracePt t="21727" x="3748088" y="2085975"/>
          <p14:tracePt t="21728" x="3756025" y="2085975"/>
          <p14:tracePt t="21729" x="3759200" y="2085975"/>
          <p14:tracePt t="21730" x="3767138" y="2085975"/>
          <p14:tracePt t="21731" x="3775075" y="2085975"/>
          <p14:tracePt t="21733" x="3779838" y="2085975"/>
          <p14:tracePt t="21733" x="3787775" y="2085975"/>
          <p14:tracePt t="21734" x="3795713" y="2081213"/>
          <p14:tracePt t="21735" x="3800475" y="2081213"/>
          <p14:tracePt t="21737" x="3803650" y="2081213"/>
          <p14:tracePt t="21737" x="3811588" y="2081213"/>
          <p14:tracePt t="21738" x="3819525" y="2081213"/>
          <p14:tracePt t="21739" x="3824288" y="2081213"/>
          <p14:tracePt t="21741" x="3827463" y="2081213"/>
          <p14:tracePt t="21742" x="3832225" y="2081213"/>
          <p14:tracePt t="21743" x="3840163" y="2081213"/>
          <p14:tracePt t="21744" x="3843338" y="2081213"/>
          <p14:tracePt t="21745" x="3848100" y="2081213"/>
          <p14:tracePt t="21746" x="3856038" y="2081213"/>
          <p14:tracePt t="21747" x="3859213" y="2081213"/>
          <p14:tracePt t="21749" x="3863975" y="2081213"/>
          <p14:tracePt t="21749" x="3867150" y="2078038"/>
          <p14:tracePt t="21750" x="3875088" y="2078038"/>
          <p14:tracePt t="21751" x="3879850" y="2078038"/>
          <p14:tracePt t="21753" x="3884613" y="2078038"/>
          <p14:tracePt t="21754" x="3887788" y="2078038"/>
          <p14:tracePt t="21755" x="3892550" y="2078038"/>
          <p14:tracePt t="21756" x="3900488" y="2078038"/>
          <p14:tracePt t="21757" x="3903663" y="2078038"/>
          <p14:tracePt t="21759" x="3908425" y="2078038"/>
          <p14:tracePt t="21759" x="3911600" y="2078038"/>
          <p14:tracePt t="21760" x="3916363" y="2078038"/>
          <p14:tracePt t="21761" x="3919538" y="2078038"/>
          <p14:tracePt t="21762" x="3924300" y="2078038"/>
          <p14:tracePt t="21764" x="3927475" y="2078038"/>
          <p14:tracePt t="21764" x="3932238" y="2078038"/>
          <p14:tracePt t="21765" x="3935413" y="2078038"/>
          <p14:tracePt t="21766" x="3940175" y="2078038"/>
          <p14:tracePt t="21767" x="3943350" y="2078038"/>
          <p14:tracePt t="21769" x="3948113" y="2078038"/>
          <p14:tracePt t="21769" x="3951288" y="2078038"/>
          <p14:tracePt t="21771" x="3956050" y="2078038"/>
          <p14:tracePt t="21771" x="3963988" y="2078038"/>
          <p14:tracePt t="21772" x="3967163" y="2078038"/>
          <p14:tracePt t="21773" x="3971925" y="2078038"/>
          <p14:tracePt t="21774" x="3976688" y="2078038"/>
          <p14:tracePt t="21775" x="3979863" y="2078038"/>
          <p14:tracePt t="21776" x="3984625" y="2078038"/>
          <p14:tracePt t="21777" x="3987800" y="2078038"/>
          <p14:tracePt t="21778" x="3995738" y="2078038"/>
          <p14:tracePt t="21780" x="4000500" y="2078038"/>
          <p14:tracePt t="21780" x="4003675" y="2078038"/>
          <p14:tracePt t="21781" x="4008438" y="2078038"/>
          <p14:tracePt t="21782" x="4011613" y="2078038"/>
          <p14:tracePt t="21783" x="4016375" y="2078038"/>
          <p14:tracePt t="21784" x="4024313" y="2078038"/>
          <p14:tracePt t="21785" x="4027488" y="2078038"/>
          <p14:tracePt t="21786" x="4032250" y="2078038"/>
          <p14:tracePt t="21788" x="4035425" y="2078038"/>
          <p14:tracePt t="21790" x="4040188" y="2078038"/>
          <p14:tracePt t="21790" x="4043363" y="2078038"/>
          <p14:tracePt t="21791" x="4051300" y="2078038"/>
          <p14:tracePt t="21792" x="4056063" y="2078038"/>
          <p14:tracePt t="21793" x="4059238" y="2078038"/>
          <p14:tracePt t="21794" x="4064000" y="2078038"/>
          <p14:tracePt t="21796" x="4068763" y="2078038"/>
          <p14:tracePt t="21796" x="4071938" y="2078038"/>
          <p14:tracePt t="21797" x="4079875" y="2078038"/>
          <p14:tracePt t="21798" x="4084638" y="2078038"/>
          <p14:tracePt t="21800" x="4087813" y="2073275"/>
          <p14:tracePt t="21801" x="4092575" y="2073275"/>
          <p14:tracePt t="21803" x="4095750" y="2073275"/>
          <p14:tracePt t="21803" x="4100513" y="2073275"/>
          <p14:tracePt t="21805" x="4103688" y="2073275"/>
          <p14:tracePt t="21805" x="4111625" y="2073275"/>
          <p14:tracePt t="21807" x="4116388" y="2073275"/>
          <p14:tracePt t="21808" x="4119563" y="2073275"/>
          <p14:tracePt t="21809" x="4124325" y="2073275"/>
          <p14:tracePt t="21809" x="4127500" y="2073275"/>
          <p14:tracePt t="21811" x="4132263" y="2073275"/>
          <p14:tracePt t="21812" x="4135438" y="2073275"/>
          <p14:tracePt t="21814" x="4140200" y="2073275"/>
          <p14:tracePt t="21815" x="4143375" y="2073275"/>
          <p14:tracePt t="21816" x="4148138" y="2073275"/>
          <p14:tracePt t="21817" x="4151313" y="2073275"/>
          <p14:tracePt t="21819" x="4156075" y="2073275"/>
          <p14:tracePt t="21819" x="4160838" y="2073275"/>
          <p14:tracePt t="21821" x="4164013" y="2073275"/>
          <p14:tracePt t="21822" x="4168775" y="2073275"/>
          <p14:tracePt t="21824" x="4171950" y="2073275"/>
          <p14:tracePt t="21826" x="4176713" y="2073275"/>
          <p14:tracePt t="21827" x="4179888" y="2073275"/>
          <p14:tracePt t="21829" x="4184650" y="2073275"/>
          <p14:tracePt t="21830" x="4187825" y="2073275"/>
          <p14:tracePt t="21832" x="4192588" y="2073275"/>
          <p14:tracePt t="21833" x="4192588" y="2070100"/>
          <p14:tracePt t="21834" x="4195763" y="2070100"/>
          <p14:tracePt t="21838" x="4200525" y="2070100"/>
          <p14:tracePt t="21839" x="4203700" y="2070100"/>
          <p14:tracePt t="21841" x="4208463" y="2070100"/>
          <p14:tracePt t="21847" x="4211638" y="2070100"/>
          <p14:tracePt t="21854" x="4216400" y="2070100"/>
          <p14:tracePt t="21860" x="4219575" y="2070100"/>
          <p14:tracePt t="21871" x="4224338" y="2070100"/>
          <p14:tracePt t="21979" x="4219575" y="2070100"/>
          <p14:tracePt t="21985" x="4216400" y="2070100"/>
          <p14:tracePt t="21987" x="4211638" y="2070100"/>
          <p14:tracePt t="21990" x="4208463" y="2070100"/>
          <p14:tracePt t="21992" x="4203700" y="2070100"/>
          <p14:tracePt t="21993" x="4200525" y="2070100"/>
          <p14:tracePt t="21995" x="4195763" y="2070100"/>
          <p14:tracePt t="21996" x="4192588" y="2070100"/>
          <p14:tracePt t="21997" x="4187825" y="2070100"/>
          <p14:tracePt t="22000" x="4176713" y="2070100"/>
          <p14:tracePt t="22001" x="4171950" y="2070100"/>
          <p14:tracePt t="22003" x="4168775" y="2070100"/>
          <p14:tracePt t="22003" x="4164013" y="2070100"/>
          <p14:tracePt t="22005" x="4160838" y="2070100"/>
          <p14:tracePt t="22005" x="4156075" y="2070100"/>
          <p14:tracePt t="22007" x="4148138" y="2070100"/>
          <p14:tracePt t="22008" x="4143375" y="2070100"/>
          <p14:tracePt t="22009" x="4140200" y="2070100"/>
          <p14:tracePt t="22010" x="4135438" y="2070100"/>
          <p14:tracePt t="22011" x="4127500" y="2070100"/>
          <p14:tracePt t="22012" x="4119563" y="2070100"/>
          <p14:tracePt t="22013" x="4116388" y="2070100"/>
          <p14:tracePt t="22015" x="4108450" y="2070100"/>
          <p14:tracePt t="22016" x="4095750" y="2070100"/>
          <p14:tracePt t="22017" x="4087813" y="2070100"/>
          <p14:tracePt t="22019" x="4084638" y="2070100"/>
          <p14:tracePt t="22019" x="4076700" y="2070100"/>
          <p14:tracePt t="22020" x="4068763" y="2070100"/>
          <p14:tracePt t="22022" x="4059238" y="2070100"/>
          <p14:tracePt t="22023" x="4056063" y="2070100"/>
          <p14:tracePt t="22024" x="4048125" y="2070100"/>
          <p14:tracePt t="22024" x="4040188" y="2070100"/>
          <p14:tracePt t="22025" x="4024313" y="2070100"/>
          <p14:tracePt t="22026" x="4016375" y="2070100"/>
          <p14:tracePt t="22027" x="4008438" y="2070100"/>
          <p14:tracePt t="22028" x="4000500" y="2070100"/>
          <p14:tracePt t="22030" x="3992563" y="2070100"/>
          <p14:tracePt t="22031" x="3984625" y="2070100"/>
          <p14:tracePt t="22031" x="3976688" y="2070100"/>
          <p14:tracePt t="22032" x="3967163" y="2070100"/>
          <p14:tracePt t="22033" x="3959225" y="2070100"/>
          <p14:tracePt t="22034" x="3951288" y="2070100"/>
          <p14:tracePt t="22036" x="3943350" y="2070100"/>
          <p14:tracePt t="22037" x="3935413" y="2070100"/>
          <p14:tracePt t="22037" x="3927475" y="2070100"/>
          <p14:tracePt t="22038" x="3919538" y="2070100"/>
          <p14:tracePt t="22039" x="3911600" y="2070100"/>
          <p14:tracePt t="22040" x="3895725" y="2070100"/>
          <p14:tracePt t="22041" x="3887788" y="2070100"/>
          <p14:tracePt t="22042" x="3879850" y="2070100"/>
          <p14:tracePt t="22043" x="3871913" y="2070100"/>
          <p14:tracePt t="22044" x="3863975" y="2070100"/>
          <p14:tracePt t="22046" x="3856038" y="2070100"/>
          <p14:tracePt t="22046" x="3843338" y="2070100"/>
          <p14:tracePt t="22047" x="3835400" y="2070100"/>
          <p14:tracePt t="22048" x="3827463" y="2070100"/>
          <p14:tracePt t="22049" x="3819525" y="2070100"/>
          <p14:tracePt t="22050" x="3803650" y="2070100"/>
          <p14:tracePt t="22052" x="3787775" y="2070100"/>
          <p14:tracePt t="22053" x="3779838" y="2070100"/>
          <p14:tracePt t="22054" x="3771900" y="2070100"/>
          <p14:tracePt t="22056" x="3763963" y="2070100"/>
          <p14:tracePt t="22056" x="3748088" y="2070100"/>
          <p14:tracePt t="22057" x="3740150" y="2070100"/>
          <p14:tracePt t="22058" x="3732213" y="2070100"/>
          <p14:tracePt t="22059" x="3724275" y="2070100"/>
          <p14:tracePt t="22060" x="3711575" y="2070100"/>
          <p14:tracePt t="22061" x="3703638" y="2070100"/>
          <p14:tracePt t="22062" x="3695700" y="2070100"/>
          <p14:tracePt t="22063" x="3687763" y="2070100"/>
          <p14:tracePt t="22064" x="3679825" y="2070100"/>
          <p14:tracePt t="22065" x="3663950" y="2073275"/>
          <p14:tracePt t="22066" x="3656013" y="2073275"/>
          <p14:tracePt t="22067" x="3648075" y="2073275"/>
          <p14:tracePt t="22069" x="3640138" y="2073275"/>
          <p14:tracePt t="22069" x="3632200" y="2073275"/>
          <p14:tracePt t="22071" x="3616325" y="2073275"/>
          <p14:tracePt t="22072" x="3606800" y="2073275"/>
          <p14:tracePt t="22073" x="3590925" y="2073275"/>
          <p14:tracePt t="22074" x="3582988" y="2078038"/>
          <p14:tracePt t="22075" x="3575050" y="2078038"/>
          <p14:tracePt t="22076" x="3567113" y="2078038"/>
          <p14:tracePt t="22077" x="3559175" y="2078038"/>
          <p14:tracePt t="22078" x="3551238" y="2078038"/>
          <p14:tracePt t="22079" x="3543300" y="2078038"/>
          <p14:tracePt t="22080" x="3535363" y="2078038"/>
          <p14:tracePt t="22081" x="3527425" y="2078038"/>
          <p14:tracePt t="22082" x="3524250" y="2078038"/>
          <p14:tracePt t="22083" x="3514725" y="2078038"/>
          <p14:tracePt t="22084" x="3506788" y="2078038"/>
          <p14:tracePt t="22086" x="3503613" y="2078038"/>
          <p14:tracePt t="22102" x="3398838" y="2085975"/>
          <p14:tracePt t="22105" x="3390900" y="2085975"/>
          <p14:tracePt t="22106" x="3387725" y="2085975"/>
          <p14:tracePt t="22106" x="3379788" y="2085975"/>
          <p14:tracePt t="22108" x="3375025" y="2085975"/>
          <p14:tracePt t="22108" x="3371850" y="2085975"/>
          <p14:tracePt t="22109" x="3367088" y="2085975"/>
          <p14:tracePt t="22110" x="3359150" y="2085975"/>
          <p14:tracePt t="22111" x="3355975" y="2085975"/>
          <p14:tracePt t="22112" x="3355975" y="2089150"/>
          <p14:tracePt t="22113" x="3351213" y="2089150"/>
          <p14:tracePt t="22114" x="3348038" y="2089150"/>
          <p14:tracePt t="22115" x="3338513" y="2089150"/>
          <p14:tracePt t="22116" x="3335338" y="2089150"/>
          <p14:tracePt t="22117" x="3330575" y="2089150"/>
          <p14:tracePt t="22119" x="3327400" y="2089150"/>
          <p14:tracePt t="22120" x="3319463" y="2089150"/>
          <p14:tracePt t="22120" x="3314700" y="2089150"/>
          <p14:tracePt t="22122" x="3311525" y="2089150"/>
          <p14:tracePt t="22123" x="3298825" y="2093913"/>
          <p14:tracePt t="22124" x="3295650" y="2093913"/>
          <p14:tracePt t="22126" x="3290888" y="2093913"/>
          <p14:tracePt t="22127" x="3287713" y="2093913"/>
          <p14:tracePt t="22128" x="3282950" y="2097088"/>
          <p14:tracePt t="22129" x="3275013" y="2097088"/>
          <p14:tracePt t="22130" x="3271838" y="2097088"/>
          <p14:tracePt t="22131" x="3267075" y="2097088"/>
          <p14:tracePt t="22132" x="3263900" y="2097088"/>
          <p14:tracePt t="22133" x="3259138" y="2097088"/>
          <p14:tracePt t="22134" x="3251200" y="2097088"/>
          <p14:tracePt t="22135" x="3246438" y="2097088"/>
          <p14:tracePt t="22137" x="3243263" y="2097088"/>
          <p14:tracePt t="22140" x="3230563" y="2101850"/>
          <p14:tracePt t="22141" x="3227388" y="2101850"/>
          <p14:tracePt t="22141" x="3222625" y="2101850"/>
          <p14:tracePt t="22143" x="3219450" y="2101850"/>
          <p14:tracePt t="22143" x="3214688" y="2101850"/>
          <p14:tracePt t="22144" x="3211513" y="2101850"/>
          <p14:tracePt t="22145" x="3206750" y="2106613"/>
          <p14:tracePt t="22146" x="3198813" y="2106613"/>
          <p14:tracePt t="22147" x="3195638" y="2106613"/>
          <p14:tracePt t="22148" x="3190875" y="2106613"/>
          <p14:tracePt t="22151" x="3187700" y="2106613"/>
          <p14:tracePt t="22152" x="3182938" y="2106613"/>
          <p14:tracePt t="22153" x="3175000" y="2106613"/>
          <p14:tracePt t="22157" x="3163888" y="2109788"/>
          <p14:tracePt t="22157" x="3159125" y="2109788"/>
          <p14:tracePt t="22158" x="3154363" y="2109788"/>
          <p14:tracePt t="22160" x="3151188" y="2109788"/>
          <p14:tracePt t="22162" x="3146425" y="2109788"/>
          <p14:tracePt t="22163" x="3146425" y="2114550"/>
          <p14:tracePt t="22164" x="3143250" y="2114550"/>
          <p14:tracePt t="22165" x="3138488" y="2114550"/>
          <p14:tracePt t="22166" x="3135313" y="2114550"/>
          <p14:tracePt t="22169" x="3130550" y="2114550"/>
          <p14:tracePt t="22171" x="3127375" y="2114550"/>
          <p14:tracePt t="22173" x="3122613" y="2114550"/>
          <p14:tracePt t="22174" x="3119438" y="2114550"/>
          <p14:tracePt t="22177" x="3114675" y="2114550"/>
          <p14:tracePt t="22179" x="3111500" y="2114550"/>
          <p14:tracePt t="22183" x="3106738" y="2114550"/>
          <p14:tracePt t="22185" x="3106738" y="2117725"/>
          <p14:tracePt t="22196" x="3103563" y="2117725"/>
          <p14:tracePt t="22224" x="3103563" y="2122488"/>
          <p14:tracePt t="22263" x="3103563" y="2125663"/>
          <p14:tracePt t="22290" x="3103563" y="2130425"/>
          <p14:tracePt t="22339" x="3103563" y="2133600"/>
          <p14:tracePt t="22340" x="3106738" y="2133600"/>
          <p14:tracePt t="22345" x="3111500" y="2138363"/>
          <p14:tracePt t="22348" x="3114675" y="2138363"/>
          <p14:tracePt t="22353" x="3119438" y="2141538"/>
          <p14:tracePt t="22357" x="3122613" y="2141538"/>
          <p14:tracePt t="22359" x="3127375" y="2141538"/>
          <p14:tracePt t="22360" x="3127375" y="2146300"/>
          <p14:tracePt t="22365" x="3130550" y="2146300"/>
          <p14:tracePt t="22369" x="3135313" y="2146300"/>
          <p14:tracePt t="22370" x="3135313" y="2149475"/>
          <p14:tracePt t="22378" x="3138488" y="2149475"/>
          <p14:tracePt t="22543" x="3138488" y="2154238"/>
          <p14:tracePt t="22553" x="3135313" y="2157413"/>
          <p14:tracePt t="22561" x="3130550" y="2157413"/>
          <p14:tracePt t="22630" x="3130550" y="2162175"/>
          <p14:tracePt t="22633" x="3135313" y="2162175"/>
          <p14:tracePt t="22635" x="3138488" y="2162175"/>
          <p14:tracePt t="22636" x="3143250" y="2165350"/>
          <p14:tracePt t="22638" x="3146425" y="2165350"/>
          <p14:tracePt t="22640" x="3146425" y="2170113"/>
          <p14:tracePt t="22641" x="3151188" y="2170113"/>
          <p14:tracePt t="22641" x="3154363" y="2173288"/>
          <p14:tracePt t="22642" x="3159125" y="2173288"/>
          <p14:tracePt t="22643" x="3163888" y="2173288"/>
          <p14:tracePt t="22644" x="3167063" y="2173288"/>
          <p14:tracePt t="22645" x="3171825" y="2173288"/>
          <p14:tracePt t="22647" x="3175000" y="2178050"/>
          <p14:tracePt t="22647" x="3179763" y="2178050"/>
          <p14:tracePt t="22648" x="3187700" y="2178050"/>
          <p14:tracePt t="22649" x="3190875" y="2181225"/>
          <p14:tracePt t="22651" x="3195638" y="2185988"/>
          <p14:tracePt t="22653" x="3203575" y="2185988"/>
          <p14:tracePt t="22654" x="3214688" y="2189163"/>
          <p14:tracePt t="22656" x="3222625" y="2193925"/>
          <p14:tracePt t="22657" x="3227388" y="2193925"/>
          <p14:tracePt t="22658" x="3235325" y="2198688"/>
          <p14:tracePt t="22659" x="3243263" y="2198688"/>
          <p14:tracePt t="22659" x="3251200" y="2198688"/>
          <p14:tracePt t="22660" x="3255963" y="2201863"/>
          <p14:tracePt t="22661" x="3263900" y="2201863"/>
          <p14:tracePt t="22663" x="3267075" y="2201863"/>
          <p14:tracePt t="22663" x="3275013" y="2206625"/>
          <p14:tracePt t="22664" x="3282950" y="2206625"/>
          <p14:tracePt t="22665" x="3290888" y="2206625"/>
          <p14:tracePt t="22666" x="3298825" y="2206625"/>
          <p14:tracePt t="22667" x="3306763" y="2206625"/>
          <p14:tracePt t="22669" x="3314700" y="2209800"/>
          <p14:tracePt t="22671" x="3335338" y="2209800"/>
          <p14:tracePt t="22671" x="3343275" y="2214563"/>
          <p14:tracePt t="22673" x="3351213" y="2214563"/>
          <p14:tracePt t="22674" x="3359150" y="2214563"/>
          <p14:tracePt t="22674" x="3371850" y="2214563"/>
          <p14:tracePt t="22675" x="3379788" y="2217738"/>
          <p14:tracePt t="22676" x="3390900" y="2217738"/>
          <p14:tracePt t="22677" x="3398838" y="2217738"/>
          <p14:tracePt t="22678" x="3406775" y="2217738"/>
          <p14:tracePt t="22679" x="3414713" y="2217738"/>
          <p14:tracePt t="22680" x="3422650" y="2217738"/>
          <p14:tracePt t="22681" x="3430588" y="2222500"/>
          <p14:tracePt t="22682" x="3440113" y="2222500"/>
          <p14:tracePt t="22683" x="3448050" y="2222500"/>
          <p14:tracePt t="22684" x="3459163" y="2222500"/>
          <p14:tracePt t="22685" x="3463925" y="2222500"/>
          <p14:tracePt t="22687" x="3471863" y="2222500"/>
          <p14:tracePt t="22688" x="3479800" y="2222500"/>
          <p14:tracePt t="22689" x="3487738" y="2222500"/>
          <p14:tracePt t="22690" x="3503613" y="2222500"/>
          <p14:tracePt t="22691" x="3506788" y="2222500"/>
          <p14:tracePt t="22691" x="3514725" y="2222500"/>
          <p14:tracePt t="22693" x="3524250" y="2222500"/>
          <p14:tracePt t="22693" x="3532188" y="2222500"/>
          <p14:tracePt t="22695" x="3540125" y="2222500"/>
          <p14:tracePt t="22695" x="3548063" y="2222500"/>
          <p14:tracePt t="22696" x="3551238" y="2222500"/>
          <p14:tracePt t="22698" x="3559175" y="2222500"/>
          <p14:tracePt t="22698" x="3567113" y="2222500"/>
          <p14:tracePt t="22700" x="3575050" y="2222500"/>
          <p14:tracePt t="22701" x="3579813" y="2222500"/>
          <p14:tracePt t="22702" x="3595688" y="2222500"/>
          <p14:tracePt t="22703" x="3598863" y="2222500"/>
          <p14:tracePt t="22704" x="3606800" y="2225675"/>
          <p14:tracePt t="22705" x="3616325" y="2225675"/>
          <p14:tracePt t="22707" x="3619500" y="2225675"/>
          <p14:tracePt t="22708" x="3627438" y="2225675"/>
          <p14:tracePt t="22709" x="3632200" y="2225675"/>
          <p14:tracePt t="22710" x="3635375" y="2225675"/>
          <p14:tracePt t="22711" x="3643313" y="2225675"/>
          <p14:tracePt t="22712" x="3648075" y="2225675"/>
          <p14:tracePt t="22713" x="3651250" y="2225675"/>
          <p14:tracePt t="22714" x="3656013" y="2225675"/>
          <p14:tracePt t="22715" x="3659188" y="2225675"/>
          <p14:tracePt t="22716" x="3663950" y="2225675"/>
          <p14:tracePt t="22717" x="3667125" y="2225675"/>
          <p14:tracePt t="22720" x="3671888" y="2225675"/>
          <p14:tracePt t="22720" x="3675063" y="2225675"/>
          <p14:tracePt t="22721" x="3679825" y="2225675"/>
          <p14:tracePt t="22723" x="3683000" y="2225675"/>
          <p14:tracePt t="22724" x="3687763" y="2225675"/>
          <p14:tracePt t="22727" x="3690938" y="2225675"/>
          <p14:tracePt t="22728" x="3695700" y="2225675"/>
          <p14:tracePt t="22730" x="3698875" y="2225675"/>
          <p14:tracePt t="22732" x="3703638" y="2225675"/>
          <p14:tracePt t="22734" x="3708400" y="2225675"/>
          <p14:tracePt t="22742" x="3711575" y="2225675"/>
          <p14:tracePt t="22749" x="3716338" y="2225675"/>
          <p14:tracePt t="22754" x="3719513" y="2225675"/>
          <p14:tracePt t="22757" x="3724275" y="2225675"/>
          <p14:tracePt t="22765" x="3727450" y="2225675"/>
          <p14:tracePt t="22778" x="3732213" y="2225675"/>
          <p14:tracePt t="22780" x="3735388" y="2225675"/>
          <p14:tracePt t="22784" x="3740150" y="2225675"/>
          <p14:tracePt t="22788" x="3743325" y="2225675"/>
          <p14:tracePt t="22791" x="3748088" y="2225675"/>
          <p14:tracePt t="22796" x="3751263" y="2225675"/>
          <p14:tracePt t="22798" x="3756025" y="2225675"/>
          <p14:tracePt t="22801" x="3759200" y="2225675"/>
          <p14:tracePt t="22805" x="3763963" y="2225675"/>
          <p14:tracePt t="22808" x="3767138" y="2225675"/>
          <p14:tracePt t="22813" x="3771900" y="2225675"/>
          <p14:tracePt t="22819" x="3775075" y="2225675"/>
          <p14:tracePt t="22878" x="3779838" y="2225675"/>
          <p14:tracePt t="22885" x="3783013" y="2225675"/>
          <p14:tracePt t="22890" x="3787775" y="2225675"/>
          <p14:tracePt t="22892" x="3790950" y="2225675"/>
          <p14:tracePt t="22893" x="3790950" y="2222500"/>
          <p14:tracePt t="22893" x="3795713" y="2222500"/>
          <p14:tracePt t="22895" x="3800475" y="2222500"/>
          <p14:tracePt t="22897" x="3803650" y="2222500"/>
          <p14:tracePt t="22898" x="3808413" y="2222500"/>
          <p14:tracePt t="22900" x="3811588" y="2222500"/>
          <p14:tracePt t="22900" x="3816350" y="2217738"/>
          <p14:tracePt t="22901" x="3819525" y="2217738"/>
          <p14:tracePt t="22904" x="3824288" y="2217738"/>
          <p14:tracePt t="22905" x="3827463" y="2217738"/>
          <p14:tracePt t="22907" x="3832225" y="2217738"/>
          <p14:tracePt t="22908" x="3835400" y="2217738"/>
          <p14:tracePt t="22908" x="3840163" y="2217738"/>
          <p14:tracePt t="22910" x="3843338" y="2217738"/>
          <p14:tracePt t="22911" x="3848100" y="2217738"/>
          <p14:tracePt t="22912" x="3851275" y="2217738"/>
          <p14:tracePt t="22914" x="3856038" y="2214563"/>
          <p14:tracePt t="22914" x="3859213" y="2214563"/>
          <p14:tracePt t="22915" x="3863975" y="2214563"/>
          <p14:tracePt t="22916" x="3867150" y="2214563"/>
          <p14:tracePt t="22918" x="3871913" y="2214563"/>
          <p14:tracePt t="22920" x="3875088" y="2214563"/>
          <p14:tracePt t="22921" x="3884613" y="2214563"/>
          <p14:tracePt t="22922" x="3887788" y="2214563"/>
          <p14:tracePt t="22924" x="3892550" y="2214563"/>
          <p14:tracePt t="22925" x="3895725" y="2214563"/>
          <p14:tracePt t="22926" x="3900488" y="2214563"/>
          <p14:tracePt t="22926" x="3903663" y="2209800"/>
          <p14:tracePt t="22927" x="3908425" y="2209800"/>
          <p14:tracePt t="22928" x="3911600" y="2209800"/>
          <p14:tracePt t="22930" x="3916363" y="2209800"/>
          <p14:tracePt t="22932" x="3919538" y="2209800"/>
          <p14:tracePt t="22932" x="3924300" y="2209800"/>
          <p14:tracePt t="22933" x="3927475" y="2209800"/>
          <p14:tracePt t="22935" x="3932238" y="2209800"/>
          <p14:tracePt t="22936" x="3935413" y="2209800"/>
          <p14:tracePt t="22937" x="3940175" y="2209800"/>
          <p14:tracePt t="22937" x="3943350" y="2209800"/>
          <p14:tracePt t="22938" x="3948113" y="2209800"/>
          <p14:tracePt t="22939" x="3951288" y="2209800"/>
          <p14:tracePt t="22941" x="3956050" y="2206625"/>
          <p14:tracePt t="22942" x="3959225" y="2206625"/>
          <p14:tracePt t="22943" x="3963988" y="2206625"/>
          <p14:tracePt t="22945" x="3967163" y="2206625"/>
          <p14:tracePt t="22948" x="3971925" y="2206625"/>
          <p14:tracePt t="22948" x="3976688" y="2206625"/>
          <p14:tracePt t="22949" x="3979863" y="2206625"/>
          <p14:tracePt t="22951" x="3984625" y="2206625"/>
          <p14:tracePt t="22954" x="3987800" y="2206625"/>
          <p14:tracePt t="22956" x="3992563" y="2206625"/>
          <p14:tracePt t="22958" x="3995738" y="2206625"/>
          <p14:tracePt t="22962" x="4000500" y="2206625"/>
          <p14:tracePt t="22966" x="4003675" y="2206625"/>
          <p14:tracePt t="23081" x="4000500" y="2206625"/>
          <p14:tracePt t="23089" x="3995738" y="2206625"/>
          <p14:tracePt t="23095" x="3992563" y="2206625"/>
          <p14:tracePt t="23098" x="3987800" y="2206625"/>
          <p14:tracePt t="23103" x="3984625" y="2206625"/>
          <p14:tracePt t="23106" x="3979863" y="2206625"/>
          <p14:tracePt t="23110" x="3976688" y="2206625"/>
          <p14:tracePt t="23112" x="3971925" y="2206625"/>
          <p14:tracePt t="23115" x="3967163" y="2209800"/>
          <p14:tracePt t="23117" x="3963988" y="2209800"/>
          <p14:tracePt t="23120" x="3959225" y="2209800"/>
          <p14:tracePt t="23127" x="3951288" y="2214563"/>
          <p14:tracePt t="23128" x="3948113" y="2214563"/>
          <p14:tracePt t="23129" x="3943350" y="2214563"/>
          <p14:tracePt t="23132" x="3940175" y="2214563"/>
          <p14:tracePt t="23134" x="3935413" y="2214563"/>
          <p14:tracePt t="23135" x="3932238" y="2214563"/>
          <p14:tracePt t="23137" x="3927475" y="2214563"/>
          <p14:tracePt t="23138" x="3924300" y="2217738"/>
          <p14:tracePt t="23141" x="3919538" y="2217738"/>
          <p14:tracePt t="23145" x="3916363" y="2217738"/>
          <p14:tracePt t="23147" x="3911600" y="2217738"/>
          <p14:tracePt t="23150" x="3908425" y="2217738"/>
          <p14:tracePt t="23153" x="3903663" y="2217738"/>
          <p14:tracePt t="23260" x="3908425" y="2217738"/>
          <p14:tracePt t="23263" x="3911600" y="2217738"/>
          <p14:tracePt t="23266" x="3916363" y="2217738"/>
          <p14:tracePt t="23269" x="3924300" y="2217738"/>
          <p14:tracePt t="23270" x="3932238" y="2217738"/>
          <p14:tracePt t="23273" x="3948113" y="2217738"/>
          <p14:tracePt t="23275" x="3951288" y="2217738"/>
          <p14:tracePt t="23276" x="3959225" y="2222500"/>
          <p14:tracePt t="23279" x="3971925" y="2222500"/>
          <p14:tracePt t="23283" x="3992563" y="2222500"/>
          <p14:tracePt t="23285" x="4003675" y="2222500"/>
          <p14:tracePt t="23286" x="4008438" y="2222500"/>
          <p14:tracePt t="23289" x="4032250" y="2222500"/>
          <p14:tracePt t="23291" x="4043363" y="2222500"/>
          <p14:tracePt t="23293" x="4059238" y="2222500"/>
          <p14:tracePt t="23295" x="4068763" y="2222500"/>
          <p14:tracePt t="23295" x="4076700" y="2222500"/>
          <p14:tracePt t="23296" x="4079875" y="2222500"/>
          <p14:tracePt t="23297" x="4087813" y="2222500"/>
          <p14:tracePt t="23298" x="4103688" y="2222500"/>
          <p14:tracePt t="23299" x="4108450" y="2222500"/>
          <p14:tracePt t="23300" x="4116388" y="2222500"/>
          <p14:tracePt t="23302" x="4124325" y="2222500"/>
          <p14:tracePt t="23303" x="4140200" y="2222500"/>
          <p14:tracePt t="23305" x="4148138" y="2222500"/>
          <p14:tracePt t="23306" x="4156075" y="2222500"/>
          <p14:tracePt t="23307" x="4164013" y="2222500"/>
          <p14:tracePt t="23308" x="4171950" y="2222500"/>
          <p14:tracePt t="23309" x="4184650" y="2222500"/>
          <p14:tracePt t="23310" x="4187825" y="2222500"/>
          <p14:tracePt t="23311" x="4195763" y="2222500"/>
          <p14:tracePt t="23311" x="4203700" y="2222500"/>
          <p14:tracePt t="23312" x="4219575" y="2222500"/>
          <p14:tracePt t="23313" x="4224338" y="2222500"/>
          <p14:tracePt t="23314" x="4232275" y="2222500"/>
          <p14:tracePt t="23315" x="4240213" y="2222500"/>
          <p14:tracePt t="23317" x="4248150" y="2222500"/>
          <p14:tracePt t="23317" x="4256088" y="2222500"/>
          <p14:tracePt t="23319" x="4271963" y="2222500"/>
          <p14:tracePt t="23320" x="4279900" y="2222500"/>
          <p14:tracePt t="23321" x="4284663" y="2222500"/>
          <p14:tracePt t="23322" x="4292600" y="2222500"/>
          <p14:tracePt t="23324" x="4300538" y="2222500"/>
          <p14:tracePt t="23324" x="4308475" y="2222500"/>
          <p14:tracePt t="23325" x="4316413" y="2222500"/>
          <p14:tracePt t="23327" x="4319588" y="2222500"/>
          <p14:tracePt t="23328" x="4327525" y="2222500"/>
          <p14:tracePt t="23329" x="4337050" y="2222500"/>
          <p14:tracePt t="23330" x="4344988" y="2222500"/>
          <p14:tracePt t="23330" x="4348163" y="2222500"/>
          <p14:tracePt t="23331" x="4356100" y="2222500"/>
          <p14:tracePt t="23332" x="4364038" y="2222500"/>
          <p14:tracePt t="23333" x="4368800" y="2222500"/>
          <p14:tracePt t="23334" x="4371975" y="2222500"/>
          <p14:tracePt t="23336" x="4376738" y="2222500"/>
          <p14:tracePt t="23336" x="4379913" y="2222500"/>
          <p14:tracePt t="23337" x="4387850" y="2222500"/>
          <p14:tracePt t="23338" x="4392613" y="2222500"/>
          <p14:tracePt t="23339" x="4400550" y="2222500"/>
          <p14:tracePt t="23340" x="4403725" y="2222500"/>
          <p14:tracePt t="23341" x="4408488" y="2222500"/>
          <p14:tracePt t="23342" x="4411663" y="2222500"/>
          <p14:tracePt t="23343" x="4416425" y="2222500"/>
          <p14:tracePt t="23344" x="4419600" y="2222500"/>
          <p14:tracePt t="23345" x="4424363" y="2222500"/>
          <p14:tracePt t="23346" x="4429125" y="2222500"/>
          <p14:tracePt t="23348" x="4432300" y="2222500"/>
          <p14:tracePt t="23350" x="4437063" y="2222500"/>
          <p14:tracePt t="23352" x="4445000" y="2222500"/>
          <p14:tracePt t="23355" x="4448175" y="2222500"/>
          <p14:tracePt t="23358" x="4452938" y="2222500"/>
          <p14:tracePt t="23359" x="4456113" y="2222500"/>
          <p14:tracePt t="23363" x="4460875" y="2222500"/>
          <p14:tracePt t="23365" x="4460875" y="2217738"/>
          <p14:tracePt t="23367" x="4464050" y="2217738"/>
          <p14:tracePt t="23371" x="4468813" y="2217738"/>
          <p14:tracePt t="23384" x="4471988" y="2217738"/>
          <p14:tracePt t="23389" x="4476750" y="2217738"/>
          <p14:tracePt t="23391" x="4479925" y="2217738"/>
          <p14:tracePt t="23394" x="4484688" y="2217738"/>
          <p14:tracePt t="23394" x="4484688" y="2214563"/>
          <p14:tracePt t="23395" x="4487863" y="2214563"/>
          <p14:tracePt t="23398" x="4492625" y="2214563"/>
          <p14:tracePt t="23400" x="4495800" y="2214563"/>
          <p14:tracePt t="23401" x="4500563" y="2214563"/>
          <p14:tracePt t="23402" x="4503738" y="2214563"/>
          <p14:tracePt t="23404" x="4508500" y="2209800"/>
          <p14:tracePt t="23406" x="4511675" y="2209800"/>
          <p14:tracePt t="23406" x="4516438" y="2209800"/>
          <p14:tracePt t="23407" x="4521200" y="2209800"/>
          <p14:tracePt t="23408" x="4524375" y="2209800"/>
          <p14:tracePt t="23409" x="4529138" y="2209800"/>
          <p14:tracePt t="23410" x="4532313" y="2206625"/>
          <p14:tracePt t="23411" x="4540250" y="2206625"/>
          <p14:tracePt t="23412" x="4545013" y="2206625"/>
          <p14:tracePt t="23413" x="4548188" y="2206625"/>
          <p14:tracePt t="23414" x="4556125" y="2206625"/>
          <p14:tracePt t="23415" x="4560888" y="2206625"/>
          <p14:tracePt t="23417" x="4568825" y="2201863"/>
          <p14:tracePt t="23419" x="4576763" y="2201863"/>
          <p14:tracePt t="23421" x="4587875" y="2201863"/>
          <p14:tracePt t="23422" x="4592638" y="2201863"/>
          <p14:tracePt t="23423" x="4600575" y="2201863"/>
          <p14:tracePt t="23423" x="4608513" y="2198688"/>
          <p14:tracePt t="23424" x="4613275" y="2198688"/>
          <p14:tracePt t="23425" x="4621213" y="2198688"/>
          <p14:tracePt t="23426" x="4629150" y="2198688"/>
          <p14:tracePt t="23427" x="4632325" y="2193925"/>
          <p14:tracePt t="23428" x="4645025" y="2193925"/>
          <p14:tracePt t="23429" x="4652963" y="2193925"/>
          <p14:tracePt t="23430" x="4660900" y="2193925"/>
          <p14:tracePt t="23431" x="4668838" y="2193925"/>
          <p14:tracePt t="23432" x="4672013" y="2189163"/>
          <p14:tracePt t="23433" x="4684713" y="2189163"/>
          <p14:tracePt t="23434" x="4692650" y="2189163"/>
          <p14:tracePt t="23436" x="4700588" y="2189163"/>
          <p14:tracePt t="23437" x="4713288" y="2185988"/>
          <p14:tracePt t="23438" x="4721225" y="2185988"/>
          <p14:tracePt t="23438" x="4732338" y="2185988"/>
          <p14:tracePt t="23439" x="4740275" y="2185988"/>
          <p14:tracePt t="23441" x="4748213" y="2181225"/>
          <p14:tracePt t="23442" x="4756150" y="2181225"/>
          <p14:tracePt t="23442" x="4764088" y="2181225"/>
          <p14:tracePt t="23443" x="4779963" y="2181225"/>
          <p14:tracePt t="23444" x="4789488" y="2181225"/>
          <p14:tracePt t="23445" x="4797425" y="2178050"/>
          <p14:tracePt t="23446" x="4805363" y="2178050"/>
          <p14:tracePt t="23447" x="4813300" y="2178050"/>
          <p14:tracePt t="23448" x="4829175" y="2178050"/>
          <p14:tracePt t="23449" x="4837113" y="2173288"/>
          <p14:tracePt t="23450" x="4845050" y="2173288"/>
          <p14:tracePt t="23452" x="4852988" y="2173288"/>
          <p14:tracePt t="23453" x="4864100" y="2173288"/>
          <p14:tracePt t="23455" x="4889500" y="2173288"/>
          <p14:tracePt t="23455" x="4897438" y="2170113"/>
          <p14:tracePt t="23457" x="4908550" y="2170113"/>
          <p14:tracePt t="23457" x="4916488" y="2170113"/>
          <p14:tracePt t="23458" x="4932363" y="2170113"/>
          <p14:tracePt t="23460" x="4945063" y="2170113"/>
          <p14:tracePt t="23460" x="4953000" y="2170113"/>
          <p14:tracePt t="23461" x="4960938" y="2162175"/>
          <p14:tracePt t="23462" x="4976813" y="2162175"/>
          <p14:tracePt t="23463" x="4984750" y="2162175"/>
          <p14:tracePt t="23464" x="4997450" y="2162175"/>
          <p14:tracePt t="23465" x="5013325" y="2162175"/>
          <p14:tracePt t="23466" x="5021263" y="2162175"/>
          <p14:tracePt t="23468" x="5029200" y="2157413"/>
          <p14:tracePt t="23469" x="5048250" y="2157413"/>
          <p14:tracePt t="23470" x="5056188" y="2157413"/>
          <p14:tracePt t="23471" x="5068888" y="2157413"/>
          <p14:tracePt t="23471" x="5076825" y="2157413"/>
          <p14:tracePt t="23472" x="5084763" y="2157413"/>
          <p14:tracePt t="23473" x="5105400" y="2157413"/>
          <p14:tracePt t="23474" x="5113338" y="2157413"/>
          <p14:tracePt t="23475" x="5129213" y="2154238"/>
          <p14:tracePt t="23477" x="5137150" y="2154238"/>
          <p14:tracePt t="23477" x="5145088" y="2154238"/>
          <p14:tracePt t="23478" x="5157788" y="2154238"/>
          <p14:tracePt t="23479" x="5173663" y="2149475"/>
          <p14:tracePt t="23480" x="5181600" y="2149475"/>
          <p14:tracePt t="23481" x="5189538" y="2149475"/>
          <p14:tracePt t="23483" x="5197475" y="2149475"/>
          <p14:tracePt t="23483" x="5205413" y="2149475"/>
          <p14:tracePt t="23484" x="5216525" y="2149475"/>
          <p14:tracePt t="23486" x="5224463" y="2149475"/>
          <p14:tracePt t="23487" x="5232400" y="2149475"/>
          <p14:tracePt t="23488" x="5245100" y="2146300"/>
          <p14:tracePt t="23489" x="5257800" y="2146300"/>
          <p14:tracePt t="23489" x="5265738" y="2146300"/>
          <p14:tracePt t="23490" x="5273675" y="2146300"/>
          <p14:tracePt t="23491" x="5281613" y="2146300"/>
          <p14:tracePt t="23492" x="5289550" y="2146300"/>
          <p14:tracePt t="23493" x="5297488" y="2141538"/>
          <p14:tracePt t="23494" x="5305425" y="2141538"/>
          <p14:tracePt t="23495" x="5316538" y="2141538"/>
          <p14:tracePt t="23496" x="5324475" y="2141538"/>
          <p14:tracePt t="23498" x="5341938" y="2141538"/>
          <p14:tracePt t="23500" x="5349875" y="2138363"/>
          <p14:tracePt t="23501" x="5353050" y="2138363"/>
          <p14:tracePt t="23503" x="5360988" y="2138363"/>
          <p14:tracePt t="23504" x="5365750" y="2138363"/>
          <p14:tracePt t="23505" x="5373688" y="2138363"/>
          <p14:tracePt t="23506" x="5376863" y="2138363"/>
          <p14:tracePt t="23507" x="5384800" y="2138363"/>
          <p14:tracePt t="23508" x="5389563" y="2138363"/>
          <p14:tracePt t="23509" x="5392738" y="2133600"/>
          <p14:tracePt t="23510" x="5397500" y="2133600"/>
          <p14:tracePt t="23510" x="5400675" y="2133600"/>
          <p14:tracePt t="23511" x="5405438" y="2133600"/>
          <p14:tracePt t="23513" x="5408613" y="2133600"/>
          <p14:tracePt t="23514" x="5413375" y="2130425"/>
          <p14:tracePt t="23515" x="5416550" y="2130425"/>
          <p14:tracePt t="23516" x="5421313" y="2130425"/>
          <p14:tracePt t="23519" x="5429250" y="2130425"/>
          <p14:tracePt t="23522" x="5434013" y="2130425"/>
          <p14:tracePt t="23524" x="5434013" y="2125663"/>
          <p14:tracePt t="23526" x="5437188" y="2125663"/>
          <p14:tracePt t="23579" x="5437188" y="2130425"/>
          <p14:tracePt t="23579" x="5441950" y="2130425"/>
          <p14:tracePt t="23582" x="5445125" y="2130425"/>
          <p14:tracePt t="23585" x="5449888" y="2130425"/>
          <p14:tracePt t="23586" x="5453063" y="2133600"/>
          <p14:tracePt t="23587" x="5457825" y="2133600"/>
          <p14:tracePt t="23587" x="5461000" y="2133600"/>
          <p14:tracePt t="23589" x="5465763" y="2133600"/>
          <p14:tracePt t="23589" x="5468938" y="2133600"/>
          <p14:tracePt t="23590" x="5473700" y="2133600"/>
          <p14:tracePt t="23591" x="5481638" y="2133600"/>
          <p14:tracePt t="23592" x="5484813" y="2133600"/>
          <p14:tracePt t="23593" x="5489575" y="2133600"/>
          <p14:tracePt t="23594" x="5497513" y="2133600"/>
          <p14:tracePt t="23596" x="5505450" y="2133600"/>
          <p14:tracePt t="23598" x="5513388" y="2133600"/>
          <p14:tracePt t="23599" x="5518150" y="2133600"/>
          <p14:tracePt t="23600" x="5526088" y="2133600"/>
          <p14:tracePt t="23600" x="5534025" y="2133600"/>
          <p14:tracePt t="23601" x="5541963" y="2133600"/>
          <p14:tracePt t="23603" x="5545138" y="2133600"/>
          <p14:tracePt t="23603" x="5553075" y="2133600"/>
          <p14:tracePt t="23604" x="5557838" y="2133600"/>
          <p14:tracePt t="23605" x="5565775" y="2133600"/>
          <p14:tracePt t="23606" x="5568950" y="2133600"/>
          <p14:tracePt t="23608" x="5573713" y="2133600"/>
          <p14:tracePt t="23608" x="5576888" y="2133600"/>
          <p14:tracePt t="23609" x="5581650" y="2133600"/>
          <p14:tracePt t="23610" x="5589588" y="2133600"/>
          <p14:tracePt t="23611" x="5592763" y="2133600"/>
          <p14:tracePt t="23614" x="5597525" y="2133600"/>
          <p14:tracePt t="23614" x="5602288" y="2133600"/>
          <p14:tracePt t="23615" x="5605463" y="2133600"/>
          <p14:tracePt t="23616" x="5610225" y="2133600"/>
          <p14:tracePt t="23617" x="5613400" y="2133600"/>
          <p14:tracePt t="23619" x="5618163" y="2133600"/>
          <p14:tracePt t="23620" x="5626100" y="2133600"/>
          <p14:tracePt t="23622" x="5629275" y="2133600"/>
          <p14:tracePt t="23622" x="5634038" y="2133600"/>
          <p14:tracePt t="23624" x="5637213" y="2133600"/>
          <p14:tracePt t="23625" x="5641975" y="2133600"/>
          <p14:tracePt t="23628" x="5645150" y="2133600"/>
          <p14:tracePt t="23632" x="5649913" y="2133600"/>
          <p14:tracePt t="23829" x="5653088" y="2133600"/>
          <p14:tracePt t="23833" x="5657850" y="2133600"/>
          <p14:tracePt t="23836" x="5665788" y="2133600"/>
          <p14:tracePt t="23837" x="5668963" y="2133600"/>
          <p14:tracePt t="23841" x="5676900" y="2133600"/>
          <p14:tracePt t="23845" x="5694363" y="2133600"/>
          <p14:tracePt t="23847" x="5705475" y="2133600"/>
          <p14:tracePt t="23849" x="5713413" y="2133600"/>
          <p14:tracePt t="23851" x="5726113" y="2133600"/>
          <p14:tracePt t="23854" x="5737225" y="2133600"/>
          <p14:tracePt t="23856" x="5749925" y="2138363"/>
          <p14:tracePt t="23860" x="5765800" y="2138363"/>
          <p14:tracePt t="23862" x="5776913" y="2138363"/>
          <p14:tracePt t="23863" x="5781675" y="2138363"/>
          <p14:tracePt t="23864" x="5786438" y="2138363"/>
          <p14:tracePt t="23865" x="5789613" y="2138363"/>
          <p14:tracePt t="23866" x="5794375" y="2141538"/>
          <p14:tracePt t="23867" x="5797550" y="2141538"/>
          <p14:tracePt t="23868" x="5802313" y="2141538"/>
          <p14:tracePt t="23869" x="5813425" y="2141538"/>
          <p14:tracePt t="23871" x="5818188" y="2141538"/>
          <p14:tracePt t="23872" x="5826125" y="2141538"/>
          <p14:tracePt t="23873" x="5829300" y="2146300"/>
          <p14:tracePt t="23874" x="5834063" y="2146300"/>
          <p14:tracePt t="23875" x="5837238" y="2146300"/>
          <p14:tracePt t="23876" x="5845175" y="2146300"/>
          <p14:tracePt t="23878" x="5849938" y="2146300"/>
          <p14:tracePt t="23878" x="5857875" y="2149475"/>
          <p14:tracePt t="23879" x="5861050" y="2149475"/>
          <p14:tracePt t="23880" x="5868988" y="2149475"/>
          <p14:tracePt t="23882" x="5873750" y="2149475"/>
          <p14:tracePt t="23883" x="5881688" y="2149475"/>
          <p14:tracePt t="23884" x="5886450" y="2149475"/>
          <p14:tracePt t="23885" x="5894388" y="2149475"/>
          <p14:tracePt t="23886" x="5897563" y="2154238"/>
          <p14:tracePt t="23888" x="5910263" y="2154238"/>
          <p14:tracePt t="23889" x="5918200" y="2154238"/>
          <p14:tracePt t="23890" x="5921375" y="2154238"/>
          <p14:tracePt t="23891" x="5934075" y="2154238"/>
          <p14:tracePt t="23904" x="6021388" y="2165350"/>
          <p14:tracePt t="23906" x="6034088" y="2170113"/>
          <p14:tracePt t="23907" x="6042025" y="2170113"/>
          <p14:tracePt t="23908" x="6049963" y="2173288"/>
          <p14:tracePt t="23908" x="6054725" y="2173288"/>
          <p14:tracePt t="23909" x="6062663" y="2173288"/>
          <p14:tracePt t="23910" x="6070600" y="2173288"/>
          <p14:tracePt t="23911" x="6078538" y="2178050"/>
          <p14:tracePt t="23912" x="6081713" y="2178050"/>
          <p14:tracePt t="23913" x="6089650" y="2178050"/>
          <p14:tracePt t="23914" x="6094413" y="2181225"/>
          <p14:tracePt t="23915" x="6102350" y="2181225"/>
          <p14:tracePt t="23916" x="6110288" y="2181225"/>
          <p14:tracePt t="23917" x="6110288" y="2185988"/>
          <p14:tracePt t="23919" x="6118225" y="2185988"/>
          <p14:tracePt t="23921" x="6126163" y="2189163"/>
          <p14:tracePt t="23921" x="6134100" y="2189163"/>
          <p14:tracePt t="23922" x="6137275" y="2189163"/>
          <p14:tracePt t="23923" x="6142038" y="2193925"/>
          <p14:tracePt t="23924" x="6146800" y="2193925"/>
          <p14:tracePt t="23925" x="6149975" y="2193925"/>
          <p14:tracePt t="23926" x="6154738" y="2193925"/>
          <p14:tracePt t="23927" x="6157913" y="2193925"/>
          <p14:tracePt t="23928" x="6162675" y="2198688"/>
          <p14:tracePt t="23930" x="6165850" y="2198688"/>
          <p14:tracePt t="23931" x="6170613" y="2198688"/>
          <p14:tracePt t="23932" x="6173788" y="2198688"/>
          <p14:tracePt t="23933" x="6178550" y="2198688"/>
          <p14:tracePt t="23934" x="6181725" y="2198688"/>
          <p14:tracePt t="23936" x="6181725" y="2201863"/>
          <p14:tracePt t="23938" x="6189663" y="2201863"/>
          <p14:tracePt t="23940" x="6194425" y="2206625"/>
          <p14:tracePt t="23941" x="6197600" y="2206625"/>
          <p14:tracePt t="23944" x="6202363" y="2209800"/>
          <p14:tracePt t="23949" x="6205538" y="2209800"/>
          <p14:tracePt t="23951" x="6210300" y="2209800"/>
          <p14:tracePt t="23952" x="6210300" y="2214563"/>
          <p14:tracePt t="23955" x="6213475" y="2214563"/>
          <p14:tracePt t="23956" x="6213475" y="2217738"/>
          <p14:tracePt t="23958" x="6218238" y="2217738"/>
          <p14:tracePt t="23963" x="6221413" y="2217738"/>
          <p14:tracePt t="23964" x="6221413" y="2222500"/>
          <p14:tracePt t="23966" x="6226175" y="2222500"/>
          <p14:tracePt t="23967" x="6226175" y="2225675"/>
          <p14:tracePt t="23969" x="6229350" y="2225675"/>
          <p14:tracePt t="23972" x="6229350" y="2230438"/>
          <p14:tracePt t="23973" x="6234113" y="2230438"/>
          <p14:tracePt t="23977" x="6238875" y="2230438"/>
          <p14:tracePt t="23978" x="6238875" y="2233613"/>
          <p14:tracePt t="23981" x="6242050" y="2233613"/>
          <p14:tracePt t="23984" x="6242050" y="2238375"/>
          <p14:tracePt t="23987" x="6246813" y="2238375"/>
          <p14:tracePt t="23989" x="6249988" y="2238375"/>
          <p14:tracePt t="23992" x="6254750" y="2241550"/>
          <p14:tracePt t="23995" x="6257925" y="2241550"/>
          <p14:tracePt t="23997" x="6262688" y="2246313"/>
          <p14:tracePt t="24001" x="6265863" y="2249488"/>
          <p14:tracePt t="24003" x="6270625" y="2249488"/>
          <p14:tracePt t="24003" x="6270625" y="2254250"/>
          <p14:tracePt t="24005" x="6273800" y="2254250"/>
          <p14:tracePt t="24007" x="6278563" y="2254250"/>
          <p14:tracePt t="24008" x="6278563" y="2257425"/>
          <p14:tracePt t="24010" x="6281738" y="2257425"/>
          <p14:tracePt t="24013" x="6281738" y="2262188"/>
          <p14:tracePt t="24015" x="6286500" y="2262188"/>
          <p14:tracePt t="24018" x="6289675" y="2265363"/>
          <p14:tracePt t="24021" x="6294438" y="2265363"/>
          <p14:tracePt t="24024" x="6297613" y="2270125"/>
          <p14:tracePt t="24027" x="6302375" y="2270125"/>
          <p14:tracePt t="24028" x="6302375" y="2273300"/>
          <p14:tracePt t="24028" x="6305550" y="2273300"/>
          <p14:tracePt t="24030" x="6310313" y="2278063"/>
          <p14:tracePt t="24032" x="6313488" y="2278063"/>
          <p14:tracePt t="24036" x="6318250" y="2278063"/>
          <p14:tracePt t="24038" x="6323013" y="2278063"/>
          <p14:tracePt t="24039" x="6323013" y="2281238"/>
          <p14:tracePt t="24042" x="6326188" y="2281238"/>
          <p14:tracePt t="24044" x="6330950" y="2281238"/>
          <p14:tracePt t="24045" x="6334125" y="2286000"/>
          <p14:tracePt t="24048" x="6338888" y="2290763"/>
          <p14:tracePt t="24050" x="6342063" y="2290763"/>
          <p14:tracePt t="24052" x="6342063" y="2293938"/>
          <p14:tracePt t="24053" x="6346825" y="2293938"/>
          <p14:tracePt t="24055" x="6350000" y="2293938"/>
          <p14:tracePt t="24056" x="6350000" y="2298700"/>
          <p14:tracePt t="24057" x="6354763" y="2298700"/>
          <p14:tracePt t="24060" x="6357938" y="2298700"/>
          <p14:tracePt t="24061" x="6357938" y="2301875"/>
          <p14:tracePt t="24062" x="6362700" y="2301875"/>
          <p14:tracePt t="24064" x="6365875" y="2301875"/>
          <p14:tracePt t="24066" x="6365875" y="2306638"/>
          <p14:tracePt t="24069" x="6370638" y="2306638"/>
          <p14:tracePt t="24071" x="6373813" y="2306638"/>
          <p14:tracePt t="24073" x="6378575" y="2306638"/>
          <p14:tracePt t="24074" x="6381750" y="2309813"/>
          <p14:tracePt t="24076" x="6386513" y="2309813"/>
          <p14:tracePt t="24077" x="6389688" y="2309813"/>
          <p14:tracePt t="24079" x="6389688" y="2314575"/>
          <p14:tracePt t="24080" x="6394450" y="2314575"/>
          <p14:tracePt t="24082" x="6397625" y="2317750"/>
          <p14:tracePt t="24083" x="6402388" y="2317750"/>
          <p14:tracePt t="24086" x="6405563" y="2317750"/>
          <p14:tracePt t="24092" x="6410325" y="2317750"/>
          <p14:tracePt t="24094" x="6415088" y="2322513"/>
          <p14:tracePt t="24095" x="6418263" y="2322513"/>
          <p14:tracePt t="24095" x="6423025" y="2322513"/>
          <p14:tracePt t="24096" x="6426200" y="2322513"/>
          <p14:tracePt t="24097" x="6430963" y="2322513"/>
          <p14:tracePt t="24099" x="6430963" y="2325688"/>
          <p14:tracePt t="24100" x="6434138" y="2325688"/>
          <p14:tracePt t="24101" x="6438900" y="2325688"/>
          <p14:tracePt t="24102" x="6442075" y="2325688"/>
          <p14:tracePt t="24105" x="6446838" y="2330450"/>
          <p14:tracePt t="24110" x="6450013" y="2333625"/>
          <p14:tracePt t="24111" x="6454775" y="2333625"/>
          <p14:tracePt t="24114" x="6457950" y="2333625"/>
          <p14:tracePt t="24116" x="6462713" y="2333625"/>
          <p14:tracePt t="24122" x="6462713" y="2338388"/>
          <p14:tracePt t="24303" x="6462713" y="2333625"/>
          <p14:tracePt t="24309" x="6457950" y="2333625"/>
          <p14:tracePt t="24311" x="6457950" y="2330450"/>
          <p14:tracePt t="24313" x="6454775" y="2330450"/>
          <p14:tracePt t="24316" x="6454775" y="2325688"/>
          <p14:tracePt t="24317" x="6450013" y="2325688"/>
          <p14:tracePt t="24322" x="6450013" y="2322513"/>
          <p14:tracePt t="24330" x="6446838" y="2322513"/>
          <p14:tracePt t="24339" x="6442075" y="2322513"/>
          <p14:tracePt t="24344" x="6442075" y="2317750"/>
          <p14:tracePt t="24350" x="6442075" y="2314575"/>
          <p14:tracePt t="24354" x="6438900" y="2314575"/>
          <p14:tracePt t="24356" x="6438900" y="2309813"/>
          <p14:tracePt t="24357" x="6434138" y="2309813"/>
          <p14:tracePt t="24363" x="6430963" y="2306638"/>
          <p14:tracePt t="24367" x="6426200" y="2301875"/>
          <p14:tracePt t="24370" x="6423025" y="2298700"/>
          <p14:tracePt t="24372" x="6423025" y="2293938"/>
          <p14:tracePt t="24374" x="6418263" y="2293938"/>
          <p14:tracePt t="24376" x="6415088" y="2290763"/>
          <p14:tracePt t="24379" x="6415088" y="2286000"/>
          <p14:tracePt t="24381" x="6410325" y="2286000"/>
          <p14:tracePt t="24382" x="6410325" y="2281238"/>
          <p14:tracePt t="24387" x="6405563" y="2281238"/>
          <p14:tracePt t="24389" x="6405563" y="2278063"/>
          <p14:tracePt t="24390" x="6402388" y="2273300"/>
          <p14:tracePt t="24393" x="6402388" y="2270125"/>
          <p14:tracePt t="24396" x="6397625" y="2265363"/>
          <p14:tracePt t="24399" x="6397625" y="2262188"/>
          <p14:tracePt t="24401" x="6394450" y="2262188"/>
          <p14:tracePt t="24403" x="6389688" y="2257425"/>
          <p14:tracePt t="24406" x="6386513" y="2254250"/>
          <p14:tracePt t="24409" x="6386513" y="2249488"/>
          <p14:tracePt t="24413" x="6381750" y="2246313"/>
          <p14:tracePt t="24417" x="6381750" y="2241550"/>
          <p14:tracePt t="24422" x="6378575" y="2241550"/>
          <p14:tracePt t="24425" x="6378575" y="2238375"/>
          <p14:tracePt t="24427" x="6373813" y="2238375"/>
          <p14:tracePt t="24433" x="6373813" y="2233613"/>
          <p14:tracePt t="24435" x="6370638" y="2233613"/>
          <p14:tracePt t="24443" x="6370638" y="2230438"/>
          <p14:tracePt t="24449" x="6370638" y="2225675"/>
          <p14:tracePt t="24456" x="6370638" y="2222500"/>
          <p14:tracePt t="24460" x="6365875" y="2222500"/>
          <p14:tracePt t="24518" x="6365875" y="2217738"/>
          <p14:tracePt t="24546" x="6362700" y="2217738"/>
          <p14:tracePt t="25354" x="6365875" y="2217738"/>
          <p14:tracePt t="25363" x="6370638" y="2217738"/>
          <p14:tracePt t="25366" x="6378575" y="2217738"/>
          <p14:tracePt t="25368" x="6386513" y="2217738"/>
          <p14:tracePt t="25371" x="6402388" y="2217738"/>
          <p14:tracePt t="25372" x="6405563" y="2217738"/>
          <p14:tracePt t="25375" x="6423025" y="2217738"/>
          <p14:tracePt t="25377" x="6442075" y="2217738"/>
          <p14:tracePt t="25379" x="6450013" y="2214563"/>
          <p14:tracePt t="25381" x="6473825" y="2214563"/>
          <p14:tracePt t="25383" x="6489700" y="2214563"/>
          <p14:tracePt t="25384" x="6502400" y="2214563"/>
          <p14:tracePt t="25385" x="6518275" y="2214563"/>
          <p14:tracePt t="25388" x="6546850" y="2214563"/>
          <p14:tracePt t="25389" x="6554788" y="2214563"/>
          <p14:tracePt t="25391" x="6581775" y="2209800"/>
          <p14:tracePt t="25392" x="6589713" y="2209800"/>
          <p14:tracePt t="25393" x="6607175" y="2209800"/>
          <p14:tracePt t="25394" x="6615113" y="2206625"/>
          <p14:tracePt t="25394" x="6634163" y="2206625"/>
          <p14:tracePt t="25395" x="6642100" y="2206625"/>
          <p14:tracePt t="25396" x="6654800" y="2206625"/>
          <p14:tracePt t="25397" x="6670675" y="2201863"/>
          <p14:tracePt t="25398" x="6681788" y="2201863"/>
          <p14:tracePt t="25399" x="6699250" y="2201863"/>
          <p14:tracePt t="25400" x="6710363" y="2201863"/>
          <p14:tracePt t="25402" x="6723063" y="2193925"/>
          <p14:tracePt t="25403" x="6738938" y="2193925"/>
          <p14:tracePt t="25404" x="6750050" y="2193925"/>
          <p14:tracePt t="25405" x="6778625" y="2193925"/>
          <p14:tracePt t="25405" x="6791325" y="2189163"/>
          <p14:tracePt t="25407" x="6807200" y="2189163"/>
          <p14:tracePt t="25408" x="6818313" y="2189163"/>
          <p14:tracePt t="25409" x="6834188" y="2185988"/>
          <p14:tracePt t="25410" x="6846888" y="2185988"/>
          <p14:tracePt t="25410" x="6867525" y="2185988"/>
          <p14:tracePt t="25411" x="6878638" y="2181225"/>
          <p14:tracePt t="25412" x="6894513" y="2181225"/>
          <p14:tracePt t="25413" x="6910388" y="2181225"/>
          <p14:tracePt t="25414" x="6926263" y="2181225"/>
          <p14:tracePt t="25415" x="6946900" y="2178050"/>
          <p14:tracePt t="25416" x="6967538" y="2178050"/>
          <p14:tracePt t="25418" x="6978650" y="2178050"/>
          <p14:tracePt t="25419" x="7010400" y="2173288"/>
          <p14:tracePt t="25420" x="7031038" y="2173288"/>
          <p14:tracePt t="25422" x="7051675" y="2165350"/>
          <p14:tracePt t="25423" x="7062788" y="2165350"/>
          <p14:tracePt t="25423" x="7083425" y="2165350"/>
          <p14:tracePt t="25425" x="7099300" y="2165350"/>
          <p14:tracePt t="25425" x="7123113" y="2162175"/>
          <p14:tracePt t="25427" x="7138988" y="2162175"/>
          <p14:tracePt t="25428" x="7154863" y="2162175"/>
          <p14:tracePt t="25428" x="7175500" y="2162175"/>
          <p14:tracePt t="25429" x="7191375" y="2162175"/>
          <p14:tracePt t="25430" x="7215188" y="2162175"/>
          <p14:tracePt t="25431" x="7235825" y="2162175"/>
          <p14:tracePt t="25433" x="7246938" y="2157413"/>
          <p14:tracePt t="25433" x="7267575" y="2157413"/>
          <p14:tracePt t="25434" x="7283450" y="2157413"/>
          <p14:tracePt t="25436" x="7307263" y="2157413"/>
          <p14:tracePt t="25437" x="7327900" y="2157413"/>
          <p14:tracePt t="25439" x="7359650" y="2154238"/>
          <p14:tracePt t="25439" x="7378700" y="2154238"/>
          <p14:tracePt t="25440" x="7402513" y="2154238"/>
          <p14:tracePt t="25441" x="7419975" y="2154238"/>
          <p14:tracePt t="25442" x="7435850" y="2146300"/>
          <p14:tracePt t="25443" x="7454900" y="2146300"/>
          <p14:tracePt t="25444" x="7470775" y="2146300"/>
          <p14:tracePt t="25445" x="7494588" y="2146300"/>
          <p14:tracePt t="25446" x="7512050" y="2141538"/>
          <p14:tracePt t="25447" x="7527925" y="2141538"/>
          <p14:tracePt t="25448" x="7543800" y="2141538"/>
          <p14:tracePt t="25449" x="7554913" y="2141538"/>
          <p14:tracePt t="25450" x="7583488" y="2141538"/>
          <p14:tracePt t="25452" x="7596188" y="2141538"/>
          <p14:tracePt t="25453" x="7607300" y="2138363"/>
          <p14:tracePt t="25454" x="7623175" y="2138363"/>
          <p14:tracePt t="25455" x="7643813" y="2138363"/>
          <p14:tracePt t="25456" x="7659688" y="2138363"/>
          <p14:tracePt t="25456" x="7675563" y="2138363"/>
          <p14:tracePt t="25458" x="7688263" y="2138363"/>
          <p14:tracePt t="25458" x="7704138" y="2138363"/>
          <p14:tracePt t="25459" x="7712075" y="2138363"/>
          <p14:tracePt t="25460" x="7731125" y="2133600"/>
          <p14:tracePt t="25461" x="7743825" y="2133600"/>
          <p14:tracePt t="25462" x="7751763" y="2133600"/>
          <p14:tracePt t="25463" x="7767638" y="2133600"/>
          <p14:tracePt t="25464" x="7780338" y="2133600"/>
          <p14:tracePt t="25466" x="7791450" y="2133600"/>
          <p14:tracePt t="25467" x="7807325" y="2130425"/>
          <p14:tracePt t="25467" x="7815263" y="2130425"/>
          <p14:tracePt t="25469" x="7831138" y="2130425"/>
          <p14:tracePt t="25471" x="7843838" y="2130425"/>
          <p14:tracePt t="25471" x="7854950" y="2125663"/>
          <p14:tracePt t="25472" x="7864475" y="2125663"/>
          <p14:tracePt t="25473" x="7872413" y="2125663"/>
          <p14:tracePt t="25474" x="7880350" y="2125663"/>
          <p14:tracePt t="25475" x="7891463" y="2117725"/>
          <p14:tracePt t="25476" x="7896225" y="2117725"/>
          <p14:tracePt t="25477" x="7904163" y="2117725"/>
          <p14:tracePt t="25478" x="7907338" y="2117725"/>
          <p14:tracePt t="25479" x="7915275" y="2117725"/>
          <p14:tracePt t="25480" x="7923213" y="2117725"/>
          <p14:tracePt t="25481" x="7927975" y="2117725"/>
          <p14:tracePt t="25482" x="7931150" y="2117725"/>
          <p14:tracePt t="25483" x="7939088" y="2117725"/>
          <p14:tracePt t="25484" x="7943850" y="2114550"/>
          <p14:tracePt t="25486" x="7948613" y="2114550"/>
          <p14:tracePt t="25487" x="7951788" y="2114550"/>
          <p14:tracePt t="25487" x="7951788" y="2109788"/>
          <p14:tracePt t="25488" x="7956550" y="2109788"/>
          <p14:tracePt t="25489" x="7959725" y="2109788"/>
          <p14:tracePt t="25490" x="7964488" y="2106613"/>
          <p14:tracePt t="25492" x="7967663" y="2106613"/>
          <p14:tracePt t="25493" x="7972425" y="2106613"/>
          <p14:tracePt t="25495" x="7975600" y="2101850"/>
          <p14:tracePt t="25501" x="7980363" y="2097088"/>
          <p14:tracePt t="25505" x="7983538" y="2097088"/>
          <p14:tracePt t="25532" x="7983538" y="2093913"/>
          <p14:tracePt t="25542" x="7983538" y="2089150"/>
          <p14:tracePt t="25546" x="7983538" y="2085975"/>
          <p14:tracePt t="25548" x="7983538" y="2081213"/>
          <p14:tracePt t="25549" x="7983538" y="2078038"/>
          <p14:tracePt t="25553" x="7983538" y="2073275"/>
          <p14:tracePt t="25555" x="7983538" y="2070100"/>
          <p14:tracePt t="25555" x="7983538" y="2065338"/>
          <p14:tracePt t="25557" x="7983538" y="2062163"/>
          <p14:tracePt t="25559" x="7983538" y="2057400"/>
          <p14:tracePt t="25561" x="7983538" y="2054225"/>
          <p14:tracePt t="25561" x="7983538" y="2046288"/>
          <p14:tracePt t="25562" x="7983538" y="2041525"/>
          <p14:tracePt t="25563" x="7983538" y="2038350"/>
          <p14:tracePt t="25565" x="7983538" y="2033588"/>
          <p14:tracePt t="25566" x="7983538" y="2030413"/>
          <p14:tracePt t="25567" x="7980363" y="2025650"/>
          <p14:tracePt t="25568" x="7980363" y="2022475"/>
          <p14:tracePt t="25570" x="7975600" y="2017713"/>
          <p14:tracePt t="25570" x="7975600" y="2014538"/>
          <p14:tracePt t="25571" x="7975600" y="2009775"/>
          <p14:tracePt t="25573" x="7972425" y="2001838"/>
          <p14:tracePt t="25574" x="7972425" y="1997075"/>
          <p14:tracePt t="25574" x="7967663" y="1993900"/>
          <p14:tracePt t="25576" x="7967663" y="1989138"/>
          <p14:tracePt t="25576" x="7967663" y="1981200"/>
          <p14:tracePt t="25577" x="7964488" y="1973263"/>
          <p14:tracePt t="25578" x="7964488" y="1970088"/>
          <p14:tracePt t="25579" x="7959725" y="1965325"/>
          <p14:tracePt t="25580" x="7959725" y="1962150"/>
          <p14:tracePt t="25581" x="7956550" y="1949450"/>
          <p14:tracePt t="25582" x="7951788" y="1946275"/>
          <p14:tracePt t="25583" x="7951788" y="1938338"/>
          <p14:tracePt t="25584" x="7948613" y="1938338"/>
          <p14:tracePt t="25586" x="7943850" y="1930400"/>
          <p14:tracePt t="25587" x="7939088" y="1917700"/>
          <p14:tracePt t="25587" x="7935913" y="1912938"/>
          <p14:tracePt t="25589" x="7935913" y="1909763"/>
          <p14:tracePt t="25589" x="7931150" y="1897063"/>
          <p14:tracePt t="25591" x="7927975" y="1893888"/>
          <p14:tracePt t="25591" x="7923213" y="1881188"/>
          <p14:tracePt t="25593" x="7920038" y="1878013"/>
          <p14:tracePt t="25593" x="7915275" y="1870075"/>
          <p14:tracePt t="25594" x="7912100" y="1870075"/>
          <p14:tracePt t="25595" x="7907338" y="1862138"/>
          <p14:tracePt t="25596" x="7899400" y="1849438"/>
          <p14:tracePt t="25597" x="7896225" y="1841500"/>
          <p14:tracePt t="25598" x="7891463" y="1833563"/>
          <p14:tracePt t="25599" x="7888288" y="1825625"/>
          <p14:tracePt t="25600" x="7880350" y="1820863"/>
          <p14:tracePt t="25601" x="7872413" y="1804988"/>
          <p14:tracePt t="25602" x="7867650" y="1797050"/>
          <p14:tracePt t="25603" x="7859713" y="1789113"/>
          <p14:tracePt t="25605" x="7854950" y="1785938"/>
          <p14:tracePt t="25606" x="7851775" y="1778000"/>
          <p14:tracePt t="25606" x="7843838" y="1765300"/>
          <p14:tracePt t="25609" x="7827963" y="1749425"/>
          <p14:tracePt t="25610" x="7815263" y="1728788"/>
          <p14:tracePt t="25611" x="7807325" y="1720850"/>
          <p14:tracePt t="25612" x="7804150" y="1712913"/>
          <p14:tracePt t="25613" x="7796213" y="1709738"/>
          <p14:tracePt t="25614" x="7788275" y="1701800"/>
          <p14:tracePt t="25615" x="7780338" y="1689100"/>
          <p14:tracePt t="25616" x="7772400" y="1681163"/>
          <p14:tracePt t="25617" x="7767638" y="1673225"/>
          <p14:tracePt t="25618" x="7754938" y="1665288"/>
          <p14:tracePt t="25620" x="7747000" y="1662113"/>
          <p14:tracePt t="25620" x="7739063" y="1649413"/>
          <p14:tracePt t="25623" x="7727950" y="1633538"/>
          <p14:tracePt t="25626" x="7699375" y="1609725"/>
          <p14:tracePt t="25626" x="7691438" y="1601788"/>
          <p14:tracePt t="25627" x="7680325" y="1597025"/>
          <p14:tracePt t="25628" x="7670800" y="1589088"/>
          <p14:tracePt t="25629" x="7662863" y="1581150"/>
          <p14:tracePt t="25630" x="7659688" y="1581150"/>
          <p14:tracePt t="25631" x="7651750" y="1573213"/>
          <p14:tracePt t="25632" x="7635875" y="1562100"/>
          <p14:tracePt t="25633" x="7631113" y="1552575"/>
          <p14:tracePt t="25634" x="7623175" y="1549400"/>
          <p14:tracePt t="25636" x="7615238" y="1544638"/>
          <p14:tracePt t="25636" x="7599363" y="1533525"/>
          <p14:tracePt t="25637" x="7591425" y="1528763"/>
          <p14:tracePt t="25639" x="7583488" y="1520825"/>
          <p14:tracePt t="25640" x="7575550" y="1517650"/>
          <p14:tracePt t="25641" x="7559675" y="1512888"/>
          <p14:tracePt t="25641" x="7551738" y="1501775"/>
          <p14:tracePt t="25643" x="7535863" y="1497013"/>
          <p14:tracePt t="25644" x="7523163" y="1489075"/>
          <p14:tracePt t="25644" x="7515225" y="1485900"/>
          <p14:tracePt t="25645" x="7504113" y="1481138"/>
          <p14:tracePt t="25646" x="7486650" y="1473200"/>
          <p14:tracePt t="25647" x="7470775" y="1470025"/>
          <p14:tracePt t="25648" x="7462838" y="1465263"/>
          <p14:tracePt t="25649" x="7446963" y="1457325"/>
          <p14:tracePt t="25650" x="7435850" y="1452563"/>
          <p14:tracePt t="25651" x="7427913" y="1449388"/>
          <p14:tracePt t="25653" x="7407275" y="1441450"/>
          <p14:tracePt t="25653" x="7391400" y="1436688"/>
          <p14:tracePt t="25655" x="7378700" y="1433513"/>
          <p14:tracePt t="25656" x="7367588" y="1428750"/>
          <p14:tracePt t="25657" x="7346950" y="1417638"/>
          <p14:tracePt t="25658" x="7335838" y="1412875"/>
          <p14:tracePt t="25659" x="7319963" y="1409700"/>
          <p14:tracePt t="25659" x="7307263" y="1404938"/>
          <p14:tracePt t="25661" x="7291388" y="1404938"/>
          <p14:tracePt t="25661" x="7278688" y="1401763"/>
          <p14:tracePt t="25662" x="7251700" y="1393825"/>
          <p14:tracePt t="25663" x="7239000" y="1389063"/>
          <p14:tracePt t="25664" x="7223125" y="1385888"/>
          <p14:tracePt t="25665" x="7210425" y="1381125"/>
          <p14:tracePt t="25667" x="7183438" y="1381125"/>
          <p14:tracePt t="25667" x="7170738" y="1377950"/>
          <p14:tracePt t="25669" x="7138988" y="1368425"/>
          <p14:tracePt t="25671" x="7118350" y="1365250"/>
          <p14:tracePt t="25674" x="7059613" y="1360488"/>
          <p14:tracePt t="25675" x="7038975" y="1357313"/>
          <p14:tracePt t="25676" x="7026275" y="1357313"/>
          <p14:tracePt t="25676" x="6999288" y="1349375"/>
          <p14:tracePt t="25677" x="6978650" y="1349375"/>
          <p14:tracePt t="25678" x="6959600" y="1344613"/>
          <p14:tracePt t="25679" x="6938963" y="1344613"/>
          <p14:tracePt t="25680" x="6923088" y="1344613"/>
          <p14:tracePt t="25681" x="6902450" y="1344613"/>
          <p14:tracePt t="25682" x="6875463" y="1341438"/>
          <p14:tracePt t="25683" x="6858000" y="1341438"/>
          <p14:tracePt t="25684" x="6838950" y="1341438"/>
          <p14:tracePt t="25686" x="6818313" y="1341438"/>
          <p14:tracePt t="25686" x="6786563" y="1341438"/>
          <p14:tracePt t="25689" x="6746875" y="1341438"/>
          <p14:tracePt t="25689" x="6726238" y="1341438"/>
          <p14:tracePt t="25690" x="6710363" y="1341438"/>
          <p14:tracePt t="25691" x="6691313" y="1341438"/>
          <p14:tracePt t="25692" x="6657975" y="1341438"/>
          <p14:tracePt t="25693" x="6638925" y="1341438"/>
          <p14:tracePt t="25694" x="6618288" y="1341438"/>
          <p14:tracePt t="25695" x="6599238" y="1341438"/>
          <p14:tracePt t="25696" x="6565900" y="1341438"/>
          <p14:tracePt t="25697" x="6550025" y="1341438"/>
          <p14:tracePt t="25698" x="6523038" y="1341438"/>
          <p14:tracePt t="25699" x="6502400" y="1341438"/>
          <p14:tracePt t="25700" x="6486525" y="1341438"/>
          <p14:tracePt t="25701" x="6457950" y="1341438"/>
          <p14:tracePt t="25702" x="6430963" y="1341438"/>
          <p14:tracePt t="25703" x="6405563" y="1341438"/>
          <p14:tracePt t="25704" x="6386513" y="1341438"/>
          <p14:tracePt t="25705" x="6365875" y="1344613"/>
          <p14:tracePt t="25706" x="6330950" y="1344613"/>
          <p14:tracePt t="25707" x="6310313" y="1352550"/>
          <p14:tracePt t="25708" x="6286500" y="1352550"/>
          <p14:tracePt t="25709" x="6265863" y="1357313"/>
          <p14:tracePt t="25710" x="6246813" y="1357313"/>
          <p14:tracePt t="25711" x="6218238" y="1360488"/>
          <p14:tracePt t="25712" x="6194425" y="1368425"/>
          <p14:tracePt t="25713" x="6173788" y="1368425"/>
          <p14:tracePt t="25714" x="6154738" y="1373188"/>
          <p14:tracePt t="25715" x="6134100" y="1377950"/>
          <p14:tracePt t="25716" x="6105525" y="1381125"/>
          <p14:tracePt t="25717" x="6086475" y="1389063"/>
          <p14:tracePt t="25718" x="6065838" y="1393825"/>
          <p14:tracePt t="25719" x="6054725" y="1393825"/>
          <p14:tracePt t="25721" x="6034088" y="1397000"/>
          <p14:tracePt t="25721" x="6013450" y="1401763"/>
          <p14:tracePt t="25722" x="5986463" y="1409700"/>
          <p14:tracePt t="25723" x="5970588" y="1412875"/>
          <p14:tracePt t="25724" x="5949950" y="1417638"/>
          <p14:tracePt t="25725" x="5937250" y="1420813"/>
          <p14:tracePt t="25726" x="5910263" y="1433513"/>
          <p14:tracePt t="25727" x="5897563" y="1436688"/>
          <p14:tracePt t="25728" x="5881688" y="1441450"/>
          <p14:tracePt t="25730" x="5868988" y="1449388"/>
          <p14:tracePt t="25730" x="5853113" y="1457325"/>
          <p14:tracePt t="25731" x="5842000" y="1460500"/>
          <p14:tracePt t="25732" x="5818188" y="1473200"/>
          <p14:tracePt t="25733" x="5805488" y="1477963"/>
          <p14:tracePt t="25734" x="5789613" y="1485900"/>
          <p14:tracePt t="25736" x="5776913" y="1489075"/>
          <p14:tracePt t="25736" x="5761038" y="1501775"/>
          <p14:tracePt t="25738" x="5749925" y="1509713"/>
          <p14:tracePt t="25739" x="5734050" y="1512888"/>
          <p14:tracePt t="25739" x="5726113" y="1525588"/>
          <p14:tracePt t="25740" x="5718175" y="1528763"/>
          <p14:tracePt t="25741" x="5705475" y="1536700"/>
          <p14:tracePt t="25742" x="5694363" y="1544638"/>
          <p14:tracePt t="25743" x="5676900" y="1557338"/>
          <p14:tracePt t="25744" x="5668963" y="1565275"/>
          <p14:tracePt t="25745" x="5661025" y="1570038"/>
          <p14:tracePt t="25746" x="5649913" y="1577975"/>
          <p14:tracePt t="25747" x="5641975" y="1589088"/>
          <p14:tracePt t="25748" x="5634038" y="1597025"/>
          <p14:tracePt t="25749" x="5626100" y="1604963"/>
          <p14:tracePt t="25750" x="5613400" y="1617663"/>
          <p14:tracePt t="25751" x="5610225" y="1625600"/>
          <p14:tracePt t="25752" x="5602288" y="1633538"/>
          <p14:tracePt t="25753" x="5592763" y="1641475"/>
          <p14:tracePt t="25755" x="5589588" y="1649413"/>
          <p14:tracePt t="25756" x="5576888" y="1662113"/>
          <p14:tracePt t="25757" x="5568950" y="1681163"/>
          <p14:tracePt t="25758" x="5565775" y="1693863"/>
          <p14:tracePt t="25759" x="5561013" y="1697038"/>
          <p14:tracePt t="25760" x="5557838" y="1704975"/>
          <p14:tracePt t="25761" x="5553075" y="1712913"/>
          <p14:tracePt t="25762" x="5549900" y="1725613"/>
          <p14:tracePt t="25763" x="5545138" y="1733550"/>
          <p14:tracePt t="25764" x="5545138" y="1746250"/>
          <p14:tracePt t="25765" x="5541963" y="1754188"/>
          <p14:tracePt t="25766" x="5541963" y="1762125"/>
          <p14:tracePt t="25767" x="5541963" y="1773238"/>
          <p14:tracePt t="25768" x="5541963" y="1781175"/>
          <p14:tracePt t="25770" x="5541963" y="1789113"/>
          <p14:tracePt t="25770" x="5541963" y="1797050"/>
          <p14:tracePt t="25772" x="5541963" y="1804988"/>
          <p14:tracePt t="25773" x="5541963" y="1830388"/>
          <p14:tracePt t="25774" x="5541963" y="1838325"/>
          <p14:tracePt t="25775" x="5541963" y="1846263"/>
          <p14:tracePt t="25776" x="5541963" y="1854200"/>
          <p14:tracePt t="25777" x="5545138" y="1870075"/>
          <p14:tracePt t="25778" x="5545138" y="1878013"/>
          <p14:tracePt t="25779" x="5549900" y="1885950"/>
          <p14:tracePt t="25780" x="5553075" y="1893888"/>
          <p14:tracePt t="25781" x="5557838" y="1901825"/>
          <p14:tracePt t="25782" x="5561013" y="1917700"/>
          <p14:tracePt t="25783" x="5565775" y="1925638"/>
          <p14:tracePt t="25784" x="5568950" y="1933575"/>
          <p14:tracePt t="25786" x="5576888" y="1941513"/>
          <p14:tracePt t="25786" x="5584825" y="1954213"/>
          <p14:tracePt t="25788" x="5589588" y="1965325"/>
          <p14:tracePt t="25788" x="5597525" y="1973263"/>
          <p14:tracePt t="25789" x="5602288" y="1978025"/>
          <p14:tracePt t="25790" x="5605463" y="1985963"/>
          <p14:tracePt t="25791" x="5610225" y="1993900"/>
          <p14:tracePt t="25793" x="5621338" y="2009775"/>
          <p14:tracePt t="25793" x="5629275" y="2014538"/>
          <p14:tracePt t="25794" x="5634038" y="2022475"/>
          <p14:tracePt t="25796" x="5641975" y="2033588"/>
          <p14:tracePt t="25796" x="5645150" y="2038350"/>
          <p14:tracePt t="25797" x="5653088" y="2049463"/>
          <p14:tracePt t="25798" x="5661025" y="2054225"/>
          <p14:tracePt t="25799" x="5668963" y="2062163"/>
          <p14:tracePt t="25800" x="5676900" y="2065338"/>
          <p14:tracePt t="25801" x="5684838" y="2073275"/>
          <p14:tracePt t="25803" x="5694363" y="2078038"/>
          <p14:tracePt t="25803" x="5702300" y="2089150"/>
          <p14:tracePt t="25806" x="5718175" y="2101850"/>
          <p14:tracePt t="25807" x="5726113" y="2106613"/>
          <p14:tracePt t="25807" x="5734050" y="2114550"/>
          <p14:tracePt t="25809" x="5741988" y="2117725"/>
          <p14:tracePt t="25809" x="5753100" y="2125663"/>
          <p14:tracePt t="25810" x="5761038" y="2130425"/>
          <p14:tracePt t="25811" x="5768975" y="2133600"/>
          <p14:tracePt t="25812" x="5781675" y="2138363"/>
          <p14:tracePt t="25813" x="5786438" y="2141538"/>
          <p14:tracePt t="25814" x="5802313" y="2146300"/>
          <p14:tracePt t="25815" x="5810250" y="2149475"/>
          <p14:tracePt t="25816" x="5818188" y="2154238"/>
          <p14:tracePt t="25817" x="5821363" y="2157413"/>
          <p14:tracePt t="25819" x="5842000" y="2165350"/>
          <p14:tracePt t="25820" x="5849938" y="2165350"/>
          <p14:tracePt t="25823" x="5873750" y="2173288"/>
          <p14:tracePt t="25824" x="5881688" y="2173288"/>
          <p14:tracePt t="25825" x="5889625" y="2178050"/>
          <p14:tracePt t="25825" x="5897563" y="2185988"/>
          <p14:tracePt t="25827" x="5905500" y="2189163"/>
          <p14:tracePt t="25828" x="5918200" y="2189163"/>
          <p14:tracePt t="25828" x="5929313" y="2193925"/>
          <p14:tracePt t="25829" x="5937250" y="2193925"/>
          <p14:tracePt t="25830" x="5945188" y="2198688"/>
          <p14:tracePt t="25831" x="5962650" y="2198688"/>
          <p14:tracePt t="25832" x="5973763" y="2201863"/>
          <p14:tracePt t="25833" x="5981700" y="2201863"/>
          <p14:tracePt t="25834" x="5997575" y="2206625"/>
          <p14:tracePt t="25836" x="6005513" y="2206625"/>
          <p14:tracePt t="25836" x="6018213" y="2209800"/>
          <p14:tracePt t="25838" x="6034088" y="2209800"/>
          <p14:tracePt t="25839" x="6045200" y="2217738"/>
          <p14:tracePt t="25840" x="6054725" y="2217738"/>
          <p14:tracePt t="25840" x="6070600" y="2217738"/>
          <p14:tracePt t="25842" x="6081713" y="2222500"/>
          <p14:tracePt t="25843" x="6102350" y="2222500"/>
          <p14:tracePt t="25843" x="6110288" y="2225675"/>
          <p14:tracePt t="25844" x="6126163" y="2225675"/>
          <p14:tracePt t="25845" x="6137275" y="2225675"/>
          <p14:tracePt t="25846" x="6149975" y="2225675"/>
          <p14:tracePt t="25847" x="6165850" y="2230438"/>
          <p14:tracePt t="25848" x="6186488" y="2230438"/>
          <p14:tracePt t="25849" x="6197600" y="2230438"/>
          <p14:tracePt t="25850" x="6213475" y="2230438"/>
          <p14:tracePt t="25851" x="6226175" y="2230438"/>
          <p14:tracePt t="25853" x="6246813" y="2230438"/>
          <p14:tracePt t="25854" x="6254750" y="2233613"/>
          <p14:tracePt t="25854" x="6265863" y="2233613"/>
          <p14:tracePt t="25855" x="6281738" y="2233613"/>
          <p14:tracePt t="25856" x="6294438" y="2233613"/>
          <p14:tracePt t="25858" x="6310313" y="2233613"/>
          <p14:tracePt t="25858" x="6334125" y="2233613"/>
          <p14:tracePt t="25859" x="6346825" y="2233613"/>
          <p14:tracePt t="25860" x="6362700" y="2233613"/>
          <p14:tracePt t="25861" x="6373813" y="2233613"/>
          <p14:tracePt t="25862" x="6394450" y="2233613"/>
          <p14:tracePt t="25863" x="6405563" y="2233613"/>
          <p14:tracePt t="25864" x="6423025" y="2233613"/>
          <p14:tracePt t="25865" x="6430963" y="2233613"/>
          <p14:tracePt t="25866" x="6450013" y="2233613"/>
          <p14:tracePt t="25867" x="6462713" y="2233613"/>
          <p14:tracePt t="25868" x="6481763" y="2233613"/>
          <p14:tracePt t="25870" x="6494463" y="2233613"/>
          <p14:tracePt t="25870" x="6510338" y="2233613"/>
          <p14:tracePt t="25872" x="6518275" y="2233613"/>
          <p14:tracePt t="25872" x="6538913" y="2233613"/>
          <p14:tracePt t="25874" x="6550025" y="2233613"/>
          <p14:tracePt t="25874" x="6557963" y="2230438"/>
          <p14:tracePt t="25875" x="6573838" y="2230438"/>
          <p14:tracePt t="25876" x="6586538" y="2225675"/>
          <p14:tracePt t="25877" x="6594475" y="2225675"/>
          <p14:tracePt t="25878" x="6615113" y="2217738"/>
          <p14:tracePt t="25879" x="6623050" y="2217738"/>
          <p14:tracePt t="25880" x="6638925" y="2214563"/>
          <p14:tracePt t="25881" x="6646863" y="2214563"/>
          <p14:tracePt t="25882" x="6657975" y="2209800"/>
          <p14:tracePt t="25883" x="6673850" y="2209800"/>
          <p14:tracePt t="25884" x="6681788" y="2206625"/>
          <p14:tracePt t="25886" x="6691313" y="2206625"/>
          <p14:tracePt t="25887" x="6702425" y="2201863"/>
          <p14:tracePt t="25887" x="6715125" y="2201863"/>
          <p14:tracePt t="25889" x="6723063" y="2198688"/>
          <p14:tracePt t="25890" x="6734175" y="2193925"/>
          <p14:tracePt t="25891" x="6738938" y="2193925"/>
          <p14:tracePt t="25891" x="6746875" y="2189163"/>
          <p14:tracePt t="25893" x="6762750" y="2181225"/>
          <p14:tracePt t="25893" x="6770688" y="2181225"/>
          <p14:tracePt t="25894" x="6775450" y="2178050"/>
          <p14:tracePt t="25895" x="6783388" y="2178050"/>
          <p14:tracePt t="25896" x="6791325" y="2173288"/>
          <p14:tracePt t="25897" x="6794500" y="2170113"/>
          <p14:tracePt t="25898" x="6802438" y="2170113"/>
          <p14:tracePt t="25899" x="6810375" y="2165350"/>
          <p14:tracePt t="25900" x="6815138" y="2165350"/>
          <p14:tracePt t="25902" x="6818313" y="2162175"/>
          <p14:tracePt t="25903" x="6826250" y="2157413"/>
          <p14:tracePt t="25905" x="6831013" y="2157413"/>
          <p14:tracePt t="25906" x="6834188" y="2154238"/>
          <p14:tracePt t="25906" x="6838950" y="2154238"/>
          <p14:tracePt t="25908" x="6842125" y="2154238"/>
          <p14:tracePt t="25908" x="6846888" y="2149475"/>
          <p14:tracePt t="25910" x="6850063" y="2149475"/>
          <p14:tracePt t="25911" x="6854825" y="2149475"/>
          <p14:tracePt t="25912" x="6854825" y="2146300"/>
          <p14:tracePt t="25913" x="6858000" y="2146300"/>
          <p14:tracePt t="25914" x="6858000" y="2141538"/>
          <p14:tracePt t="25915" x="6862763" y="2141538"/>
          <p14:tracePt t="25919" x="6867525" y="2138363"/>
          <p14:tracePt t="25986" x="6867525" y="2141538"/>
          <p14:tracePt t="25992" x="6867525" y="2146300"/>
          <p14:tracePt t="25995" x="6867525" y="2149475"/>
          <p14:tracePt t="25997" x="6867525" y="2154238"/>
          <p14:tracePt t="26001" x="6867525" y="2157413"/>
          <p14:tracePt t="26003" x="6867525" y="2162175"/>
          <p14:tracePt t="26003" x="6867525" y="2165350"/>
          <p14:tracePt t="26006" x="6867525" y="2170113"/>
          <p14:tracePt t="26007" x="6867525" y="2173288"/>
          <p14:tracePt t="26009" x="6867525" y="2178050"/>
          <p14:tracePt t="26010" x="6870700" y="2178050"/>
          <p14:tracePt t="26011" x="6870700" y="2181225"/>
          <p14:tracePt t="26013" x="6870700" y="2185988"/>
          <p14:tracePt t="26015" x="6870700" y="2193925"/>
          <p14:tracePt t="26019" x="6875463" y="2198688"/>
          <p14:tracePt t="26021" x="6875463" y="2201863"/>
          <p14:tracePt t="26021" x="6878638" y="2206625"/>
          <p14:tracePt t="26024" x="6883400" y="2214563"/>
          <p14:tracePt t="26028" x="6886575" y="2217738"/>
          <p14:tracePt t="26030" x="6891338" y="2222500"/>
          <p14:tracePt t="26033" x="6894513" y="2225675"/>
          <p14:tracePt t="26034" x="6894513" y="2230438"/>
          <p14:tracePt t="26036" x="6899275" y="2230438"/>
          <p14:tracePt t="26038" x="6902450" y="2230438"/>
          <p14:tracePt t="26040" x="6907213" y="2233613"/>
          <p14:tracePt t="26043" x="6910388" y="2233613"/>
          <p14:tracePt t="26048" x="6915150" y="2233613"/>
          <p14:tracePt t="26049" x="6918325" y="2233613"/>
          <p14:tracePt t="26050" x="6918325" y="2238375"/>
          <p14:tracePt t="26051" x="6923088" y="2238375"/>
          <p14:tracePt t="26055" x="6926263" y="2241550"/>
          <p14:tracePt t="26057" x="6931025" y="2241550"/>
          <p14:tracePt t="26059" x="6934200" y="2241550"/>
          <p14:tracePt t="26060" x="6934200" y="2246313"/>
          <p14:tracePt t="26062" x="6938963" y="2246313"/>
          <p14:tracePt t="26063" x="6942138" y="2246313"/>
          <p14:tracePt t="26064" x="6946900" y="2246313"/>
          <p14:tracePt t="26065" x="6950075" y="2246313"/>
          <p14:tracePt t="26067" x="6954838" y="2246313"/>
          <p14:tracePt t="26069" x="6959600" y="2246313"/>
          <p14:tracePt t="26071" x="6962775" y="2249488"/>
          <p14:tracePt t="26071" x="6967538" y="2249488"/>
          <p14:tracePt t="26074" x="6970713" y="2249488"/>
          <p14:tracePt t="26075" x="6978650" y="2249488"/>
          <p14:tracePt t="26076" x="6983413" y="2249488"/>
          <p14:tracePt t="26076" x="6986588" y="2249488"/>
          <p14:tracePt t="26077" x="6991350" y="2254250"/>
          <p14:tracePt t="26078" x="6994525" y="2254250"/>
          <p14:tracePt t="26080" x="6999288" y="2254250"/>
          <p14:tracePt t="26081" x="7002463" y="2254250"/>
          <p14:tracePt t="26082" x="7010400" y="2254250"/>
          <p14:tracePt t="26083" x="7015163" y="2257425"/>
          <p14:tracePt t="26084" x="7018338" y="2257425"/>
          <p14:tracePt t="26086" x="7026275" y="2257425"/>
          <p14:tracePt t="26087" x="7031038" y="2257425"/>
          <p14:tracePt t="26087" x="7038975" y="2257425"/>
          <p14:tracePt t="26089" x="7042150" y="2257425"/>
          <p14:tracePt t="26089" x="7051675" y="2257425"/>
          <p14:tracePt t="26090" x="7054850" y="2257425"/>
          <p14:tracePt t="26091" x="7059613" y="2257425"/>
          <p14:tracePt t="26092" x="7062788" y="2257425"/>
          <p14:tracePt t="26093" x="7067550" y="2257425"/>
          <p14:tracePt t="26094" x="7075488" y="2257425"/>
          <p14:tracePt t="26095" x="7083425" y="2257425"/>
          <p14:tracePt t="26096" x="7091363" y="2257425"/>
          <p14:tracePt t="26097" x="7099300" y="2257425"/>
          <p14:tracePt t="26098" x="7107238" y="2257425"/>
          <p14:tracePt t="26099" x="7118350" y="2257425"/>
          <p14:tracePt t="26100" x="7126288" y="2257425"/>
          <p14:tracePt t="26101" x="7135813" y="2257425"/>
          <p14:tracePt t="26102" x="7143750" y="2257425"/>
          <p14:tracePt t="26103" x="7151688" y="2257425"/>
          <p14:tracePt t="26104" x="7162800" y="2257425"/>
          <p14:tracePt t="26106" x="7170738" y="2257425"/>
          <p14:tracePt t="26107" x="7178675" y="2257425"/>
          <p14:tracePt t="26109" x="7202488" y="2257425"/>
          <p14:tracePt t="26109" x="7210425" y="2257425"/>
          <p14:tracePt t="26110" x="7223125" y="2257425"/>
          <p14:tracePt t="26111" x="7231063" y="2257425"/>
          <p14:tracePt t="26112" x="7239000" y="2257425"/>
          <p14:tracePt t="26113" x="7254875" y="2257425"/>
          <p14:tracePt t="26114" x="7267575" y="2257425"/>
          <p14:tracePt t="26115" x="7275513" y="2257425"/>
          <p14:tracePt t="26116" x="7291388" y="2257425"/>
          <p14:tracePt t="26117" x="7299325" y="2257425"/>
          <p14:tracePt t="26118" x="7310438" y="2257425"/>
          <p14:tracePt t="26120" x="7319963" y="2257425"/>
          <p14:tracePt t="26120" x="7331075" y="2257425"/>
          <p14:tracePt t="26122" x="7343775" y="2257425"/>
          <p14:tracePt t="26124" x="7359650" y="2257425"/>
          <p14:tracePt t="26124" x="7370763" y="2257425"/>
          <p14:tracePt t="26125" x="7386638" y="2257425"/>
          <p14:tracePt t="26126" x="7394575" y="2257425"/>
          <p14:tracePt t="26127" x="7402513" y="2254250"/>
          <p14:tracePt t="26128" x="7412038" y="2254250"/>
          <p14:tracePt t="26129" x="7419975" y="2254250"/>
          <p14:tracePt t="26130" x="7427913" y="2249488"/>
          <p14:tracePt t="26131" x="7435850" y="2249488"/>
          <p14:tracePt t="26132" x="7443788" y="2246313"/>
          <p14:tracePt t="26133" x="7451725" y="2246313"/>
          <p14:tracePt t="26134" x="7462838" y="2238375"/>
          <p14:tracePt t="26136" x="7470775" y="2238375"/>
          <p14:tracePt t="26137" x="7478713" y="2233613"/>
          <p14:tracePt t="26137" x="7483475" y="2233613"/>
          <p14:tracePt t="26139" x="7491413" y="2230438"/>
          <p14:tracePt t="26140" x="7499350" y="2230438"/>
          <p14:tracePt t="26140" x="7504113" y="2225675"/>
          <p14:tracePt t="26141" x="7512050" y="2222500"/>
          <p14:tracePt t="26142" x="7515225" y="2222500"/>
          <p14:tracePt t="26143" x="7519988" y="2222500"/>
          <p14:tracePt t="26144" x="7527925" y="2217738"/>
          <p14:tracePt t="26145" x="7527925" y="2214563"/>
          <p14:tracePt t="26146" x="7531100" y="2209800"/>
          <p14:tracePt t="26147" x="7539038" y="2206625"/>
          <p14:tracePt t="26148" x="7543800" y="2206625"/>
          <p14:tracePt t="26149" x="7551738" y="2198688"/>
          <p14:tracePt t="26150" x="7554913" y="2193925"/>
          <p14:tracePt t="26151" x="7559675" y="2189163"/>
          <p14:tracePt t="26152" x="7562850" y="2185988"/>
          <p14:tracePt t="26155" x="7570788" y="2178050"/>
          <p14:tracePt t="26156" x="7575550" y="2173288"/>
          <p14:tracePt t="26156" x="7578725" y="2170113"/>
          <p14:tracePt t="26157" x="7583488" y="2165350"/>
          <p14:tracePt t="26159" x="7596188" y="2154238"/>
          <p14:tracePt t="26161" x="7599363" y="2146300"/>
          <p14:tracePt t="26162" x="7604125" y="2141538"/>
          <p14:tracePt t="26163" x="7604125" y="2138363"/>
          <p14:tracePt t="26164" x="7607300" y="2130425"/>
          <p14:tracePt t="26165" x="7612063" y="2125663"/>
          <p14:tracePt t="26166" x="7615238" y="2117725"/>
          <p14:tracePt t="26167" x="7620000" y="2114550"/>
          <p14:tracePt t="26169" x="7627938" y="2101850"/>
          <p14:tracePt t="26170" x="7627938" y="2093913"/>
          <p14:tracePt t="26173" x="7631113" y="2081213"/>
          <p14:tracePt t="26174" x="7635875" y="2078038"/>
          <p14:tracePt t="26174" x="7639050" y="2070100"/>
          <p14:tracePt t="26176" x="7643813" y="2062163"/>
          <p14:tracePt t="26176" x="7643813" y="2054225"/>
          <p14:tracePt t="26177" x="7646988" y="2049463"/>
          <p14:tracePt t="26178" x="7646988" y="2041525"/>
          <p14:tracePt t="26180" x="7651750" y="2033588"/>
          <p14:tracePt t="26180" x="7654925" y="2030413"/>
          <p14:tracePt t="26181" x="7659688" y="2022475"/>
          <p14:tracePt t="26182" x="7659688" y="2014538"/>
          <p14:tracePt t="26183" x="7662863" y="2005013"/>
          <p14:tracePt t="26185" x="7667625" y="1997075"/>
          <p14:tracePt t="26186" x="7667625" y="1985963"/>
          <p14:tracePt t="26186" x="7670800" y="1978025"/>
          <p14:tracePt t="26189" x="7675563" y="1965325"/>
          <p14:tracePt t="26190" x="7680325" y="1949450"/>
          <p14:tracePt t="26191" x="7680325" y="1941513"/>
          <p14:tracePt t="26192" x="7683500" y="1933575"/>
          <p14:tracePt t="26193" x="7683500" y="1925638"/>
          <p14:tracePt t="26194" x="7688263" y="1917700"/>
          <p14:tracePt t="26195" x="7696200" y="1909763"/>
          <p14:tracePt t="26196" x="7696200" y="1897063"/>
          <p14:tracePt t="26197" x="7696200" y="1889125"/>
          <p14:tracePt t="26198" x="7699375" y="1881188"/>
          <p14:tracePt t="26199" x="7699375" y="1873250"/>
          <p14:tracePt t="26200" x="7699375" y="1865313"/>
          <p14:tracePt t="26202" x="7704138" y="1857375"/>
          <p14:tracePt t="26203" x="7704138" y="1849438"/>
          <p14:tracePt t="26204" x="7704138" y="1841500"/>
          <p14:tracePt t="26206" x="7707313" y="1817688"/>
          <p14:tracePt t="26207" x="7707313" y="1812925"/>
          <p14:tracePt t="26208" x="7707313" y="1804988"/>
          <p14:tracePt t="26208" x="7707313" y="1797050"/>
          <p14:tracePt t="26209" x="7712075" y="1789113"/>
          <p14:tracePt t="26211" x="7712075" y="1778000"/>
          <p14:tracePt t="26211" x="7712075" y="1770063"/>
          <p14:tracePt t="26212" x="7712075" y="1762125"/>
          <p14:tracePt t="26213" x="7712075" y="1754188"/>
          <p14:tracePt t="26214" x="7712075" y="1746250"/>
          <p14:tracePt t="26215" x="7712075" y="1738313"/>
          <p14:tracePt t="26216" x="7712075" y="1728788"/>
          <p14:tracePt t="26218" x="7712075" y="1717675"/>
          <p14:tracePt t="26218" x="7712075" y="1709738"/>
          <p14:tracePt t="26219" x="7712075" y="1701800"/>
          <p14:tracePt t="26221" x="7712075" y="1689100"/>
          <p14:tracePt t="26221" x="7712075" y="1681163"/>
          <p14:tracePt t="26222" x="7712075" y="1673225"/>
          <p14:tracePt t="26223" x="7712075" y="1665288"/>
          <p14:tracePt t="26224" x="7712075" y="1649413"/>
          <p14:tracePt t="26225" x="7712075" y="1641475"/>
          <p14:tracePt t="26226" x="7712075" y="1633538"/>
          <p14:tracePt t="26228" x="7712075" y="1625600"/>
          <p14:tracePt t="26228" x="7712075" y="1617663"/>
          <p14:tracePt t="26230" x="7712075" y="1609725"/>
          <p14:tracePt t="26231" x="7712075" y="1597025"/>
          <p14:tracePt t="26231" x="7712075" y="1589088"/>
          <p14:tracePt t="26233" x="7712075" y="1581150"/>
          <p14:tracePt t="26233" x="7712075" y="1570038"/>
          <p14:tracePt t="26234" x="7707313" y="1557338"/>
          <p14:tracePt t="26236" x="7707313" y="1549400"/>
          <p14:tracePt t="26236" x="7704138" y="1541463"/>
          <p14:tracePt t="26237" x="7704138" y="1533525"/>
          <p14:tracePt t="26238" x="7704138" y="1517650"/>
          <p14:tracePt t="26239" x="7699375" y="1509713"/>
          <p14:tracePt t="26240" x="7699375" y="1501775"/>
          <p14:tracePt t="26241" x="7691438" y="1485900"/>
          <p14:tracePt t="26242" x="7691438" y="1477963"/>
          <p14:tracePt t="26243" x="7688263" y="1470025"/>
          <p14:tracePt t="26245" x="7683500" y="1460500"/>
          <p14:tracePt t="26245" x="7683500" y="1452563"/>
          <p14:tracePt t="26246" x="7680325" y="1444625"/>
          <p14:tracePt t="26247" x="7680325" y="1436688"/>
          <p14:tracePt t="26248" x="7675563" y="1428750"/>
          <p14:tracePt t="26249" x="7670800" y="1417638"/>
          <p14:tracePt t="26250" x="7670800" y="1404938"/>
          <p14:tracePt t="26251" x="7667625" y="1397000"/>
          <p14:tracePt t="26252" x="7662863" y="1389063"/>
          <p14:tracePt t="26254" x="7662863" y="1385888"/>
          <p14:tracePt t="26255" x="7659688" y="1373188"/>
          <p14:tracePt t="26255" x="7654925" y="1360488"/>
          <p14:tracePt t="26257" x="7651750" y="1352550"/>
          <p14:tracePt t="26259" x="7643813" y="1341438"/>
          <p14:tracePt t="26259" x="7643813" y="1333500"/>
          <p14:tracePt t="26260" x="7639050" y="1325563"/>
          <p14:tracePt t="26261" x="7635875" y="1317625"/>
          <p14:tracePt t="26263" x="7631113" y="1304925"/>
          <p14:tracePt t="26264" x="7627938" y="1296988"/>
          <p14:tracePt t="26265" x="7623175" y="1293813"/>
          <p14:tracePt t="26266" x="7620000" y="1285875"/>
          <p14:tracePt t="26267" x="7620000" y="1281113"/>
          <p14:tracePt t="26269" x="7612063" y="1268413"/>
          <p14:tracePt t="26271" x="7607300" y="1260475"/>
          <p14:tracePt t="26273" x="7604125" y="1252538"/>
          <p14:tracePt t="26274" x="7604125" y="1244600"/>
          <p14:tracePt t="26275" x="7604125" y="1241425"/>
          <p14:tracePt t="26275" x="7599363" y="1236663"/>
          <p14:tracePt t="26277" x="7596188" y="1233488"/>
          <p14:tracePt t="26278" x="7596188" y="1228725"/>
          <p14:tracePt t="26280" x="7591425" y="1225550"/>
          <p14:tracePt t="26280" x="7588250" y="1220788"/>
          <p14:tracePt t="26281" x="7588250" y="1217613"/>
          <p14:tracePt t="26282" x="7583488" y="1212850"/>
          <p14:tracePt t="26283" x="7583488" y="1209675"/>
          <p14:tracePt t="26284" x="7583488" y="1204913"/>
          <p14:tracePt t="26286" x="7578725" y="1204913"/>
          <p14:tracePt t="26286" x="7578725" y="1201738"/>
          <p14:tracePt t="26288" x="7575550" y="1201738"/>
          <p14:tracePt t="26288" x="7575550" y="1196975"/>
          <p14:tracePt t="26290" x="7570788" y="1196975"/>
          <p14:tracePt t="26291" x="7570788" y="1193800"/>
          <p14:tracePt t="26292" x="7567613" y="1193800"/>
          <p14:tracePt t="26293" x="7567613" y="1189038"/>
          <p14:tracePt t="26296" x="7567613" y="1184275"/>
          <p14:tracePt t="26299" x="7562850" y="1184275"/>
          <p14:tracePt t="26356" x="7562850" y="1189038"/>
          <p14:tracePt t="26360" x="7562850" y="1193800"/>
          <p14:tracePt t="26368" x="7562850" y="1196975"/>
          <p14:tracePt t="26370" x="7562850" y="1204913"/>
          <p14:tracePt t="26371" x="7567613" y="1204913"/>
          <p14:tracePt t="26373" x="7567613" y="1212850"/>
          <p14:tracePt t="26376" x="7575550" y="1220788"/>
          <p14:tracePt t="26378" x="7575550" y="1225550"/>
          <p14:tracePt t="26378" x="7575550" y="1228725"/>
          <p14:tracePt t="26379" x="7578725" y="1233488"/>
          <p14:tracePt t="26380" x="7583488" y="1233488"/>
          <p14:tracePt t="26382" x="7588250" y="1236663"/>
          <p14:tracePt t="26383" x="7588250" y="1241425"/>
          <p14:tracePt t="26384" x="7588250" y="1244600"/>
          <p14:tracePt t="26386" x="7591425" y="1249363"/>
          <p14:tracePt t="26387" x="7596188" y="1249363"/>
          <p14:tracePt t="26388" x="7596188" y="1252538"/>
          <p14:tracePt t="26388" x="7599363" y="1257300"/>
          <p14:tracePt t="26390" x="7599363" y="1260475"/>
          <p14:tracePt t="26391" x="7599363" y="1265238"/>
          <p14:tracePt t="26391" x="7599363" y="1268413"/>
          <p14:tracePt t="26392" x="7604125" y="1268413"/>
          <p14:tracePt t="26393" x="7607300" y="1273175"/>
          <p14:tracePt t="26395" x="7612063" y="1276350"/>
          <p14:tracePt t="26397" x="7615238" y="1281113"/>
          <p14:tracePt t="26398" x="7615238" y="1285875"/>
          <p14:tracePt t="26399" x="7620000" y="1289050"/>
          <p14:tracePt t="26400" x="7623175" y="1293813"/>
          <p14:tracePt t="26403" x="7627938" y="1296988"/>
          <p14:tracePt t="26405" x="7631113" y="1304925"/>
          <p14:tracePt t="26406" x="7635875" y="1309688"/>
          <p14:tracePt t="26406" x="7639050" y="1312863"/>
          <p14:tracePt t="26408" x="7639050" y="1317625"/>
          <p14:tracePt t="26409" x="7643813" y="1317625"/>
          <p14:tracePt t="26410" x="7646988" y="1320800"/>
          <p14:tracePt t="26411" x="7651750" y="1325563"/>
          <p14:tracePt t="26414" x="7654925" y="1328738"/>
          <p14:tracePt t="26414" x="7659688" y="1333500"/>
          <p14:tracePt t="26417" x="7662863" y="1336675"/>
          <p14:tracePt t="26417" x="7667625" y="1341438"/>
          <p14:tracePt t="26419" x="7670800" y="1344613"/>
          <p14:tracePt t="26420" x="7675563" y="1349375"/>
          <p14:tracePt t="26421" x="7680325" y="1352550"/>
          <p14:tracePt t="26424" x="7683500" y="1357313"/>
          <p14:tracePt t="26425" x="7691438" y="1360488"/>
          <p14:tracePt t="26425" x="7696200" y="1365250"/>
          <p14:tracePt t="26426" x="7699375" y="1368425"/>
          <p14:tracePt t="26427" x="7704138" y="1373188"/>
          <p14:tracePt t="26428" x="7707313" y="1377950"/>
          <p14:tracePt t="26429" x="7715250" y="1381125"/>
          <p14:tracePt t="26430" x="7720013" y="1385888"/>
          <p14:tracePt t="26431" x="7727950" y="1389063"/>
          <p14:tracePt t="26432" x="7731125" y="1393825"/>
          <p14:tracePt t="26433" x="7735888" y="1397000"/>
          <p14:tracePt t="26434" x="7739063" y="1401763"/>
          <p14:tracePt t="26436" x="7747000" y="1404938"/>
          <p14:tracePt t="26437" x="7754938" y="1409700"/>
          <p14:tracePt t="26438" x="7759700" y="1412875"/>
          <p14:tracePt t="26440" x="7772400" y="1420813"/>
          <p14:tracePt t="26441" x="7780338" y="1425575"/>
          <p14:tracePt t="26441" x="7788275" y="1428750"/>
          <p14:tracePt t="26442" x="7791450" y="1433513"/>
          <p14:tracePt t="26443" x="7799388" y="1436688"/>
          <p14:tracePt t="26444" x="7804150" y="1441450"/>
          <p14:tracePt t="26445" x="7812088" y="1444625"/>
          <p14:tracePt t="26447" x="7820025" y="1452563"/>
          <p14:tracePt t="26447" x="7823200" y="1457325"/>
          <p14:tracePt t="26449" x="7831138" y="1460500"/>
          <p14:tracePt t="26449" x="7835900" y="1465263"/>
          <p14:tracePt t="26450" x="7847013" y="1470025"/>
          <p14:tracePt t="26451" x="7851775" y="1473200"/>
          <p14:tracePt t="26453" x="7859713" y="1477963"/>
          <p14:tracePt t="26454" x="7864475" y="1481138"/>
          <p14:tracePt t="26455" x="7872413" y="1485900"/>
          <p14:tracePt t="26457" x="7883525" y="1493838"/>
          <p14:tracePt t="26458" x="7891463" y="1497013"/>
          <p14:tracePt t="26459" x="7896225" y="1501775"/>
          <p14:tracePt t="26459" x="7904163" y="1504950"/>
          <p14:tracePt t="26460" x="7907338" y="1504950"/>
          <p14:tracePt t="26461" x="7915275" y="1509713"/>
          <p14:tracePt t="26462" x="7920038" y="1512888"/>
          <p14:tracePt t="26463" x="7923213" y="1517650"/>
          <p14:tracePt t="26464" x="7931150" y="1517650"/>
          <p14:tracePt t="26465" x="7935913" y="1520825"/>
          <p14:tracePt t="26466" x="7943850" y="1525588"/>
          <p14:tracePt t="26467" x="7943850" y="1528763"/>
          <p14:tracePt t="26468" x="7951788" y="1533525"/>
          <p14:tracePt t="26470" x="7956550" y="1536700"/>
          <p14:tracePt t="26471" x="7959725" y="1541463"/>
          <p14:tracePt t="26472" x="7967663" y="1541463"/>
          <p14:tracePt t="26474" x="7975600" y="1549400"/>
          <p14:tracePt t="26475" x="7980363" y="1549400"/>
          <p14:tracePt t="26475" x="7983538" y="1552575"/>
          <p14:tracePt t="26476" x="7988300" y="1557338"/>
          <p14:tracePt t="26477" x="7991475" y="1557338"/>
          <p14:tracePt t="26478" x="7996238" y="1557338"/>
          <p14:tracePt t="26479" x="8004175" y="1562100"/>
          <p14:tracePt t="26480" x="8004175" y="1565275"/>
          <p14:tracePt t="26481" x="8007350" y="1565275"/>
          <p14:tracePt t="26483" x="8012113" y="1570038"/>
          <p14:tracePt t="26483" x="8015288" y="1573213"/>
          <p14:tracePt t="26484" x="8020050" y="1573213"/>
          <p14:tracePt t="26486" x="8023225" y="1577975"/>
          <p14:tracePt t="26486" x="8027988" y="1577975"/>
          <p14:tracePt t="26488" x="8035925" y="1581150"/>
          <p14:tracePt t="26489" x="8035925" y="1585913"/>
          <p14:tracePt t="26490" x="8040688" y="1585913"/>
          <p14:tracePt t="26492" x="8043863" y="1589088"/>
          <p14:tracePt t="26493" x="8048625" y="1589088"/>
          <p14:tracePt t="26493" x="8048625" y="1593850"/>
          <p14:tracePt t="26495" x="8051800" y="1593850"/>
          <p14:tracePt t="26496" x="8056563" y="1597025"/>
          <p14:tracePt t="26497" x="8059738" y="1597025"/>
          <p14:tracePt t="26499" x="8059738" y="1601788"/>
          <p14:tracePt t="26499" x="8064500" y="1601788"/>
          <p14:tracePt t="26501" x="8067675" y="1601788"/>
          <p14:tracePt t="26502" x="8072438" y="1601788"/>
          <p14:tracePt t="26505" x="8075613" y="1604963"/>
          <p14:tracePt t="26507" x="8080375" y="1604963"/>
          <p14:tracePt t="26508" x="8080375" y="1609725"/>
          <p14:tracePt t="26509" x="8083550" y="1609725"/>
          <p14:tracePt t="26511" x="8083550" y="1612900"/>
          <p14:tracePt t="26511" x="8088313" y="1612900"/>
          <p14:tracePt t="26515" x="8088313" y="1617663"/>
          <p14:tracePt t="26516" x="8091488" y="1617663"/>
          <p14:tracePt t="26517" x="8091488" y="1620838"/>
          <p14:tracePt t="26518" x="8096250" y="1620838"/>
          <p14:tracePt t="26522" x="8099425" y="1620838"/>
          <p14:tracePt t="26525" x="8099425" y="1625600"/>
          <p14:tracePt t="26526" x="8104188" y="1625600"/>
          <p14:tracePt t="26529" x="8104188" y="1628775"/>
          <p14:tracePt t="26531" x="8107363" y="1628775"/>
          <p14:tracePt t="26542" x="8112125" y="1628775"/>
          <p14:tracePt t="26593" x="8115300" y="1628775"/>
          <p14:tracePt t="26598" x="8120063" y="1628775"/>
          <p14:tracePt t="26602" x="8123238" y="1628775"/>
          <p14:tracePt t="26605" x="8128000" y="1628775"/>
          <p14:tracePt t="26609" x="8132763" y="1628775"/>
          <p14:tracePt t="26611" x="8135938" y="1628775"/>
          <p14:tracePt t="26612" x="8140700" y="1628775"/>
          <p14:tracePt t="26615" x="8143875" y="1625600"/>
          <p14:tracePt t="26616" x="8148638" y="1625600"/>
          <p14:tracePt t="26617" x="8151813" y="1625600"/>
          <p14:tracePt t="26619" x="8156575" y="1625600"/>
          <p14:tracePt t="26620" x="8159750" y="1625600"/>
          <p14:tracePt t="26621" x="8159750" y="1620838"/>
          <p14:tracePt t="26622" x="8164513" y="1620838"/>
          <p14:tracePt t="26624" x="8167688" y="1620838"/>
          <p14:tracePt t="26626" x="8172450" y="1617663"/>
          <p14:tracePt t="26628" x="8175625" y="1617663"/>
          <p14:tracePt t="26629" x="8180388" y="1617663"/>
          <p14:tracePt t="26630" x="8183563" y="1617663"/>
          <p14:tracePt t="26631" x="8188325" y="1612900"/>
          <p14:tracePt t="26632" x="8191500" y="1612900"/>
          <p14:tracePt t="26634" x="8196263" y="1612900"/>
          <p14:tracePt t="26636" x="8199438" y="1612900"/>
          <p14:tracePt t="26638" x="8207375" y="1612900"/>
          <p14:tracePt t="26639" x="8212138" y="1609725"/>
          <p14:tracePt t="26641" x="8215313" y="1609725"/>
          <p14:tracePt t="26642" x="8220075" y="1609725"/>
          <p14:tracePt t="26642" x="8224838" y="1609725"/>
          <p14:tracePt t="26643" x="8228013" y="1609725"/>
          <p14:tracePt t="26644" x="8232775" y="1609725"/>
          <p14:tracePt t="26646" x="8235950" y="1609725"/>
          <p14:tracePt t="26646" x="8240713" y="1609725"/>
          <p14:tracePt t="26648" x="8243888" y="1604963"/>
          <p14:tracePt t="26649" x="8248650" y="1604963"/>
          <p14:tracePt t="26651" x="8251825" y="1604963"/>
          <p14:tracePt t="26653" x="8259763" y="1604963"/>
          <p14:tracePt t="26654" x="8264525" y="1604963"/>
          <p14:tracePt t="26655" x="8272463" y="1604963"/>
          <p14:tracePt t="26656" x="8275638" y="1604963"/>
          <p14:tracePt t="26657" x="8280400" y="1604963"/>
          <p14:tracePt t="26658" x="8283575" y="1604963"/>
          <p14:tracePt t="26659" x="8288338" y="1604963"/>
          <p14:tracePt t="26661" x="8291513" y="1604963"/>
          <p14:tracePt t="26662" x="8296275" y="1604963"/>
          <p14:tracePt t="26664" x="8299450" y="1604963"/>
          <p14:tracePt t="26665" x="8304213" y="1604963"/>
          <p14:tracePt t="26666" x="8307388" y="1604963"/>
          <p14:tracePt t="26669" x="8312150" y="1604963"/>
          <p14:tracePt t="26670" x="8316913" y="1604963"/>
          <p14:tracePt t="26672" x="8320088" y="1601788"/>
          <p14:tracePt t="26673" x="8324850" y="1601788"/>
          <p14:tracePt t="26674" x="8328025" y="1601788"/>
          <p14:tracePt t="26676" x="8332788" y="1601788"/>
          <p14:tracePt t="26679" x="8335963" y="1601788"/>
          <p14:tracePt t="26682" x="8340725" y="1601788"/>
          <p14:tracePt t="26682" x="8343900" y="1601788"/>
          <p14:tracePt t="26686" x="8348663" y="1601788"/>
          <p14:tracePt t="26688" x="8351838" y="1601788"/>
          <p14:tracePt t="26691" x="8356600" y="1601788"/>
          <p14:tracePt t="26693" x="8359775" y="1601788"/>
          <p14:tracePt t="26696" x="8364538" y="1601788"/>
          <p14:tracePt t="26699" x="8367713" y="1601788"/>
          <p14:tracePt t="26701" x="8372475" y="1601788"/>
          <p14:tracePt t="26703" x="8375650" y="1597025"/>
          <p14:tracePt t="26708" x="8380413" y="1597025"/>
          <p14:tracePt t="26711" x="8383588" y="1597025"/>
          <p14:tracePt t="26713" x="8388350" y="1597025"/>
          <p14:tracePt t="26716" x="8391525" y="1597025"/>
          <p14:tracePt t="26719" x="8396288" y="1597025"/>
          <p14:tracePt t="26721" x="8401050" y="1597025"/>
          <p14:tracePt t="26723" x="8404225" y="1597025"/>
          <p14:tracePt t="26725" x="8404225" y="1593850"/>
          <p14:tracePt t="26726" x="8408988" y="1593850"/>
          <p14:tracePt t="26727" x="8412163" y="1593850"/>
          <p14:tracePt t="26731" x="8416925" y="1593850"/>
          <p14:tracePt t="26736" x="8424863" y="1593850"/>
          <p14:tracePt t="26739" x="8428038" y="1593850"/>
          <p14:tracePt t="26739" x="8432800" y="1593850"/>
          <p14:tracePt t="26742" x="8435975" y="1593850"/>
          <p14:tracePt t="26742" x="8440738" y="1593850"/>
          <p14:tracePt t="26744" x="8443913" y="1593850"/>
          <p14:tracePt t="26746" x="8448675" y="1593850"/>
          <p14:tracePt t="26747" x="8451850" y="1593850"/>
          <p14:tracePt t="26748" x="8456613" y="1593850"/>
          <p14:tracePt t="26749" x="8459788" y="1593850"/>
          <p14:tracePt t="26751" x="8464550" y="1593850"/>
          <p14:tracePt t="26753" x="8467725" y="1593850"/>
          <p14:tracePt t="26754" x="8472488" y="1593850"/>
          <p14:tracePt t="26755" x="8475663" y="1593850"/>
          <p14:tracePt t="26755" x="8480425" y="1593850"/>
          <p14:tracePt t="26758" x="8483600" y="1593850"/>
          <p14:tracePt t="26759" x="8488363" y="1593850"/>
          <p14:tracePt t="26760" x="8493125" y="1593850"/>
          <p14:tracePt t="26760" x="8496300" y="1593850"/>
          <p14:tracePt t="26764" x="8501063" y="1597025"/>
          <p14:tracePt t="26765" x="8509000" y="1597025"/>
          <p14:tracePt t="26767" x="8512175" y="1601788"/>
          <p14:tracePt t="26768" x="8516938" y="1601788"/>
          <p14:tracePt t="26770" x="8520113" y="1601788"/>
          <p14:tracePt t="26771" x="8524875" y="1601788"/>
          <p14:tracePt t="26773" x="8528050" y="1601788"/>
          <p14:tracePt t="26773" x="8532813" y="1601788"/>
          <p14:tracePt t="26775" x="8535988" y="1601788"/>
          <p14:tracePt t="26775" x="8535988" y="1604963"/>
          <p14:tracePt t="26777" x="8540750" y="1604963"/>
          <p14:tracePt t="26780" x="8543925" y="1604963"/>
          <p14:tracePt t="26781" x="8548688" y="1609725"/>
          <p14:tracePt t="26783" x="8551863" y="1609725"/>
          <p14:tracePt t="26786" x="8556625" y="1609725"/>
          <p14:tracePt t="26787" x="8556625" y="1612900"/>
          <p14:tracePt t="26787" x="8559800" y="1612900"/>
          <p14:tracePt t="26790" x="8564563" y="1612900"/>
          <p14:tracePt t="26792" x="8567738" y="1612900"/>
          <p14:tracePt t="26793" x="8567738" y="1617663"/>
          <p14:tracePt t="26793" x="8572500" y="1617663"/>
          <p14:tracePt t="26796" x="8575675" y="1620838"/>
          <p14:tracePt t="26799" x="8580438" y="1620838"/>
          <p14:tracePt t="26808" x="8580438" y="1625600"/>
          <p14:tracePt t="26809" x="8585200" y="1625600"/>
          <p14:tracePt t="26932" x="8585200" y="1620838"/>
          <p14:tracePt t="26964" x="8585200" y="1617663"/>
          <p14:tracePt t="26977" x="8585200" y="1612900"/>
          <p14:tracePt t="26987" x="8585200" y="1609725"/>
          <p14:tracePt t="26993" x="8585200" y="1604963"/>
          <p14:tracePt t="27005" x="8585200" y="1601788"/>
          <p14:tracePt t="27013" x="8585200" y="1597025"/>
          <p14:tracePt t="27017" x="8580438" y="1597025"/>
          <p14:tracePt t="27070" x="8580438" y="1593850"/>
          <p14:tracePt t="27121" x="8580438" y="1597025"/>
          <p14:tracePt t="27128" x="8580438" y="1601788"/>
          <p14:tracePt t="27137" x="8580438" y="1604963"/>
          <p14:tracePt t="27142" x="8580438" y="1609725"/>
          <p14:tracePt t="27147" x="8580438" y="1612900"/>
          <p14:tracePt t="27151" x="8580438" y="1617663"/>
          <p14:tracePt t="27155" x="8580438" y="1620838"/>
          <p14:tracePt t="27160" x="8580438" y="1625600"/>
          <p14:tracePt t="27165" x="8580438" y="1628775"/>
          <p14:tracePt t="27169" x="8580438" y="1633538"/>
          <p14:tracePt t="27172" x="8580438" y="1636713"/>
          <p14:tracePt t="27177" x="8580438" y="1641475"/>
          <p14:tracePt t="27185" x="8580438" y="1644650"/>
          <p14:tracePt t="27189" x="8580438" y="1649413"/>
          <p14:tracePt t="27192" x="8580438" y="1654175"/>
          <p14:tracePt t="27196" x="8580438" y="1657350"/>
          <p14:tracePt t="27200" x="8580438" y="1662113"/>
          <p14:tracePt t="27205" x="8580438" y="1665288"/>
          <p14:tracePt t="27208" x="8575675" y="1665288"/>
          <p14:tracePt t="27209" x="8575675" y="1670050"/>
          <p14:tracePt t="27211" x="8575675" y="1673225"/>
          <p14:tracePt t="27215" x="8575675" y="1677988"/>
          <p14:tracePt t="27220" x="8572500" y="1681163"/>
          <p14:tracePt t="27227" x="8567738" y="1681163"/>
          <p14:tracePt t="27228" x="8567738" y="1685925"/>
          <p14:tracePt t="27231" x="8567738" y="1689100"/>
          <p14:tracePt t="27235" x="8567738" y="1693863"/>
          <p14:tracePt t="27240" x="8564563" y="1697038"/>
          <p14:tracePt t="27245" x="8564563" y="1701800"/>
          <p14:tracePt t="27249" x="8564563" y="1704975"/>
          <p14:tracePt t="27253" x="8559800" y="1709738"/>
          <p14:tracePt t="27259" x="8556625" y="1709738"/>
          <p14:tracePt t="27259" x="8556625" y="1712913"/>
          <p14:tracePt t="27281" x="8556625" y="1717675"/>
          <p14:tracePt t="27351" x="8551863" y="1720850"/>
          <p14:tracePt t="27352" x="8551863" y="1725613"/>
          <p14:tracePt t="27354" x="8548688" y="1725613"/>
          <p14:tracePt t="27360" x="8548688" y="1728788"/>
          <p14:tracePt t="27362" x="8543925" y="1728788"/>
          <p14:tracePt t="27362" x="8543925" y="1733550"/>
          <p14:tracePt t="27366" x="8543925" y="1738313"/>
          <p14:tracePt t="27369" x="8543925" y="1741488"/>
          <p14:tracePt t="27371" x="8540750" y="1741488"/>
          <p14:tracePt t="27372" x="8540750" y="1746250"/>
          <p14:tracePt t="27374" x="8540750" y="1749425"/>
          <p14:tracePt t="27377" x="8540750" y="1754188"/>
          <p14:tracePt t="27379" x="8540750" y="1757363"/>
          <p14:tracePt t="27380" x="8535988" y="1757363"/>
          <p14:tracePt t="27381" x="8535988" y="1762125"/>
          <p14:tracePt t="27383" x="8535988" y="1765300"/>
          <p14:tracePt t="27387" x="8532813" y="1770063"/>
          <p14:tracePt t="27389" x="8532813" y="1773238"/>
          <p14:tracePt t="27391" x="8532813" y="1778000"/>
          <p14:tracePt t="27391" x="8528050" y="1781175"/>
          <p14:tracePt t="27394" x="8524875" y="1785938"/>
          <p14:tracePt t="27396" x="8524875" y="1789113"/>
          <p14:tracePt t="27397" x="8520113" y="1793875"/>
          <p14:tracePt t="27397" x="8520113" y="1797050"/>
          <p14:tracePt t="27401" x="8520113" y="1804988"/>
          <p14:tracePt t="27402" x="8516938" y="1804988"/>
          <p14:tracePt t="27405" x="8516938" y="1809750"/>
          <p14:tracePt t="27407" x="8512175" y="1812925"/>
          <p14:tracePt t="27408" x="8512175" y="1817688"/>
          <p14:tracePt t="27408" x="8512175" y="1820863"/>
          <p14:tracePt t="27410" x="8512175" y="1825625"/>
          <p14:tracePt t="27411" x="8509000" y="1825625"/>
          <p14:tracePt t="27412" x="8509000" y="1830388"/>
          <p14:tracePt t="27413" x="8509000" y="1833563"/>
          <p14:tracePt t="27416" x="8509000" y="1838325"/>
          <p14:tracePt t="27416" x="8504238" y="1841500"/>
          <p14:tracePt t="27417" x="8504238" y="1846263"/>
          <p14:tracePt t="27418" x="8501063" y="1846263"/>
          <p14:tracePt t="27422" x="8501063" y="1849438"/>
          <p14:tracePt t="27423" x="8501063" y="1854200"/>
          <p14:tracePt t="27424" x="8501063" y="1857375"/>
          <p14:tracePt t="27426" x="8501063" y="1862138"/>
          <p14:tracePt t="27426" x="8496300" y="1865313"/>
          <p14:tracePt t="27429" x="8496300" y="1870075"/>
          <p14:tracePt t="27430" x="8496300" y="1873250"/>
          <p14:tracePt t="27432" x="8496300" y="1878013"/>
          <p14:tracePt t="27432" x="8496300" y="1881188"/>
          <p14:tracePt t="27435" x="8493125" y="1885950"/>
          <p14:tracePt t="27438" x="8493125" y="1889125"/>
          <p14:tracePt t="27439" x="8493125" y="1893888"/>
          <p14:tracePt t="27442" x="8493125" y="1897063"/>
          <p14:tracePt t="27443" x="8488363" y="1901825"/>
          <p14:tracePt t="27444" x="8488363" y="1905000"/>
          <p14:tracePt t="27446" x="8488363" y="1909763"/>
          <p14:tracePt t="27449" x="8488363" y="1912938"/>
          <p14:tracePt t="27451" x="8488363" y="1917700"/>
          <p14:tracePt t="27453" x="8488363" y="1922463"/>
          <p14:tracePt t="27455" x="8488363" y="1925638"/>
          <p14:tracePt t="27461" x="8488363" y="1930400"/>
          <p14:tracePt t="27462" x="8488363" y="1933575"/>
          <p14:tracePt t="27464" x="8483600" y="1933575"/>
          <p14:tracePt t="27466" x="8483600" y="1938338"/>
          <p14:tracePt t="27469" x="8483600" y="1941513"/>
          <p14:tracePt t="27473" x="8483600" y="1946275"/>
          <p14:tracePt t="27480" x="8483600" y="1949450"/>
          <p14:tracePt t="27486" x="8483600" y="1954213"/>
          <p14:tracePt t="27496" x="8483600" y="1957388"/>
          <p14:tracePt t="27552" x="8483600" y="1962150"/>
          <p14:tracePt t="27559" x="8483600" y="1965325"/>
          <p14:tracePt t="27565" x="8483600" y="1970088"/>
          <p14:tracePt t="27568" x="8480425" y="1970088"/>
          <p14:tracePt t="27569" x="8480425" y="1973263"/>
          <p14:tracePt t="27574" x="8480425" y="1978025"/>
          <p14:tracePt t="27580" x="8480425" y="1981200"/>
          <p14:tracePt t="27582" x="8480425" y="1985963"/>
          <p14:tracePt t="27587" x="8480425" y="1989138"/>
          <p14:tracePt t="27589" x="8480425" y="1993900"/>
          <p14:tracePt t="27591" x="8475663" y="1993900"/>
          <p14:tracePt t="27596" x="8475663" y="1997075"/>
          <p14:tracePt t="27600" x="8475663" y="2001838"/>
          <p14:tracePt t="27603" x="8475663" y="2005013"/>
          <p14:tracePt t="27608" x="8475663" y="2009775"/>
          <p14:tracePt t="27613" x="8475663" y="2014538"/>
          <p14:tracePt t="27616" x="8472488" y="2014538"/>
          <p14:tracePt t="27617" x="8472488" y="2017713"/>
          <p14:tracePt t="27620" x="8467725" y="2017713"/>
          <p14:tracePt t="27621" x="8467725" y="2022475"/>
          <p14:tracePt t="27625" x="8467725" y="2025650"/>
          <p14:tracePt t="27627" x="8467725" y="2030413"/>
          <p14:tracePt t="27630" x="8467725" y="2033588"/>
          <p14:tracePt t="27634" x="8464550" y="2038350"/>
          <p14:tracePt t="27639" x="8464550" y="2041525"/>
          <p14:tracePt t="27643" x="8464550" y="2046288"/>
          <p14:tracePt t="27647" x="8464550" y="2049463"/>
          <p14:tracePt t="27653" x="8459788" y="2054225"/>
          <p14:tracePt t="27658" x="8459788" y="2057400"/>
          <p14:tracePt t="27662" x="8459788" y="2062163"/>
          <p14:tracePt t="27667" x="8459788" y="2065338"/>
          <p14:tracePt t="27669" x="8459788" y="2070100"/>
          <p14:tracePt t="27672" x="8459788" y="2073275"/>
          <p14:tracePt t="27678" x="8459788" y="2078038"/>
          <p14:tracePt t="27681" x="8459788" y="2081213"/>
          <p14:tracePt t="27683" x="8459788" y="2085975"/>
          <p14:tracePt t="27685" x="8459788" y="2089150"/>
          <p14:tracePt t="27686" x="8464550" y="2089150"/>
          <p14:tracePt t="27692" x="8464550" y="2093913"/>
          <p14:tracePt t="27695" x="8464550" y="2097088"/>
          <p14:tracePt t="27696" x="8467725" y="2097088"/>
          <p14:tracePt t="27697" x="8467725" y="2101850"/>
          <p14:tracePt t="27700" x="8467725" y="2106613"/>
          <p14:tracePt t="27700" x="8472488" y="2106613"/>
          <p14:tracePt t="27703" x="8472488" y="2109788"/>
          <p14:tracePt t="27708" x="8475663" y="2109788"/>
          <p14:tracePt t="27709" x="8475663" y="2114550"/>
          <p14:tracePt t="27710" x="8480425" y="2114550"/>
          <p14:tracePt t="27715" x="8480425" y="2117725"/>
          <p14:tracePt t="27717" x="8480425" y="2122488"/>
          <p14:tracePt t="27718" x="8483600" y="2122488"/>
          <p14:tracePt t="27723" x="8483600" y="2125663"/>
          <p14:tracePt t="27727" x="8488363" y="2125663"/>
          <p14:tracePt t="27731" x="8488363" y="2130425"/>
          <p14:tracePt t="27734" x="8493125" y="2130425"/>
          <p14:tracePt t="27738" x="8496300" y="2130425"/>
          <p14:tracePt t="27745" x="8501063" y="2130425"/>
          <p14:tracePt t="27747" x="8501063" y="2133600"/>
          <p14:tracePt t="27748" x="8504238" y="2133600"/>
          <p14:tracePt t="27751" x="8509000" y="2133600"/>
          <p14:tracePt t="27751" x="8509000" y="2138363"/>
          <p14:tracePt t="27754" x="8512175" y="2138363"/>
          <p14:tracePt t="27755" x="8516938" y="2138363"/>
          <p14:tracePt t="27757" x="8516938" y="2141538"/>
          <p14:tracePt t="27759" x="8520113" y="2141538"/>
          <p14:tracePt t="27761" x="8524875" y="2141538"/>
          <p14:tracePt t="27762" x="8528050" y="2141538"/>
          <p14:tracePt t="27764" x="8528050" y="2146300"/>
          <p14:tracePt t="27764" x="8532813" y="2146300"/>
          <p14:tracePt t="27766" x="8535988" y="2146300"/>
          <p14:tracePt t="27769" x="8540750" y="2146300"/>
          <p14:tracePt t="27771" x="8543925" y="2146300"/>
          <p14:tracePt t="27772" x="8548688" y="2146300"/>
          <p14:tracePt t="27773" x="8551863" y="2146300"/>
          <p14:tracePt t="27773" x="8556625" y="2149475"/>
          <p14:tracePt t="27775" x="8559800" y="2149475"/>
          <p14:tracePt t="27776" x="8564563" y="2149475"/>
          <p14:tracePt t="27777" x="8567738" y="2154238"/>
          <p14:tracePt t="27778" x="8575675" y="2154238"/>
          <p14:tracePt t="27780" x="8580438" y="2154238"/>
          <p14:tracePt t="27780" x="8585200" y="2154238"/>
          <p14:tracePt t="27781" x="8585200" y="2157413"/>
          <p14:tracePt t="27782" x="8588375" y="2157413"/>
          <p14:tracePt t="27783" x="8593138" y="2157413"/>
          <p14:tracePt t="27784" x="8601075" y="2157413"/>
          <p14:tracePt t="27786" x="8604250" y="2162175"/>
          <p14:tracePt t="27787" x="8609013" y="2162175"/>
          <p14:tracePt t="27787" x="8612188" y="2162175"/>
          <p14:tracePt t="27788" x="8620125" y="2162175"/>
          <p14:tracePt t="27789" x="8624888" y="2162175"/>
          <p14:tracePt t="27790" x="8632825" y="2162175"/>
          <p14:tracePt t="27791" x="8636000" y="2165350"/>
          <p14:tracePt t="27792" x="8643938" y="2165350"/>
          <p14:tracePt t="27795" x="8648700" y="2165350"/>
          <p14:tracePt t="27796" x="8659813" y="2165350"/>
          <p14:tracePt t="27797" x="8664575" y="2165350"/>
          <p14:tracePt t="27798" x="8672513" y="2165350"/>
          <p14:tracePt t="27799" x="8677275" y="2165350"/>
          <p14:tracePt t="27800" x="8685213" y="2170113"/>
          <p14:tracePt t="27801" x="8688388" y="2170113"/>
          <p14:tracePt t="27803" x="8696325" y="2170113"/>
          <p14:tracePt t="27804" x="8704263" y="2170113"/>
          <p14:tracePt t="27804" x="8709025" y="2170113"/>
          <p14:tracePt t="27806" x="8716963" y="2170113"/>
          <p14:tracePt t="27806" x="8720138" y="2170113"/>
          <p14:tracePt t="27807" x="8732838" y="2173288"/>
          <p14:tracePt t="27808" x="8736013" y="2173288"/>
          <p14:tracePt t="27809" x="8743950" y="2173288"/>
          <p14:tracePt t="27811" x="8751888" y="2173288"/>
          <p14:tracePt t="27812" x="8761413" y="2173288"/>
          <p14:tracePt t="27813" x="8764588" y="2173288"/>
          <p14:tracePt t="27814" x="8772525" y="2173288"/>
          <p14:tracePt t="27815" x="8780463" y="2173288"/>
          <p14:tracePt t="27816" x="8785225" y="2173288"/>
          <p14:tracePt t="27817" x="8793163" y="2173288"/>
          <p14:tracePt t="27818" x="8801100" y="2173288"/>
          <p14:tracePt t="27819" x="8809038" y="2173288"/>
          <p14:tracePt t="27820" x="8816975" y="2173288"/>
          <p14:tracePt t="27821" x="8820150" y="2173288"/>
          <p14:tracePt t="27822" x="8828088" y="2173288"/>
          <p14:tracePt t="27824" x="8836025" y="2173288"/>
          <p14:tracePt t="27825" x="8843963" y="2173288"/>
          <p14:tracePt t="27825" x="8848725" y="2173288"/>
          <p14:tracePt t="27827" x="8856663" y="2173288"/>
          <p14:tracePt t="27827" x="8861425" y="2173288"/>
          <p14:tracePt t="27828" x="8869363" y="2173288"/>
          <p14:tracePt t="27829" x="8877300" y="2173288"/>
          <p14:tracePt t="27830" x="8880475" y="2173288"/>
          <p14:tracePt t="27831" x="8888413" y="2173288"/>
          <p14:tracePt t="27832" x="8893175" y="2173288"/>
          <p14:tracePt t="27833" x="8901113" y="2173288"/>
          <p14:tracePt t="27834" x="8909050" y="2173288"/>
          <p14:tracePt t="27836" x="8912225" y="2173288"/>
          <p14:tracePt t="27837" x="8920163" y="2173288"/>
          <p14:tracePt t="27837" x="8924925" y="2173288"/>
          <p14:tracePt t="27838" x="8928100" y="2173288"/>
          <p14:tracePt t="27839" x="8940800" y="2173288"/>
          <p14:tracePt t="27842" x="8948738" y="2173288"/>
          <p14:tracePt t="27843" x="8956675" y="2173288"/>
          <p14:tracePt t="27843" x="8961438" y="2173288"/>
          <p14:tracePt t="27844" x="8964613" y="2173288"/>
          <p14:tracePt t="27845" x="8972550" y="2173288"/>
          <p14:tracePt t="27846" x="8977313" y="2173288"/>
          <p14:tracePt t="27847" x="8980488" y="2173288"/>
          <p14:tracePt t="27848" x="8988425" y="2173288"/>
          <p14:tracePt t="27849" x="8993188" y="2173288"/>
          <p14:tracePt t="27850" x="8996363" y="2173288"/>
          <p14:tracePt t="27851" x="9001125" y="2173288"/>
          <p14:tracePt t="27853" x="9004300" y="2173288"/>
          <p14:tracePt t="27853" x="9012238" y="2173288"/>
          <p14:tracePt t="27856" x="9017000" y="2173288"/>
          <p14:tracePt t="27858" x="9020175" y="2173288"/>
          <p14:tracePt t="27860" x="9028113" y="2173288"/>
          <p14:tracePt t="27861" x="9032875" y="2173288"/>
          <p14:tracePt t="27861" x="9037638" y="2173288"/>
          <p14:tracePt t="27862" x="9040813" y="2170113"/>
          <p14:tracePt t="27864" x="9045575" y="2170113"/>
          <p14:tracePt t="27866" x="9048750" y="2170113"/>
          <p14:tracePt t="27868" x="9053513" y="2170113"/>
          <p14:tracePt t="27870" x="9056688" y="2170113"/>
          <p14:tracePt t="27877" x="9061450" y="2170113"/>
          <p14:tracePt t="27879" x="9061450" y="2165350"/>
          <p14:tracePt t="27914" x="9061450" y="2162175"/>
          <p14:tracePt t="27961" x="9061450" y="2157413"/>
          <p14:tracePt t="27963" x="9056688" y="2157413"/>
          <p14:tracePt t="27966" x="9053513" y="2157413"/>
          <p14:tracePt t="27967" x="9048750" y="2157413"/>
          <p14:tracePt t="27969" x="9045575" y="2157413"/>
          <p14:tracePt t="27971" x="9040813" y="2157413"/>
          <p14:tracePt t="27972" x="9037638" y="2157413"/>
          <p14:tracePt t="27974" x="9032875" y="2154238"/>
          <p14:tracePt t="27975" x="9028113" y="2154238"/>
          <p14:tracePt t="27976" x="9024938" y="2154238"/>
          <p14:tracePt t="27976" x="9020175" y="2154238"/>
          <p14:tracePt t="27977" x="9020175" y="2149475"/>
          <p14:tracePt t="27978" x="9012238" y="2149475"/>
          <p14:tracePt t="27979" x="9004300" y="2149475"/>
          <p14:tracePt t="27980" x="9001125" y="2149475"/>
          <p14:tracePt t="27987" x="8953500" y="2141538"/>
          <p14:tracePt t="27988" x="8945563" y="2141538"/>
          <p14:tracePt t="27990" x="8936038" y="2141538"/>
          <p14:tracePt t="27990" x="8924925" y="2138363"/>
          <p14:tracePt t="27991" x="8916988" y="2138363"/>
          <p14:tracePt t="27992" x="8904288" y="2138363"/>
          <p14:tracePt t="27993" x="8896350" y="2138363"/>
          <p14:tracePt t="27994" x="8880475" y="2133600"/>
          <p14:tracePt t="27995" x="8872538" y="2133600"/>
          <p14:tracePt t="27996" x="8861425" y="2133600"/>
          <p14:tracePt t="27997" x="8853488" y="2133600"/>
          <p14:tracePt t="27999" x="8824913" y="2133600"/>
          <p14:tracePt t="28000" x="8812213" y="2133600"/>
          <p14:tracePt t="28001" x="8796338" y="2130425"/>
          <p14:tracePt t="28003" x="8788400" y="2130425"/>
          <p14:tracePt t="28004" x="8777288" y="2130425"/>
          <p14:tracePt t="28004" x="8756650" y="2130425"/>
          <p14:tracePt t="28005" x="8740775" y="2130425"/>
          <p14:tracePt t="28006" x="8728075" y="2130425"/>
          <p14:tracePt t="28007" x="8716963" y="2130425"/>
          <p14:tracePt t="28008" x="8696325" y="2130425"/>
          <p14:tracePt t="28009" x="8680450" y="2125663"/>
          <p14:tracePt t="28010" x="8667750" y="2125663"/>
          <p14:tracePt t="28011" x="8656638" y="2125663"/>
          <p14:tracePt t="28013" x="8640763" y="2125663"/>
          <p14:tracePt t="28013" x="8628063" y="2125663"/>
          <p14:tracePt t="28014" x="8601075" y="2125663"/>
          <p14:tracePt t="28015" x="8588375" y="2125663"/>
          <p14:tracePt t="28016" x="8572500" y="2125663"/>
          <p14:tracePt t="28017" x="8559800" y="2125663"/>
          <p14:tracePt t="28018" x="8540750" y="2125663"/>
          <p14:tracePt t="28019" x="8520113" y="2125663"/>
          <p14:tracePt t="28020" x="8509000" y="2125663"/>
          <p14:tracePt t="28021" x="8496300" y="2125663"/>
          <p14:tracePt t="28022" x="8480425" y="2125663"/>
          <p14:tracePt t="28023" x="8467725" y="2125663"/>
          <p14:tracePt t="28024" x="8448675" y="2125663"/>
          <p14:tracePt t="28025" x="8435975" y="2125663"/>
          <p14:tracePt t="28026" x="8420100" y="2125663"/>
          <p14:tracePt t="28027" x="8401050" y="2125663"/>
          <p14:tracePt t="28028" x="8383588" y="2125663"/>
          <p14:tracePt t="28030" x="8367713" y="2125663"/>
          <p14:tracePt t="28030" x="8356600" y="2125663"/>
          <p14:tracePt t="28031" x="8340725" y="2125663"/>
          <p14:tracePt t="28032" x="8332788" y="2125663"/>
          <p14:tracePt t="28033" x="8320088" y="2125663"/>
          <p14:tracePt t="28034" x="8299450" y="2125663"/>
          <p14:tracePt t="28035" x="8291513" y="2125663"/>
          <p14:tracePt t="28036" x="8280400" y="2125663"/>
          <p14:tracePt t="28037" x="8264525" y="2125663"/>
          <p14:tracePt t="28039" x="8251825" y="2125663"/>
          <p14:tracePt t="28039" x="8235950" y="2125663"/>
          <p14:tracePt t="28040" x="8228013" y="2125663"/>
          <p14:tracePt t="28041" x="8220075" y="2125663"/>
          <p14:tracePt t="28042" x="8207375" y="2125663"/>
          <p14:tracePt t="28043" x="8199438" y="2125663"/>
          <p14:tracePt t="28044" x="8183563" y="2125663"/>
          <p14:tracePt t="28045" x="8175625" y="2125663"/>
          <p14:tracePt t="28046" x="8164513" y="2125663"/>
          <p14:tracePt t="28047" x="8156575" y="2125663"/>
          <p14:tracePt t="28048" x="8148638" y="2125663"/>
          <p14:tracePt t="28049" x="8132763" y="2125663"/>
          <p14:tracePt t="28050" x="8123238" y="2125663"/>
          <p14:tracePt t="28051" x="8115300" y="2125663"/>
          <p14:tracePt t="28053" x="8107363" y="2125663"/>
          <p14:tracePt t="28053" x="8104188" y="2125663"/>
          <p14:tracePt t="28054" x="8091488" y="2125663"/>
          <p14:tracePt t="28055" x="8088313" y="2125663"/>
          <p14:tracePt t="28056" x="8080375" y="2125663"/>
          <p14:tracePt t="28057" x="8075613" y="2130425"/>
          <p14:tracePt t="28059" x="8067675" y="2130425"/>
          <p14:tracePt t="28061" x="8064500" y="2130425"/>
          <p14:tracePt t="28061" x="8056563" y="2130425"/>
          <p14:tracePt t="28062" x="8051800" y="2130425"/>
          <p14:tracePt t="28064" x="8043863" y="2130425"/>
          <p14:tracePt t="28066" x="8040688" y="2130425"/>
          <p14:tracePt t="28067" x="8035925" y="2130425"/>
          <p14:tracePt t="28069" x="8031163" y="2130425"/>
          <p14:tracePt t="28070" x="8027988" y="2130425"/>
          <p14:tracePt t="28072" x="8027988" y="2133600"/>
          <p14:tracePt t="28082" x="8023225" y="2133600"/>
          <p14:tracePt t="28127" x="8027988" y="2133600"/>
          <p14:tracePt t="28131" x="8031163" y="2133600"/>
          <p14:tracePt t="28134" x="8035925" y="2133600"/>
          <p14:tracePt t="28135" x="8035925" y="2138363"/>
          <p14:tracePt t="28137" x="8040688" y="2138363"/>
          <p14:tracePt t="28139" x="8043863" y="2138363"/>
          <p14:tracePt t="28140" x="8048625" y="2138363"/>
          <p14:tracePt t="28141" x="8051800" y="2138363"/>
          <p14:tracePt t="28143" x="8056563" y="2138363"/>
          <p14:tracePt t="28145" x="8064500" y="2138363"/>
          <p14:tracePt t="28147" x="8072438" y="2141538"/>
          <p14:tracePt t="28148" x="8080375" y="2141538"/>
          <p14:tracePt t="28149" x="8088313" y="2141538"/>
          <p14:tracePt t="28151" x="8096250" y="2141538"/>
          <p14:tracePt t="28151" x="8099425" y="2146300"/>
          <p14:tracePt t="28153" x="8107363" y="2146300"/>
          <p14:tracePt t="28154" x="8112125" y="2146300"/>
          <p14:tracePt t="28155" x="8115300" y="2146300"/>
          <p14:tracePt t="28156" x="8120063" y="2146300"/>
          <p14:tracePt t="28157" x="8128000" y="2146300"/>
          <p14:tracePt t="28158" x="8140700" y="2149475"/>
          <p14:tracePt t="28159" x="8148638" y="2149475"/>
          <p14:tracePt t="28160" x="8164513" y="2149475"/>
          <p14:tracePt t="28161" x="8172450" y="2154238"/>
          <p14:tracePt t="28162" x="8180388" y="2154238"/>
          <p14:tracePt t="28163" x="8188325" y="2154238"/>
          <p14:tracePt t="28164" x="8196263" y="2154238"/>
          <p14:tracePt t="28165" x="8204200" y="2154238"/>
          <p14:tracePt t="28166" x="8212138" y="2154238"/>
          <p14:tracePt t="28167" x="8220075" y="2157413"/>
          <p14:tracePt t="28169" x="8228013" y="2157413"/>
          <p14:tracePt t="28170" x="8235950" y="2157413"/>
          <p14:tracePt t="28171" x="8259763" y="2157413"/>
          <p14:tracePt t="28173" x="8272463" y="2157413"/>
          <p14:tracePt t="28174" x="8280400" y="2157413"/>
          <p14:tracePt t="28175" x="8296275" y="2165350"/>
          <p14:tracePt t="28176" x="8304213" y="2165350"/>
          <p14:tracePt t="28177" x="8312150" y="2165350"/>
          <p14:tracePt t="28178" x="8320088" y="2165350"/>
          <p14:tracePt t="28178" x="8328025" y="2165350"/>
          <p14:tracePt t="28179" x="8340725" y="2165350"/>
          <p14:tracePt t="28181" x="8348663" y="2165350"/>
          <p14:tracePt t="28181" x="8356600" y="2165350"/>
          <p14:tracePt t="28182" x="8372475" y="2165350"/>
          <p14:tracePt t="28183" x="8380413" y="2165350"/>
          <p14:tracePt t="28185" x="8391525" y="2165350"/>
          <p14:tracePt t="28186" x="8401050" y="2170113"/>
          <p14:tracePt t="28187" x="8412163" y="2170113"/>
          <p14:tracePt t="28187" x="8420100" y="2170113"/>
          <p14:tracePt t="28189" x="8428038" y="2170113"/>
          <p14:tracePt t="28189" x="8435975" y="2170113"/>
          <p14:tracePt t="28190" x="8443913" y="2170113"/>
          <p14:tracePt t="28191" x="8451850" y="2170113"/>
          <p14:tracePt t="28192" x="8459788" y="2170113"/>
          <p14:tracePt t="28193" x="8467725" y="2170113"/>
          <p14:tracePt t="28194" x="8480425" y="2170113"/>
          <p14:tracePt t="28195" x="8488363" y="2170113"/>
          <p14:tracePt t="28197" x="8496300" y="2170113"/>
          <p14:tracePt t="28197" x="8504238" y="2170113"/>
          <p14:tracePt t="28198" x="8512175" y="2170113"/>
          <p14:tracePt t="28199" x="8520113" y="2170113"/>
          <p14:tracePt t="28200" x="8532813" y="2170113"/>
          <p14:tracePt t="28202" x="8540750" y="2170113"/>
          <p14:tracePt t="28203" x="8548688" y="2170113"/>
          <p14:tracePt t="28204" x="8556625" y="2170113"/>
          <p14:tracePt t="28205" x="8567738" y="2170113"/>
          <p14:tracePt t="28207" x="8575675" y="2170113"/>
          <p14:tracePt t="28208" x="8580438" y="2170113"/>
          <p14:tracePt t="28209" x="8588375" y="2170113"/>
          <p14:tracePt t="28210" x="8593138" y="2170113"/>
          <p14:tracePt t="28211" x="8601075" y="2170113"/>
          <p14:tracePt t="28212" x="8604250" y="2170113"/>
          <p14:tracePt t="28213" x="8612188" y="2170113"/>
          <p14:tracePt t="28214" x="8616950" y="2170113"/>
          <p14:tracePt t="28215" x="8620125" y="2173288"/>
          <p14:tracePt t="28216" x="8624888" y="2173288"/>
          <p14:tracePt t="28218" x="8632825" y="2173288"/>
          <p14:tracePt t="28221" x="8640763" y="2173288"/>
          <p14:tracePt t="28222" x="8643938" y="2173288"/>
          <p14:tracePt t="28223" x="8648700" y="2173288"/>
          <p14:tracePt t="28225" x="8651875" y="2173288"/>
          <p14:tracePt t="28226" x="8656638" y="2173288"/>
          <p14:tracePt t="28229" x="8659813" y="2173288"/>
          <p14:tracePt t="28230" x="8664575" y="2173288"/>
          <p14:tracePt t="28272" x="8659813" y="2173288"/>
          <p14:tracePt t="28276" x="8656638" y="2173288"/>
          <p14:tracePt t="28279" x="8651875" y="2173288"/>
          <p14:tracePt t="28281" x="8648700" y="2178050"/>
          <p14:tracePt t="28282" x="8643938" y="2178050"/>
          <p14:tracePt t="28282" x="8643938" y="2181225"/>
          <p14:tracePt t="28284" x="8640763" y="2181225"/>
          <p14:tracePt t="28285" x="8636000" y="2181225"/>
          <p14:tracePt t="28287" x="8632825" y="2185988"/>
          <p14:tracePt t="28287" x="8628063" y="2185988"/>
          <p14:tracePt t="28289" x="8624888" y="2185988"/>
          <p14:tracePt t="28289" x="8620125" y="2185988"/>
          <p14:tracePt t="28290" x="8616950" y="2185988"/>
          <p14:tracePt t="28291" x="8612188" y="2189163"/>
          <p14:tracePt t="28292" x="8609013" y="2189163"/>
          <p14:tracePt t="28294" x="8604250" y="2189163"/>
          <p14:tracePt t="28294" x="8601075" y="2189163"/>
          <p14:tracePt t="28296" x="8593138" y="2193925"/>
          <p14:tracePt t="28297" x="8588375" y="2193925"/>
          <p14:tracePt t="28298" x="8585200" y="2198688"/>
          <p14:tracePt t="28299" x="8580438" y="2198688"/>
          <p14:tracePt t="28300" x="8572500" y="2198688"/>
          <p14:tracePt t="28301" x="8564563" y="2201863"/>
          <p14:tracePt t="28303" x="8559800" y="2201863"/>
          <p14:tracePt t="28304" x="8551863" y="2206625"/>
          <p14:tracePt t="28305" x="8548688" y="2206625"/>
          <p14:tracePt t="28305" x="8540750" y="2206625"/>
          <p14:tracePt t="28306" x="8532813" y="2209800"/>
          <p14:tracePt t="28307" x="8528050" y="2209800"/>
          <p14:tracePt t="28308" x="8520113" y="2209800"/>
          <p14:tracePt t="28310" x="8512175" y="2209800"/>
          <p14:tracePt t="28310" x="8504238" y="2209800"/>
          <p14:tracePt t="28311" x="8496300" y="2214563"/>
          <p14:tracePt t="28312" x="8493125" y="2214563"/>
          <p14:tracePt t="28313" x="8483600" y="2214563"/>
          <p14:tracePt t="28314" x="8480425" y="2214563"/>
          <p14:tracePt t="28315" x="8472488" y="2217738"/>
          <p14:tracePt t="28316" x="8467725" y="2217738"/>
          <p14:tracePt t="28317" x="8459788" y="2217738"/>
          <p14:tracePt t="28318" x="8456613" y="2222500"/>
          <p14:tracePt t="28319" x="8448675" y="2222500"/>
          <p14:tracePt t="28321" x="8440738" y="2222500"/>
          <p14:tracePt t="28321" x="8435975" y="2222500"/>
          <p14:tracePt t="28322" x="8428038" y="2225675"/>
          <p14:tracePt t="28324" x="8424863" y="2225675"/>
          <p14:tracePt t="28324" x="8416925" y="2225675"/>
          <p14:tracePt t="28326" x="8412163" y="2225675"/>
          <p14:tracePt t="28327" x="8408988" y="2225675"/>
          <p14:tracePt t="28327" x="8404225" y="2230438"/>
          <p14:tracePt t="28328" x="8396288" y="2230438"/>
          <p14:tracePt t="28329" x="8391525" y="2230438"/>
          <p14:tracePt t="28330" x="8388350" y="2230438"/>
          <p14:tracePt t="28331" x="8383588" y="2230438"/>
          <p14:tracePt t="28332" x="8375650" y="2230438"/>
          <p14:tracePt t="28333" x="8372475" y="2230438"/>
          <p14:tracePt t="28334" x="8367713" y="2230438"/>
          <p14:tracePt t="28335" x="8364538" y="2233613"/>
          <p14:tracePt t="28337" x="8359775" y="2233613"/>
          <p14:tracePt t="28340" x="8356600" y="2233613"/>
          <p14:tracePt t="28341" x="8351838" y="2233613"/>
          <p14:tracePt t="28343" x="8348663" y="2233613"/>
          <p14:tracePt t="28344" x="8343900" y="2233613"/>
          <p14:tracePt t="28347" x="8340725" y="2233613"/>
          <p14:tracePt t="28352" x="8335963" y="2233613"/>
          <p14:tracePt t="28394" x="8340725" y="2233613"/>
          <p14:tracePt t="28397" x="8343900" y="2233613"/>
          <p14:tracePt t="28399" x="8348663" y="2233613"/>
          <p14:tracePt t="28399" x="8351838" y="2233613"/>
          <p14:tracePt t="28401" x="8356600" y="2233613"/>
          <p14:tracePt t="28403" x="8364538" y="2233613"/>
          <p14:tracePt t="28404" x="8367713" y="2233613"/>
          <p14:tracePt t="28405" x="8375650" y="2233613"/>
          <p14:tracePt t="28407" x="8380413" y="2233613"/>
          <p14:tracePt t="28408" x="8388350" y="2233613"/>
          <p14:tracePt t="28409" x="8391525" y="2233613"/>
          <p14:tracePt t="28410" x="8401050" y="2233613"/>
          <p14:tracePt t="28411" x="8408988" y="2233613"/>
          <p14:tracePt t="28411" x="8416925" y="2233613"/>
          <p14:tracePt t="28413" x="8424863" y="2233613"/>
          <p14:tracePt t="28413" x="8428038" y="2233613"/>
          <p14:tracePt t="28414" x="8435975" y="2233613"/>
          <p14:tracePt t="28415" x="8443913" y="2233613"/>
          <p14:tracePt t="28416" x="8456613" y="2233613"/>
          <p14:tracePt t="28417" x="8459788" y="2233613"/>
          <p14:tracePt t="28418" x="8467725" y="2233613"/>
          <p14:tracePt t="28419" x="8475663" y="2233613"/>
          <p14:tracePt t="28421" x="8493125" y="2233613"/>
          <p14:tracePt t="28422" x="8501063" y="2233613"/>
          <p14:tracePt t="28423" x="8512175" y="2233613"/>
          <p14:tracePt t="28424" x="8520113" y="2233613"/>
          <p14:tracePt t="28425" x="8528050" y="2233613"/>
          <p14:tracePt t="28426" x="8535988" y="2233613"/>
          <p14:tracePt t="28426" x="8551863" y="2233613"/>
          <p14:tracePt t="28427" x="8564563" y="2233613"/>
          <p14:tracePt t="28428" x="8572500" y="2233613"/>
          <p14:tracePt t="28429" x="8580438" y="2233613"/>
          <p14:tracePt t="28430" x="8601075" y="2233613"/>
          <p14:tracePt t="28432" x="8609013" y="2233613"/>
          <p14:tracePt t="28432" x="8616950" y="2230438"/>
          <p14:tracePt t="28433" x="8632825" y="2230438"/>
          <p14:tracePt t="28434" x="8640763" y="2230438"/>
          <p14:tracePt t="28435" x="8648700" y="2230438"/>
          <p14:tracePt t="28437" x="8664575" y="2230438"/>
          <p14:tracePt t="28438" x="8677275" y="2230438"/>
          <p14:tracePt t="28439" x="8688388" y="2230438"/>
          <p14:tracePt t="28439" x="8696325" y="2225675"/>
          <p14:tracePt t="28441" x="8712200" y="2225675"/>
          <p14:tracePt t="28441" x="8720138" y="2225675"/>
          <p14:tracePt t="28442" x="8732838" y="2225675"/>
          <p14:tracePt t="28443" x="8740775" y="2225675"/>
          <p14:tracePt t="28444" x="8751888" y="2225675"/>
          <p14:tracePt t="28445" x="8769350" y="2225675"/>
          <p14:tracePt t="28446" x="8777288" y="2225675"/>
          <p14:tracePt t="28447" x="8785225" y="2225675"/>
          <p14:tracePt t="28449" x="8793163" y="2225675"/>
          <p14:tracePt t="28449" x="8801100" y="2225675"/>
          <p14:tracePt t="28450" x="8816975" y="2225675"/>
          <p14:tracePt t="28452" x="8824913" y="2222500"/>
          <p14:tracePt t="28453" x="8832850" y="2222500"/>
          <p14:tracePt t="28454" x="8840788" y="2222500"/>
          <p14:tracePt t="28454" x="8848725" y="2222500"/>
          <p14:tracePt t="28456" x="8856663" y="2222500"/>
          <p14:tracePt t="28457" x="8864600" y="2222500"/>
          <p14:tracePt t="28458" x="8872538" y="2222500"/>
          <p14:tracePt t="28458" x="8880475" y="2222500"/>
          <p14:tracePt t="28459" x="8885238" y="2222500"/>
          <p14:tracePt t="28460" x="8896350" y="2222500"/>
          <p14:tracePt t="28461" x="8901113" y="2222500"/>
          <p14:tracePt t="28462" x="8904288" y="2222500"/>
          <p14:tracePt t="28463" x="8912225" y="2222500"/>
          <p14:tracePt t="28464" x="8916988" y="2222500"/>
          <p14:tracePt t="28466" x="8920163" y="2222500"/>
          <p14:tracePt t="28466" x="8928100" y="2222500"/>
          <p14:tracePt t="28468" x="8932863" y="2222500"/>
          <p14:tracePt t="28470" x="8936038" y="2222500"/>
          <p14:tracePt t="28471" x="8940800" y="2222500"/>
          <p14:tracePt t="28472" x="8945563" y="2222500"/>
          <p14:tracePt t="28474" x="8948738" y="2222500"/>
          <p14:tracePt t="28479" x="8953500" y="2222500"/>
          <p14:tracePt t="28508" x="8948738" y="2222500"/>
          <p14:tracePt t="28510" x="8945563" y="2222500"/>
          <p14:tracePt t="28512" x="8940800" y="2222500"/>
          <p14:tracePt t="28513" x="8936038" y="2222500"/>
          <p14:tracePt t="28515" x="8932863" y="2222500"/>
          <p14:tracePt t="28517" x="8928100" y="2222500"/>
          <p14:tracePt t="28518" x="8920163" y="2222500"/>
          <p14:tracePt t="28520" x="8916988" y="2222500"/>
          <p14:tracePt t="28521" x="8912225" y="2222500"/>
          <p14:tracePt t="28521" x="8909050" y="2222500"/>
          <p14:tracePt t="28522" x="8904288" y="2222500"/>
          <p14:tracePt t="28524" x="8901113" y="2222500"/>
          <p14:tracePt t="28525" x="8896350" y="2222500"/>
          <p14:tracePt t="28525" x="8888413" y="2222500"/>
          <p14:tracePt t="28526" x="8885238" y="2222500"/>
          <p14:tracePt t="28527" x="8880475" y="2222500"/>
          <p14:tracePt t="28529" x="8877300" y="2222500"/>
          <p14:tracePt t="28530" x="8872538" y="2222500"/>
          <p14:tracePt t="28530" x="8864600" y="2222500"/>
          <p14:tracePt t="28531" x="8856663" y="2222500"/>
          <p14:tracePt t="28532" x="8853488" y="2222500"/>
          <p14:tracePt t="28534" x="8843963" y="2222500"/>
          <p14:tracePt t="28534" x="8836025" y="2222500"/>
          <p14:tracePt t="28535" x="8832850" y="2222500"/>
          <p14:tracePt t="28537" x="8820150" y="2222500"/>
          <p14:tracePt t="28537" x="8816975" y="2222500"/>
          <p14:tracePt t="28538" x="8809038" y="2222500"/>
          <p14:tracePt t="28539" x="8801100" y="2222500"/>
          <p14:tracePt t="28540" x="8793163" y="2222500"/>
          <p14:tracePt t="28541" x="8785225" y="2222500"/>
          <p14:tracePt t="28542" x="8777288" y="2222500"/>
          <p14:tracePt t="28543" x="8761413" y="2222500"/>
          <p14:tracePt t="28545" x="8751888" y="2222500"/>
          <p14:tracePt t="28545" x="8743950" y="2222500"/>
          <p14:tracePt t="28546" x="8732838" y="2222500"/>
          <p14:tracePt t="28548" x="8724900" y="2222500"/>
          <p14:tracePt t="28548" x="8716963" y="2217738"/>
          <p14:tracePt t="28549" x="8709025" y="2217738"/>
          <p14:tracePt t="28550" x="8701088" y="2217738"/>
          <p14:tracePt t="28551" x="8685213" y="2217738"/>
          <p14:tracePt t="28553" x="8672513" y="2217738"/>
          <p14:tracePt t="28554" x="8664575" y="2217738"/>
          <p14:tracePt t="28554" x="8648700" y="2217738"/>
          <p14:tracePt t="28556" x="8640763" y="2217738"/>
          <p14:tracePt t="28556" x="8628063" y="2217738"/>
          <p14:tracePt t="28557" x="8620125" y="2217738"/>
          <p14:tracePt t="28558" x="8604250" y="2214563"/>
          <p14:tracePt t="28559" x="8596313" y="2214563"/>
          <p14:tracePt t="28560" x="8588375" y="2214563"/>
          <p14:tracePt t="28561" x="8575675" y="2214563"/>
          <p14:tracePt t="28562" x="8559800" y="2214563"/>
          <p14:tracePt t="28563" x="8551863" y="2214563"/>
          <p14:tracePt t="28564" x="8543925" y="2209800"/>
          <p14:tracePt t="28565" x="8535988" y="2209800"/>
          <p14:tracePt t="28566" x="8524875" y="2209800"/>
          <p14:tracePt t="28568" x="8516938" y="2209800"/>
          <p14:tracePt t="28568" x="8509000" y="2209800"/>
          <p14:tracePt t="28569" x="8493125" y="2209800"/>
          <p14:tracePt t="28570" x="8483600" y="2206625"/>
          <p14:tracePt t="28572" x="8475663" y="2206625"/>
          <p14:tracePt t="28573" x="8467725" y="2206625"/>
          <p14:tracePt t="28573" x="8459788" y="2206625"/>
          <p14:tracePt t="28574" x="8451850" y="2206625"/>
          <p14:tracePt t="28576" x="8443913" y="2201863"/>
          <p14:tracePt t="28576" x="8432800" y="2201863"/>
          <p14:tracePt t="28577" x="8424863" y="2201863"/>
          <p14:tracePt t="28579" x="8420100" y="2201863"/>
          <p14:tracePt t="28580" x="8412163" y="2201863"/>
          <p14:tracePt t="28581" x="8408988" y="2201863"/>
          <p14:tracePt t="28582" x="8404225" y="2201863"/>
          <p14:tracePt t="28583" x="8401050" y="2201863"/>
          <p14:tracePt t="28584" x="8396288" y="2198688"/>
          <p14:tracePt t="28586" x="8391525" y="2198688"/>
          <p14:tracePt t="28587" x="8383588" y="2198688"/>
          <p14:tracePt t="28589" x="8380413" y="2198688"/>
          <p14:tracePt t="28589" x="8375650" y="2198688"/>
          <p14:tracePt t="28593" x="8372475" y="2198688"/>
          <p14:tracePt t="28600" x="8372475" y="2193925"/>
          <p14:tracePt t="28622" x="8375650" y="2193925"/>
          <p14:tracePt t="28624" x="8380413" y="2193925"/>
          <p14:tracePt t="28626" x="8383588" y="2193925"/>
          <p14:tracePt t="28627" x="8388350" y="2193925"/>
          <p14:tracePt t="28627" x="8391525" y="2193925"/>
          <p14:tracePt t="28628" x="8396288" y="2189163"/>
          <p14:tracePt t="28630" x="8401050" y="2189163"/>
          <p14:tracePt t="28630" x="8404225" y="2189163"/>
          <p14:tracePt t="28631" x="8408988" y="2189163"/>
          <p14:tracePt t="28632" x="8416925" y="2189163"/>
          <p14:tracePt t="28634" x="8424863" y="2189163"/>
          <p14:tracePt t="28635" x="8428038" y="2189163"/>
          <p14:tracePt t="28636" x="8435975" y="2189163"/>
          <p14:tracePt t="28638" x="8443913" y="2185988"/>
          <p14:tracePt t="28639" x="8451850" y="2185988"/>
          <p14:tracePt t="28639" x="8456613" y="2185988"/>
          <p14:tracePt t="28641" x="8464550" y="2185988"/>
          <p14:tracePt t="28642" x="8472488" y="2185988"/>
          <p14:tracePt t="28643" x="8488363" y="2185988"/>
          <p14:tracePt t="28643" x="8496300" y="2185988"/>
          <p14:tracePt t="28644" x="8504238" y="2185988"/>
          <p14:tracePt t="28645" x="8516938" y="2185988"/>
          <p14:tracePt t="28646" x="8532813" y="2185988"/>
          <p14:tracePt t="28647" x="8540750" y="2181225"/>
          <p14:tracePt t="28648" x="8551863" y="2181225"/>
          <p14:tracePt t="28649" x="8559800" y="2181225"/>
          <p14:tracePt t="28650" x="8575675" y="2181225"/>
          <p14:tracePt t="28651" x="8585200" y="2181225"/>
          <p14:tracePt t="28653" x="8604250" y="2181225"/>
          <p14:tracePt t="28654" x="8612188" y="2181225"/>
          <p14:tracePt t="28655" x="8624888" y="2181225"/>
          <p14:tracePt t="28655" x="8632825" y="2181225"/>
          <p14:tracePt t="28657" x="8648700" y="2181225"/>
          <p14:tracePt t="28658" x="8664575" y="2181225"/>
          <p14:tracePt t="28658" x="8680450" y="2181225"/>
          <p14:tracePt t="28659" x="8693150" y="2181225"/>
          <p14:tracePt t="28660" x="8709025" y="2181225"/>
          <p14:tracePt t="28661" x="8720138" y="2181225"/>
          <p14:tracePt t="28662" x="8740775" y="2181225"/>
          <p14:tracePt t="28663" x="8751888" y="2181225"/>
          <p14:tracePt t="28664" x="8769350" y="2181225"/>
          <p14:tracePt t="28665" x="8780463" y="2181225"/>
          <p14:tracePt t="28666" x="8793163" y="2181225"/>
          <p14:tracePt t="28667" x="8812213" y="2181225"/>
          <p14:tracePt t="28668" x="8828088" y="2181225"/>
          <p14:tracePt t="28669" x="8840788" y="2181225"/>
          <p14:tracePt t="28670" x="8853488" y="2181225"/>
          <p14:tracePt t="28672" x="8869363" y="2181225"/>
          <p14:tracePt t="28673" x="8888413" y="2181225"/>
          <p14:tracePt t="28674" x="8901113" y="2181225"/>
          <p14:tracePt t="28674" x="8912225" y="2181225"/>
          <p14:tracePt t="28675" x="8928100" y="2181225"/>
          <p14:tracePt t="28676" x="8940800" y="2181225"/>
          <p14:tracePt t="28677" x="8961438" y="2181225"/>
          <p14:tracePt t="28678" x="8977313" y="2181225"/>
          <p14:tracePt t="28679" x="8988425" y="2181225"/>
          <p14:tracePt t="28681" x="9001125" y="2181225"/>
          <p14:tracePt t="28681" x="9017000" y="2181225"/>
          <p14:tracePt t="28682" x="9028113" y="2181225"/>
          <p14:tracePt t="28684" x="9045575" y="2181225"/>
          <p14:tracePt t="28684" x="9056688" y="2181225"/>
          <p14:tracePt t="28686" x="9064625" y="2181225"/>
          <p14:tracePt t="28687" x="9077325" y="2181225"/>
          <p14:tracePt t="28688" x="9093200" y="2181225"/>
          <p14:tracePt t="28689" x="9101138" y="2181225"/>
          <p14:tracePt t="28690" x="9112250" y="2181225"/>
          <p14:tracePt t="28691" x="9120188" y="2181225"/>
          <p14:tracePt t="28692" x="9132888" y="2181225"/>
          <p14:tracePt t="28692" x="9145588" y="2181225"/>
          <p14:tracePt t="28693" x="9153525" y="2181225"/>
          <p14:tracePt t="28694" x="9161463" y="2181225"/>
          <p14:tracePt t="28695" x="9169400" y="2181225"/>
          <p14:tracePt t="28696" x="9177338" y="2181225"/>
          <p14:tracePt t="28697" x="9185275" y="2181225"/>
          <p14:tracePt t="28698" x="9193213" y="2181225"/>
          <p14:tracePt t="28699" x="9196388" y="2181225"/>
          <p14:tracePt t="28701" x="9204325" y="2181225"/>
          <p14:tracePt t="28701" x="9209088" y="2181225"/>
          <p14:tracePt t="28703" x="9217025" y="2185988"/>
          <p14:tracePt t="28704" x="9221788" y="2185988"/>
          <p14:tracePt t="28704" x="9224963" y="2185988"/>
          <p14:tracePt t="28706" x="9229725" y="2185988"/>
          <p14:tracePt t="28707" x="9232900" y="2185988"/>
          <p14:tracePt t="28707" x="9237663" y="2185988"/>
          <p14:tracePt t="28708" x="9240838" y="2185988"/>
          <p14:tracePt t="28871" x="9245600" y="2185988"/>
          <p14:tracePt t="28924" x="9248775" y="2185988"/>
          <p14:tracePt t="28943" x="9253538" y="2185988"/>
          <p14:tracePt t="28960" x="9256713" y="2185988"/>
          <p14:tracePt t="28985" x="9261475" y="2181225"/>
          <p14:tracePt t="28996" x="9264650" y="2181225"/>
          <p14:tracePt t="29005" x="9269413" y="2181225"/>
          <p14:tracePt t="29014" x="9272588" y="2181225"/>
          <p14:tracePt t="29021" x="9277350" y="2181225"/>
          <p14:tracePt t="29030" x="9280525" y="2181225"/>
          <p14:tracePt t="29039" x="9285288" y="2181225"/>
          <p14:tracePt t="29041" x="9288463" y="2181225"/>
          <p14:tracePt t="29044" x="9293225" y="2181225"/>
          <p14:tracePt t="29045" x="9293225" y="2178050"/>
          <p14:tracePt t="29050" x="9296400" y="2178050"/>
          <p14:tracePt t="29057" x="9301163" y="2178050"/>
          <p14:tracePt t="29079" x="9305925" y="2178050"/>
          <p14:tracePt t="29134" x="9305925" y="2173288"/>
          <p14:tracePt t="29624" x="9301163" y="2173288"/>
          <p14:tracePt t="29637" x="9301163" y="2178050"/>
          <p14:tracePt t="29642" x="9296400" y="2178050"/>
          <p14:tracePt t="29651" x="9293225" y="2178050"/>
          <p14:tracePt t="29663" x="9288463" y="2178050"/>
          <p14:tracePt t="29681" x="9285288" y="2178050"/>
          <p14:tracePt t="29685" x="9285288" y="2173288"/>
          <p14:tracePt t="29705" x="9280525" y="2173288"/>
          <p14:tracePt t="29707" x="9277350" y="2173288"/>
          <p14:tracePt t="29710" x="9272588" y="2173288"/>
          <p14:tracePt t="29712" x="9269413" y="2173288"/>
          <p14:tracePt t="29714" x="9264650" y="2173288"/>
          <p14:tracePt t="29715" x="9261475" y="2173288"/>
          <p14:tracePt t="29717" x="9256713" y="2173288"/>
          <p14:tracePt t="29720" x="9248775" y="2173288"/>
          <p14:tracePt t="29722" x="9245600" y="2173288"/>
          <p14:tracePt t="29723" x="9237663" y="2173288"/>
          <p14:tracePt t="29725" x="9229725" y="2173288"/>
          <p14:tracePt t="29726" x="9224963" y="2173288"/>
          <p14:tracePt t="29727" x="9221788" y="2173288"/>
          <p14:tracePt t="29729" x="9213850" y="2173288"/>
          <p14:tracePt t="29730" x="9209088" y="2173288"/>
          <p14:tracePt t="29731" x="9204325" y="2173288"/>
          <p14:tracePt t="29732" x="9196388" y="2173288"/>
          <p14:tracePt t="29734" x="9193213" y="2173288"/>
          <p14:tracePt t="29735" x="9188450" y="2173288"/>
          <p14:tracePt t="29736" x="9185275" y="2173288"/>
          <p14:tracePt t="29738" x="9177338" y="2173288"/>
          <p14:tracePt t="29740" x="9172575" y="2173288"/>
          <p14:tracePt t="29741" x="9169400" y="2173288"/>
          <p14:tracePt t="29744" x="9164638" y="2173288"/>
          <p14:tracePt t="31915" x="9161463" y="2173288"/>
          <p14:tracePt t="31918" x="9156700" y="2173288"/>
          <p14:tracePt t="31921" x="9153525" y="2170113"/>
          <p14:tracePt t="31922" x="9148763" y="2170113"/>
          <p14:tracePt t="31923" x="9148763" y="2165350"/>
          <p14:tracePt t="31925" x="9137650" y="2165350"/>
          <p14:tracePt t="31926" x="9132888" y="2162175"/>
          <p14:tracePt t="31928" x="9124950" y="2157413"/>
          <p14:tracePt t="31930" x="9117013" y="2154238"/>
          <p14:tracePt t="31931" x="9109075" y="2154238"/>
          <p14:tracePt t="31931" x="9104313" y="2149475"/>
          <p14:tracePt t="31932" x="9101138" y="2149475"/>
          <p14:tracePt t="31934" x="9093200" y="2146300"/>
          <p14:tracePt t="31936" x="9080500" y="2141538"/>
          <p14:tracePt t="31937" x="9072563" y="2141538"/>
          <p14:tracePt t="31938" x="9069388" y="2138363"/>
          <p14:tracePt t="31939" x="9061450" y="2133600"/>
          <p14:tracePt t="31940" x="9053513" y="2133600"/>
          <p14:tracePt t="31940" x="9045575" y="2130425"/>
          <p14:tracePt t="31942" x="9037638" y="2130425"/>
          <p14:tracePt t="31942" x="9028113" y="2125663"/>
          <p14:tracePt t="31943" x="9020175" y="2125663"/>
          <p14:tracePt t="31944" x="9004300" y="2122488"/>
          <p14:tracePt t="31945" x="8996363" y="2122488"/>
          <p14:tracePt t="31946" x="8985250" y="2117725"/>
          <p14:tracePt t="31947" x="8977313" y="2117725"/>
          <p14:tracePt t="31948" x="8961438" y="2109788"/>
          <p14:tracePt t="31949" x="8953500" y="2109788"/>
          <p14:tracePt t="31950" x="8945563" y="2106613"/>
          <p14:tracePt t="31953" x="8924925" y="2106613"/>
          <p14:tracePt t="31954" x="8912225" y="2101850"/>
          <p14:tracePt t="31954" x="8901113" y="2101850"/>
          <p14:tracePt t="31957" x="8885238" y="2097088"/>
          <p14:tracePt t="31958" x="8869363" y="2097088"/>
          <p14:tracePt t="31958" x="8861425" y="2097088"/>
          <p14:tracePt t="31959" x="8848725" y="2093913"/>
          <p14:tracePt t="31960" x="8840788" y="2093913"/>
          <p14:tracePt t="31961" x="8832850" y="2093913"/>
          <p14:tracePt t="31962" x="8816975" y="2093913"/>
          <p14:tracePt t="31963" x="8809038" y="2093913"/>
          <p14:tracePt t="31964" x="8796338" y="2093913"/>
          <p14:tracePt t="31965" x="8788400" y="2093913"/>
          <p14:tracePt t="31966" x="8780463" y="2093913"/>
          <p14:tracePt t="31968" x="8772525" y="2093913"/>
          <p14:tracePt t="31968" x="8756650" y="2093913"/>
          <p14:tracePt t="31970" x="8748713" y="2093913"/>
          <p14:tracePt t="31971" x="8736013" y="2093913"/>
          <p14:tracePt t="31971" x="8728075" y="2093913"/>
          <p14:tracePt t="31972" x="8720138" y="2093913"/>
          <p14:tracePt t="31973" x="8712200" y="2093913"/>
          <p14:tracePt t="31974" x="8696325" y="2093913"/>
          <p14:tracePt t="31976" x="8693150" y="2093913"/>
          <p14:tracePt t="31976" x="8685213" y="2093913"/>
          <p14:tracePt t="31977" x="8677275" y="2093913"/>
          <p14:tracePt t="31978" x="8667750" y="2093913"/>
          <p14:tracePt t="31979" x="8659813" y="2093913"/>
          <p14:tracePt t="31980" x="8651875" y="2093913"/>
          <p14:tracePt t="31981" x="8643938" y="2093913"/>
          <p14:tracePt t="31983" x="8636000" y="2093913"/>
          <p14:tracePt t="31983" x="8632825" y="2097088"/>
          <p14:tracePt t="31984" x="8624888" y="2097088"/>
          <p14:tracePt t="31985" x="8616950" y="2097088"/>
          <p14:tracePt t="31987" x="8612188" y="2101850"/>
          <p14:tracePt t="31988" x="8604250" y="2101850"/>
          <p14:tracePt t="31988" x="8601075" y="2101850"/>
          <p14:tracePt t="31989" x="8593138" y="2106613"/>
          <p14:tracePt t="31990" x="8585200" y="2106613"/>
          <p14:tracePt t="31991" x="8580438" y="2106613"/>
          <p14:tracePt t="31992" x="8575675" y="2109788"/>
          <p14:tracePt t="31995" x="8567738" y="2109788"/>
          <p14:tracePt t="31995" x="8564563" y="2114550"/>
          <p14:tracePt t="31997" x="8559800" y="2114550"/>
          <p14:tracePt t="31999" x="8556625" y="2117725"/>
          <p14:tracePt t="31999" x="8551863" y="2117725"/>
          <p14:tracePt t="32000" x="8548688" y="2117725"/>
          <p14:tracePt t="32001" x="8543925" y="2117725"/>
          <p14:tracePt t="32004" x="8540750" y="2122488"/>
          <p14:tracePt t="32004" x="8535988" y="2122488"/>
          <p14:tracePt t="32006" x="8532813" y="2125663"/>
          <p14:tracePt t="32009" x="8528050" y="2130425"/>
          <p14:tracePt t="32013" x="8524875" y="2130425"/>
          <p14:tracePt t="32015" x="8520113" y="2133600"/>
          <p14:tracePt t="32018" x="8520113" y="2138363"/>
          <p14:tracePt t="32021" x="8516938" y="2138363"/>
          <p14:tracePt t="32024" x="8516938" y="2141538"/>
          <p14:tracePt t="32032" x="8516938" y="2146300"/>
          <p14:tracePt t="32036" x="8516938" y="2149475"/>
          <p14:tracePt t="32041" x="8516938" y="2154238"/>
          <p14:tracePt t="32046" x="8520113" y="2157413"/>
          <p14:tracePt t="32048" x="8524875" y="2157413"/>
          <p14:tracePt t="32052" x="8528050" y="2157413"/>
          <p14:tracePt t="32053" x="8532813" y="2162175"/>
          <p14:tracePt t="32054" x="8535988" y="2162175"/>
          <p14:tracePt t="32055" x="8540750" y="2162175"/>
          <p14:tracePt t="32057" x="8543925" y="2165350"/>
          <p14:tracePt t="32058" x="8548688" y="2165350"/>
          <p14:tracePt t="32059" x="8551863" y="2165350"/>
          <p14:tracePt t="32060" x="8556625" y="2170113"/>
          <p14:tracePt t="32061" x="8559800" y="2170113"/>
          <p14:tracePt t="32061" x="8567738" y="2170113"/>
          <p14:tracePt t="32062" x="8572500" y="2170113"/>
          <p14:tracePt t="32063" x="8572500" y="2173288"/>
          <p14:tracePt t="32064" x="8580438" y="2173288"/>
          <p14:tracePt t="32065" x="8585200" y="2173288"/>
          <p14:tracePt t="32066" x="8588375" y="2178050"/>
          <p14:tracePt t="32067" x="8596313" y="2178050"/>
          <p14:tracePt t="32068" x="8601075" y="2178050"/>
          <p14:tracePt t="32070" x="8609013" y="2181225"/>
          <p14:tracePt t="32071" x="8612188" y="2181225"/>
          <p14:tracePt t="32071" x="8620125" y="2181225"/>
          <p14:tracePt t="32072" x="8628063" y="2181225"/>
          <p14:tracePt t="32074" x="8632825" y="2185988"/>
          <p14:tracePt t="32074" x="8640763" y="2185988"/>
          <p14:tracePt t="32077" x="8651875" y="2185988"/>
          <p14:tracePt t="32077" x="8656638" y="2189163"/>
          <p14:tracePt t="32078" x="8659813" y="2189163"/>
          <p14:tracePt t="32079" x="8664575" y="2189163"/>
          <p14:tracePt t="32080" x="8672513" y="2189163"/>
          <p14:tracePt t="32081" x="8680450" y="2189163"/>
          <p14:tracePt t="32082" x="8685213" y="2189163"/>
          <p14:tracePt t="32083" x="8688388" y="2189163"/>
          <p14:tracePt t="32084" x="8701088" y="2193925"/>
          <p14:tracePt t="32085" x="8704263" y="2193925"/>
          <p14:tracePt t="32087" x="8709025" y="2193925"/>
          <p14:tracePt t="32088" x="8716963" y="2193925"/>
          <p14:tracePt t="32088" x="8720138" y="2193925"/>
          <p14:tracePt t="32090" x="8728075" y="2193925"/>
          <p14:tracePt t="32091" x="8732838" y="2193925"/>
          <p14:tracePt t="32092" x="8736013" y="2198688"/>
          <p14:tracePt t="32093" x="8743950" y="2198688"/>
          <p14:tracePt t="32093" x="8748713" y="2198688"/>
          <p14:tracePt t="32095" x="8756650" y="2198688"/>
          <p14:tracePt t="32096" x="8761413" y="2201863"/>
          <p14:tracePt t="32097" x="8764588" y="2201863"/>
          <p14:tracePt t="32098" x="8769350" y="2201863"/>
          <p14:tracePt t="32099" x="8772525" y="2201863"/>
          <p14:tracePt t="32100" x="8780463" y="2201863"/>
          <p14:tracePt t="32101" x="8785225" y="2201863"/>
          <p14:tracePt t="32103" x="8788400" y="2206625"/>
          <p14:tracePt t="32104" x="8796338" y="2206625"/>
          <p14:tracePt t="32106" x="8804275" y="2206625"/>
          <p14:tracePt t="32108" x="8809038" y="2206625"/>
          <p14:tracePt t="32108" x="8812213" y="2206625"/>
          <p14:tracePt t="32109" x="8820150" y="2209800"/>
          <p14:tracePt t="32110" x="8824913" y="2209800"/>
          <p14:tracePt t="32111" x="8828088" y="2209800"/>
          <p14:tracePt t="32112" x="8832850" y="2209800"/>
          <p14:tracePt t="32113" x="8836025" y="2209800"/>
          <p14:tracePt t="32114" x="8840788" y="2214563"/>
          <p14:tracePt t="32115" x="8843963" y="2214563"/>
          <p14:tracePt t="32116" x="8848725" y="2214563"/>
          <p14:tracePt t="32117" x="8853488" y="2214563"/>
          <p14:tracePt t="32120" x="8856663" y="2214563"/>
          <p14:tracePt t="32121" x="8861425" y="2214563"/>
          <p14:tracePt t="32122" x="8864600" y="2214563"/>
          <p14:tracePt t="32123" x="8869363" y="2217738"/>
          <p14:tracePt t="32124" x="8872538" y="2217738"/>
          <p14:tracePt t="32125" x="8877300" y="2217738"/>
          <p14:tracePt t="32126" x="8880475" y="2222500"/>
          <p14:tracePt t="32128" x="8885238" y="2222500"/>
          <p14:tracePt t="32130" x="8888413" y="2222500"/>
          <p14:tracePt t="32132" x="8888413" y="2225675"/>
          <p14:tracePt t="32134" x="8893175" y="2225675"/>
          <p14:tracePt t="32140" x="8893175" y="2230438"/>
          <p14:tracePt t="32158" x="8893175" y="2233613"/>
          <p14:tracePt t="32161" x="8893175" y="2238375"/>
          <p14:tracePt t="32164" x="8893175" y="2241550"/>
          <p14:tracePt t="32166" x="8893175" y="2246313"/>
          <p14:tracePt t="32169" x="8893175" y="2249488"/>
          <p14:tracePt t="32172" x="8893175" y="2254250"/>
          <p14:tracePt t="32174" x="8893175" y="2257425"/>
          <p14:tracePt t="32175" x="8893175" y="2262188"/>
          <p14:tracePt t="32178" x="8893175" y="2265363"/>
          <p14:tracePt t="32178" x="8893175" y="2270125"/>
          <p14:tracePt t="32179" x="8893175" y="2273300"/>
          <p14:tracePt t="32182" x="8888413" y="2278063"/>
          <p14:tracePt t="32183" x="8888413" y="2281238"/>
          <p14:tracePt t="32183" x="8885238" y="2286000"/>
          <p14:tracePt t="32184" x="8885238" y="2290763"/>
          <p14:tracePt t="32185" x="8880475" y="2290763"/>
          <p14:tracePt t="32187" x="8880475" y="2293938"/>
          <p14:tracePt t="32188" x="8877300" y="2293938"/>
          <p14:tracePt t="32188" x="8877300" y="2298700"/>
          <p14:tracePt t="32190" x="8872538" y="2301875"/>
          <p14:tracePt t="32190" x="8869363" y="2306638"/>
          <p14:tracePt t="32192" x="8869363" y="2309813"/>
          <p14:tracePt t="32192" x="8864600" y="2309813"/>
          <p14:tracePt t="32193" x="8861425" y="2314575"/>
          <p14:tracePt t="32194" x="8856663" y="2317750"/>
          <p14:tracePt t="32195" x="8856663" y="2322513"/>
          <p14:tracePt t="32196" x="8856663" y="2325688"/>
          <p14:tracePt t="32197" x="8853488" y="2330450"/>
          <p14:tracePt t="32198" x="8848725" y="2333625"/>
          <p14:tracePt t="32199" x="8843963" y="2341563"/>
          <p14:tracePt t="32200" x="8840788" y="2341563"/>
          <p14:tracePt t="32202" x="8836025" y="2346325"/>
          <p14:tracePt t="32202" x="8832850" y="2349500"/>
          <p14:tracePt t="32203" x="8828088" y="2354263"/>
          <p14:tracePt t="32205" x="8824913" y="2357438"/>
          <p14:tracePt t="32206" x="8816975" y="2362200"/>
          <p14:tracePt t="32206" x="8812213" y="2365375"/>
          <p14:tracePt t="32207" x="8809038" y="2370138"/>
          <p14:tracePt t="32208" x="8804275" y="2378075"/>
          <p14:tracePt t="32210" x="8801100" y="2382838"/>
          <p14:tracePt t="32210" x="8793163" y="2386013"/>
          <p14:tracePt t="32211" x="8793163" y="2390775"/>
          <p14:tracePt t="32212" x="8788400" y="2393950"/>
          <p14:tracePt t="32213" x="8785225" y="2398713"/>
          <p14:tracePt t="32214" x="8777288" y="2401888"/>
          <p14:tracePt t="32215" x="8769350" y="2406650"/>
          <p14:tracePt t="32216" x="8764588" y="2409825"/>
          <p14:tracePt t="32217" x="8761413" y="2414588"/>
          <p14:tracePt t="32218" x="8751888" y="2417763"/>
          <p14:tracePt t="32220" x="8748713" y="2417763"/>
          <p14:tracePt t="32220" x="8740775" y="2425700"/>
          <p14:tracePt t="32223" x="8728075" y="2433638"/>
          <p14:tracePt t="32224" x="8712200" y="2441575"/>
          <p14:tracePt t="32225" x="8701088" y="2449513"/>
          <p14:tracePt t="32226" x="8693150" y="2449513"/>
          <p14:tracePt t="32227" x="8688388" y="2457450"/>
          <p14:tracePt t="32228" x="8680450" y="2457450"/>
          <p14:tracePt t="32229" x="8672513" y="2462213"/>
          <p14:tracePt t="32230" x="8664575" y="2470150"/>
          <p14:tracePt t="32231" x="8651875" y="2478088"/>
          <p14:tracePt t="32233" x="8643938" y="2478088"/>
          <p14:tracePt t="32233" x="8640763" y="2478088"/>
          <p14:tracePt t="32234" x="8632825" y="2482850"/>
          <p14:tracePt t="32235" x="8620125" y="2493963"/>
          <p14:tracePt t="32236" x="8612188" y="2498725"/>
          <p14:tracePt t="32237" x="8609013" y="2501900"/>
          <p14:tracePt t="32239" x="8596313" y="2501900"/>
          <p14:tracePt t="32240" x="8585200" y="2506663"/>
          <p14:tracePt t="32240" x="8575675" y="2509838"/>
          <p14:tracePt t="32241" x="8564563" y="2514600"/>
          <p14:tracePt t="32243" x="8556625" y="2517775"/>
          <p14:tracePt t="32243" x="8543925" y="2522538"/>
          <p14:tracePt t="32244" x="8535988" y="2525713"/>
          <p14:tracePt t="32245" x="8524875" y="2533650"/>
          <p14:tracePt t="32246" x="8516938" y="2538413"/>
          <p14:tracePt t="32247" x="8504238" y="2538413"/>
          <p14:tracePt t="32248" x="8496300" y="2541588"/>
          <p14:tracePt t="32249" x="8488363" y="2546350"/>
          <p14:tracePt t="32250" x="8475663" y="2549525"/>
          <p14:tracePt t="32251" x="8467725" y="2549525"/>
          <p14:tracePt t="32252" x="8456613" y="2554288"/>
          <p14:tracePt t="32253" x="8448675" y="2557463"/>
          <p14:tracePt t="32254" x="8440738" y="2557463"/>
          <p14:tracePt t="32256" x="8428038" y="2562225"/>
          <p14:tracePt t="32257" x="8416925" y="2570163"/>
          <p14:tracePt t="32258" x="8404225" y="2570163"/>
          <p14:tracePt t="32259" x="8396288" y="2570163"/>
          <p14:tracePt t="32259" x="8388350" y="2574925"/>
          <p14:tracePt t="32260" x="8372475" y="2574925"/>
          <p14:tracePt t="32261" x="8364538" y="2578100"/>
          <p14:tracePt t="32263" x="8356600" y="2578100"/>
          <p14:tracePt t="32263" x="8343900" y="2582863"/>
          <p14:tracePt t="32264" x="8335963" y="2582863"/>
          <p14:tracePt t="32265" x="8328025" y="2582863"/>
          <p14:tracePt t="32266" x="8316913" y="2586038"/>
          <p14:tracePt t="32267" x="8307388" y="2586038"/>
          <p14:tracePt t="32268" x="8296275" y="2590800"/>
          <p14:tracePt t="32270" x="8288338" y="2590800"/>
          <p14:tracePt t="32270" x="8272463" y="2590800"/>
          <p14:tracePt t="32272" x="8264525" y="2593975"/>
          <p14:tracePt t="32272" x="8256588" y="2593975"/>
          <p14:tracePt t="32273" x="8248650" y="2593975"/>
          <p14:tracePt t="32275" x="8240713" y="2598738"/>
          <p14:tracePt t="32276" x="8232775" y="2598738"/>
          <p14:tracePt t="32276" x="8215313" y="2598738"/>
          <p14:tracePt t="32277" x="8207375" y="2601913"/>
          <p14:tracePt t="32278" x="8199438" y="2601913"/>
          <p14:tracePt t="32280" x="8196263" y="2601913"/>
          <p14:tracePt t="32280" x="8183563" y="2601913"/>
          <p14:tracePt t="32281" x="8175625" y="2601913"/>
          <p14:tracePt t="32282" x="8167688" y="2601913"/>
          <p14:tracePt t="32283" x="8159750" y="2609850"/>
          <p14:tracePt t="32284" x="8151813" y="2609850"/>
          <p14:tracePt t="32285" x="8143875" y="2609850"/>
          <p14:tracePt t="32286" x="8128000" y="2609850"/>
          <p14:tracePt t="32288" x="8120063" y="2609850"/>
          <p14:tracePt t="32288" x="8115300" y="2609850"/>
          <p14:tracePt t="32290" x="8107363" y="2609850"/>
          <p14:tracePt t="32291" x="8099425" y="2609850"/>
          <p14:tracePt t="32292" x="8091488" y="2609850"/>
          <p14:tracePt t="32292" x="8083550" y="2609850"/>
          <p14:tracePt t="32294" x="8080375" y="2609850"/>
          <p14:tracePt t="32296" x="8064500" y="2609850"/>
          <p14:tracePt t="32296" x="8056563" y="2609850"/>
          <p14:tracePt t="32297" x="8051800" y="2609850"/>
          <p14:tracePt t="32298" x="8048625" y="2609850"/>
          <p14:tracePt t="32299" x="8043863" y="2609850"/>
          <p14:tracePt t="32300" x="8035925" y="2609850"/>
          <p14:tracePt t="32301" x="8031163" y="2609850"/>
          <p14:tracePt t="32303" x="8027988" y="2609850"/>
          <p14:tracePt t="32304" x="8020050" y="2609850"/>
          <p14:tracePt t="32305" x="8015288" y="2609850"/>
          <p14:tracePt t="32306" x="8012113" y="2609850"/>
          <p14:tracePt t="32306" x="8007350" y="2606675"/>
          <p14:tracePt t="32308" x="8004175" y="2606675"/>
          <p14:tracePt t="32309" x="7999413" y="2606675"/>
          <p14:tracePt t="32310" x="7996238" y="2606675"/>
          <p14:tracePt t="32311" x="7996238" y="2601913"/>
          <p14:tracePt t="32311" x="7991475" y="2601913"/>
          <p14:tracePt t="32313" x="7988300" y="2601913"/>
          <p14:tracePt t="32314" x="7983538" y="2601913"/>
          <p14:tracePt t="32315" x="7983538" y="2598738"/>
          <p14:tracePt t="32316" x="7980363" y="2598738"/>
          <p14:tracePt t="32318" x="7975600" y="2598738"/>
          <p14:tracePt t="32320" x="7975600" y="2593975"/>
          <p14:tracePt t="32321" x="7972425" y="2593975"/>
          <p14:tracePt t="32323" x="7967663" y="2590800"/>
          <p14:tracePt t="32328" x="7964488" y="2590800"/>
          <p14:tracePt t="32328" x="7964488" y="2586038"/>
          <p14:tracePt t="32331" x="7959725" y="2586038"/>
          <p14:tracePt t="32333" x="7959725" y="2582863"/>
          <p14:tracePt t="32337" x="7959725" y="2578100"/>
          <p14:tracePt t="32341" x="7959725" y="2574925"/>
          <p14:tracePt t="32343" x="7956550" y="2570163"/>
          <p14:tracePt t="32344" x="7956550" y="2566988"/>
          <p14:tracePt t="32346" x="7956550" y="2562225"/>
          <p14:tracePt t="32347" x="7956550" y="2557463"/>
          <p14:tracePt t="32348" x="7956550" y="2554288"/>
          <p14:tracePt t="32351" x="7956550" y="2549525"/>
          <p14:tracePt t="32351" x="7956550" y="2546350"/>
          <p14:tracePt t="32353" x="7956550" y="2538413"/>
          <p14:tracePt t="32356" x="7956550" y="2533650"/>
          <p14:tracePt t="32356" x="7956550" y="2530475"/>
          <p14:tracePt t="32358" x="7956550" y="2525713"/>
          <p14:tracePt t="32359" x="7956550" y="2522538"/>
          <p14:tracePt t="32361" x="7956550" y="2517775"/>
          <p14:tracePt t="32362" x="7956550" y="2514600"/>
          <p14:tracePt t="32366" x="7956550" y="2509838"/>
          <p14:tracePt t="32595" x="7959725" y="2509838"/>
          <p14:tracePt t="32597" x="7964488" y="2509838"/>
          <p14:tracePt t="32600" x="7972425" y="2509838"/>
          <p14:tracePt t="32602" x="7975600" y="2509838"/>
          <p14:tracePt t="32604" x="7980363" y="2506663"/>
          <p14:tracePt t="32605" x="7988300" y="2506663"/>
          <p14:tracePt t="32606" x="7991475" y="2506663"/>
          <p14:tracePt t="32612" x="8007350" y="2506663"/>
          <p14:tracePt t="32613" x="8012113" y="2506663"/>
          <p14:tracePt t="32614" x="8020050" y="2506663"/>
          <p14:tracePt t="32615" x="8023225" y="2506663"/>
          <p14:tracePt t="32616" x="8027988" y="2506663"/>
          <p14:tracePt t="32617" x="8031163" y="2506663"/>
          <p14:tracePt t="32618" x="8040688" y="2506663"/>
          <p14:tracePt t="32619" x="8043863" y="2506663"/>
          <p14:tracePt t="32621" x="8051800" y="2506663"/>
          <p14:tracePt t="32622" x="8056563" y="2506663"/>
          <p14:tracePt t="32623" x="8067675" y="2506663"/>
          <p14:tracePt t="32624" x="8072438" y="2506663"/>
          <p14:tracePt t="32625" x="8075613" y="2506663"/>
          <p14:tracePt t="32626" x="8080375" y="2506663"/>
          <p14:tracePt t="32627" x="8088313" y="2506663"/>
          <p14:tracePt t="32628" x="8091488" y="2506663"/>
          <p14:tracePt t="32629" x="8096250" y="2506663"/>
          <p14:tracePt t="32630" x="8099425" y="2509838"/>
          <p14:tracePt t="32631" x="8104188" y="2509838"/>
          <p14:tracePt t="32632" x="8107363" y="2509838"/>
          <p14:tracePt t="32633" x="8112125" y="2509838"/>
          <p14:tracePt t="32634" x="8115300" y="2514600"/>
          <p14:tracePt t="32635" x="8120063" y="2514600"/>
          <p14:tracePt t="32637" x="8123238" y="2514600"/>
          <p14:tracePt t="32638" x="8128000" y="2517775"/>
          <p14:tracePt t="32638" x="8135938" y="2517775"/>
          <p14:tracePt t="32640" x="8143875" y="2522538"/>
          <p14:tracePt t="32641" x="8148638" y="2522538"/>
          <p14:tracePt t="32642" x="8151813" y="2522538"/>
          <p14:tracePt t="32643" x="8151813" y="2525713"/>
          <p14:tracePt t="32645" x="8156575" y="2525713"/>
          <p14:tracePt t="32646" x="8159750" y="2525713"/>
          <p14:tracePt t="32647" x="8159750" y="2530475"/>
          <p14:tracePt t="32649" x="8164513" y="2530475"/>
          <p14:tracePt t="32649" x="8167688" y="2530475"/>
          <p14:tracePt t="32651" x="8172450" y="2530475"/>
          <p14:tracePt t="32655" x="8175625" y="2533650"/>
          <p14:tracePt t="32656" x="8180388" y="2533650"/>
          <p14:tracePt t="32659" x="8183563" y="2533650"/>
          <p14:tracePt t="32659" x="8183563" y="2538413"/>
          <p14:tracePt t="32662" x="8188325" y="2538413"/>
          <p14:tracePt t="32665" x="8191500" y="2538413"/>
          <p14:tracePt t="32665" x="8191500" y="2541588"/>
          <p14:tracePt t="32671" x="8191500" y="2546350"/>
          <p14:tracePt t="32679" x="8191500" y="2549525"/>
          <p14:tracePt t="32680" x="8196263" y="2549525"/>
          <p14:tracePt t="32692" x="8196263" y="2554288"/>
          <p14:tracePt t="32696" x="8196263" y="2557463"/>
          <p14:tracePt t="32699" x="8196263" y="2562225"/>
          <p14:tracePt t="32702" x="8196263" y="2566988"/>
          <p14:tracePt t="32703" x="8196263" y="2570163"/>
          <p14:tracePt t="32707" x="8196263" y="2574925"/>
          <p14:tracePt t="32708" x="8199438" y="2574925"/>
          <p14:tracePt t="32713" x="8204200" y="2578100"/>
          <p14:tracePt t="32715" x="8204200" y="2582863"/>
          <p14:tracePt t="32718" x="8204200" y="2586038"/>
          <p14:tracePt t="32721" x="8207375" y="2590800"/>
          <p14:tracePt t="32724" x="8212138" y="2590800"/>
          <p14:tracePt t="32725" x="8212138" y="2593975"/>
          <p14:tracePt t="32727" x="8215313" y="2593975"/>
          <p14:tracePt t="32731" x="8215313" y="2598738"/>
          <p14:tracePt t="32732" x="8220075" y="2598738"/>
          <p14:tracePt t="32736" x="8224838" y="2598738"/>
          <p14:tracePt t="32737" x="8224838" y="2601913"/>
          <p14:tracePt t="32741" x="8228013" y="2601913"/>
          <p14:tracePt t="32783" x="8228013" y="2598738"/>
          <p14:tracePt t="32788" x="8228013" y="2593975"/>
          <p14:tracePt t="32790" x="8228013" y="2590800"/>
          <p14:tracePt t="32792" x="8224838" y="2586038"/>
          <p14:tracePt t="32792" x="8224838" y="2582863"/>
          <p14:tracePt t="32796" x="8220075" y="2578100"/>
          <p14:tracePt t="32797" x="8215313" y="2574925"/>
          <p14:tracePt t="32798" x="8215313" y="2570163"/>
          <p14:tracePt t="32799" x="8212138" y="2566988"/>
          <p14:tracePt t="32800" x="8212138" y="2562225"/>
          <p14:tracePt t="32801" x="8212138" y="2557463"/>
          <p14:tracePt t="32802" x="8207375" y="2554288"/>
          <p14:tracePt t="32804" x="8204200" y="2549525"/>
          <p14:tracePt t="32805" x="8204200" y="2546350"/>
          <p14:tracePt t="32806" x="8199438" y="2541588"/>
          <p14:tracePt t="32807" x="8199438" y="2538413"/>
          <p14:tracePt t="32807" x="8196263" y="2533650"/>
          <p14:tracePt t="32809" x="8196263" y="2530475"/>
          <p14:tracePt t="32811" x="8196263" y="2525713"/>
          <p14:tracePt t="32811" x="8191500" y="2522538"/>
          <p14:tracePt t="32812" x="8191500" y="2517775"/>
          <p14:tracePt t="32813" x="8188325" y="2509838"/>
          <p14:tracePt t="32814" x="8183563" y="2506663"/>
          <p14:tracePt t="32815" x="8180388" y="2501900"/>
          <p14:tracePt t="32816" x="8180388" y="2498725"/>
          <p14:tracePt t="32817" x="8175625" y="2493963"/>
          <p14:tracePt t="32818" x="8175625" y="2490788"/>
          <p14:tracePt t="32820" x="8175625" y="2486025"/>
          <p14:tracePt t="32821" x="8172450" y="2486025"/>
          <p14:tracePt t="32823" x="8167688" y="2478088"/>
          <p14:tracePt t="32823" x="8167688" y="2474913"/>
          <p14:tracePt t="32825" x="8164513" y="2470150"/>
          <p14:tracePt t="32825" x="8164513" y="2465388"/>
          <p14:tracePt t="32827" x="8159750" y="2462213"/>
          <p14:tracePt t="32827" x="8159750" y="2457450"/>
          <p14:tracePt t="32828" x="8156575" y="2449513"/>
          <p14:tracePt t="32829" x="8151813" y="2446338"/>
          <p14:tracePt t="32830" x="8151813" y="2441575"/>
          <p14:tracePt t="32831" x="8148638" y="2438400"/>
          <p14:tracePt t="32833" x="8143875" y="2430463"/>
          <p14:tracePt t="32836" x="8143875" y="2425700"/>
          <p14:tracePt t="32837" x="8140700" y="2422525"/>
          <p14:tracePt t="32837" x="8135938" y="2417763"/>
          <p14:tracePt t="32840" x="8132763" y="2409825"/>
          <p14:tracePt t="32840" x="8128000" y="2406650"/>
          <p14:tracePt t="32841" x="8128000" y="2401888"/>
          <p14:tracePt t="32843" x="8123238" y="2401888"/>
          <p14:tracePt t="32843" x="8120063" y="2398713"/>
          <p14:tracePt t="32844" x="8115300" y="2393950"/>
          <p14:tracePt t="32845" x="8115300" y="2390775"/>
          <p14:tracePt t="32846" x="8112125" y="2390775"/>
          <p14:tracePt t="32847" x="8107363" y="2386013"/>
          <p14:tracePt t="32848" x="8104188" y="2386013"/>
          <p14:tracePt t="32849" x="8104188" y="2382838"/>
          <p14:tracePt t="32850" x="8104188" y="2378075"/>
          <p14:tracePt t="32851" x="8099425" y="2373313"/>
          <p14:tracePt t="32853" x="8091488" y="2365375"/>
          <p14:tracePt t="32856" x="8083550" y="2362200"/>
          <p14:tracePt t="32857" x="8080375" y="2357438"/>
          <p14:tracePt t="32857" x="8075613" y="2354263"/>
          <p14:tracePt t="32859" x="8072438" y="2354263"/>
          <p14:tracePt t="32859" x="8067675" y="2349500"/>
          <p14:tracePt t="32860" x="8064500" y="2346325"/>
          <p14:tracePt t="32861" x="8059738" y="2346325"/>
          <p14:tracePt t="32863" x="8059738" y="2341563"/>
          <p14:tracePt t="32863" x="8056563" y="2341563"/>
          <p14:tracePt t="32864" x="8048625" y="2338388"/>
          <p14:tracePt t="32865" x="8043863" y="2338388"/>
          <p14:tracePt t="32866" x="8040688" y="2333625"/>
          <p14:tracePt t="32867" x="8035925" y="2330450"/>
          <p14:tracePt t="32868" x="8027988" y="2330450"/>
          <p14:tracePt t="32870" x="8023225" y="2325688"/>
          <p14:tracePt t="32870" x="8015288" y="2325688"/>
          <p14:tracePt t="32872" x="8012113" y="2322513"/>
          <p14:tracePt t="32873" x="8007350" y="2322513"/>
          <p14:tracePt t="32874" x="7999413" y="2317750"/>
          <p14:tracePt t="32874" x="7991475" y="2314575"/>
          <p14:tracePt t="32875" x="7988300" y="2314575"/>
          <p14:tracePt t="32876" x="7980363" y="2309813"/>
          <p14:tracePt t="32877" x="7975600" y="2306638"/>
          <p14:tracePt t="32878" x="7967663" y="2306638"/>
          <p14:tracePt t="32879" x="7959725" y="2301875"/>
          <p14:tracePt t="32880" x="7956550" y="2301875"/>
          <p14:tracePt t="32881" x="7948613" y="2301875"/>
          <p14:tracePt t="32882" x="7939088" y="2298700"/>
          <p14:tracePt t="32883" x="7935913" y="2298700"/>
          <p14:tracePt t="32884" x="7927975" y="2293938"/>
          <p14:tracePt t="32885" x="7920038" y="2293938"/>
          <p14:tracePt t="32887" x="7915275" y="2293938"/>
          <p14:tracePt t="32887" x="7907338" y="2293938"/>
          <p14:tracePt t="32890" x="7896225" y="2290763"/>
          <p14:tracePt t="32891" x="7888288" y="2290763"/>
          <p14:tracePt t="32891" x="7880350" y="2290763"/>
          <p14:tracePt t="32892" x="7875588" y="2290763"/>
          <p14:tracePt t="32893" x="7872413" y="2286000"/>
          <p14:tracePt t="32904" x="7812088" y="2281238"/>
          <p14:tracePt t="32907" x="7796213" y="2281238"/>
          <p14:tracePt t="32908" x="7791450" y="2281238"/>
          <p14:tracePt t="32909" x="7783513" y="2281238"/>
          <p14:tracePt t="32909" x="7775575" y="2281238"/>
          <p14:tracePt t="32910" x="7772400" y="2281238"/>
          <p14:tracePt t="32911" x="7762875" y="2281238"/>
          <p14:tracePt t="32912" x="7754938" y="2281238"/>
          <p14:tracePt t="32913" x="7751763" y="2281238"/>
          <p14:tracePt t="32914" x="7747000" y="2281238"/>
          <p14:tracePt t="32915" x="7743825" y="2281238"/>
          <p14:tracePt t="32916" x="7735888" y="2281238"/>
          <p14:tracePt t="32917" x="7731125" y="2281238"/>
          <p14:tracePt t="32918" x="7723188" y="2281238"/>
          <p14:tracePt t="32920" x="7712075" y="2281238"/>
          <p14:tracePt t="32921" x="7707313" y="2286000"/>
          <p14:tracePt t="32922" x="7699375" y="2286000"/>
          <p14:tracePt t="32923" x="7696200" y="2286000"/>
          <p14:tracePt t="32924" x="7688263" y="2286000"/>
          <p14:tracePt t="32926" x="7683500" y="2286000"/>
          <p14:tracePt t="32927" x="7675563" y="2286000"/>
          <p14:tracePt t="32929" x="7667625" y="2286000"/>
          <p14:tracePt t="32929" x="7659688" y="2286000"/>
          <p14:tracePt t="32930" x="7654925" y="2286000"/>
          <p14:tracePt t="32931" x="7651750" y="2290763"/>
          <p14:tracePt t="32932" x="7643813" y="2290763"/>
          <p14:tracePt t="32933" x="7639050" y="2290763"/>
          <p14:tracePt t="32934" x="7627938" y="2293938"/>
          <p14:tracePt t="32935" x="7623175" y="2293938"/>
          <p14:tracePt t="32937" x="7615238" y="2293938"/>
          <p14:tracePt t="32938" x="7612063" y="2298700"/>
          <p14:tracePt t="32938" x="7599363" y="2298700"/>
          <p14:tracePt t="32940" x="7596188" y="2301875"/>
          <p14:tracePt t="32940" x="7588250" y="2301875"/>
          <p14:tracePt t="32942" x="7578725" y="2301875"/>
          <p14:tracePt t="32942" x="7575550" y="2301875"/>
          <p14:tracePt t="32943" x="7567613" y="2306638"/>
          <p14:tracePt t="32944" x="7559675" y="2306638"/>
          <p14:tracePt t="32945" x="7551738" y="2306638"/>
          <p14:tracePt t="32946" x="7543800" y="2309813"/>
          <p14:tracePt t="32947" x="7535863" y="2309813"/>
          <p14:tracePt t="32948" x="7527925" y="2309813"/>
          <p14:tracePt t="32949" x="7519988" y="2314575"/>
          <p14:tracePt t="32950" x="7512050" y="2314575"/>
          <p14:tracePt t="32952" x="7491413" y="2317750"/>
          <p14:tracePt t="32954" x="7483475" y="2317750"/>
          <p14:tracePt t="32955" x="7470775" y="2325688"/>
          <p14:tracePt t="32956" x="7462838" y="2325688"/>
          <p14:tracePt t="32957" x="7454900" y="2325688"/>
          <p14:tracePt t="32958" x="7443788" y="2330450"/>
          <p14:tracePt t="32959" x="7435850" y="2330450"/>
          <p14:tracePt t="32959" x="7423150" y="2330450"/>
          <p14:tracePt t="32960" x="7407275" y="2333625"/>
          <p14:tracePt t="32961" x="7399338" y="2333625"/>
          <p14:tracePt t="32962" x="7386638" y="2333625"/>
          <p14:tracePt t="32963" x="7378700" y="2333625"/>
          <p14:tracePt t="32964" x="7362825" y="2338388"/>
          <p14:tracePt t="32966" x="7351713" y="2338388"/>
          <p14:tracePt t="32967" x="7343775" y="2338388"/>
          <p14:tracePt t="32968" x="7327900" y="2341563"/>
          <p14:tracePt t="32969" x="7319963" y="2341563"/>
          <p14:tracePt t="32970" x="7307263" y="2346325"/>
          <p14:tracePt t="32971" x="7291388" y="2346325"/>
          <p14:tracePt t="32972" x="7278688" y="2346325"/>
          <p14:tracePt t="32972" x="7270750" y="2354263"/>
          <p14:tracePt t="32973" x="7254875" y="2354263"/>
          <p14:tracePt t="32974" x="7239000" y="2354263"/>
          <p14:tracePt t="32975" x="7231063" y="2354263"/>
          <p14:tracePt t="32977" x="7202488" y="2357438"/>
          <p14:tracePt t="32978" x="7186613" y="2357438"/>
          <p14:tracePt t="32979" x="7175500" y="2357438"/>
          <p14:tracePt t="32980" x="7159625" y="2357438"/>
          <p14:tracePt t="32981" x="7146925" y="2357438"/>
          <p14:tracePt t="32983" x="7138988" y="2357438"/>
          <p14:tracePt t="32983" x="7123113" y="2362200"/>
          <p14:tracePt t="32984" x="7107238" y="2362200"/>
          <p14:tracePt t="32986" x="7091363" y="2362200"/>
          <p14:tracePt t="32987" x="7083425" y="2362200"/>
          <p14:tracePt t="32988" x="7070725" y="2362200"/>
          <p14:tracePt t="32988" x="7054850" y="2362200"/>
          <p14:tracePt t="32989" x="7042150" y="2362200"/>
          <p14:tracePt t="32991" x="7031038" y="2362200"/>
          <p14:tracePt t="32992" x="7015163" y="2365375"/>
          <p14:tracePt t="32993" x="7007225" y="2365375"/>
          <p14:tracePt t="32994" x="6994525" y="2365375"/>
          <p14:tracePt t="32995" x="6975475" y="2365375"/>
          <p14:tracePt t="32995" x="6967538" y="2365375"/>
          <p14:tracePt t="32996" x="6950075" y="2365375"/>
          <p14:tracePt t="32997" x="6938963" y="2365375"/>
          <p14:tracePt t="32999" x="6910388" y="2370138"/>
          <p14:tracePt t="33000" x="6894513" y="2370138"/>
          <p14:tracePt t="33001" x="6886575" y="2370138"/>
          <p14:tracePt t="33003" x="6867525" y="2370138"/>
          <p14:tracePt t="33004" x="6846888" y="2370138"/>
          <p14:tracePt t="33006" x="6838950" y="2370138"/>
          <p14:tracePt t="33007" x="6826250" y="2370138"/>
          <p14:tracePt t="33008" x="6810375" y="2370138"/>
          <p14:tracePt t="33009" x="6802438" y="2370138"/>
          <p14:tracePt t="33009" x="6783388" y="2370138"/>
          <p14:tracePt t="33011" x="6770688" y="2370138"/>
          <p14:tracePt t="33012" x="6750050" y="2370138"/>
          <p14:tracePt t="33013" x="6742113" y="2370138"/>
          <p14:tracePt t="33014" x="6723063" y="2370138"/>
          <p14:tracePt t="33015" x="6715125" y="2370138"/>
          <p14:tracePt t="33016" x="6699250" y="2370138"/>
          <p14:tracePt t="33017" x="6691313" y="2370138"/>
          <p14:tracePt t="33018" x="6678613" y="2370138"/>
          <p14:tracePt t="33020" x="6662738" y="2370138"/>
          <p14:tracePt t="33021" x="6654800" y="2370138"/>
          <p14:tracePt t="33021" x="6642100" y="2370138"/>
          <p14:tracePt t="33022" x="6634163" y="2370138"/>
          <p14:tracePt t="33023" x="6618288" y="2370138"/>
          <p14:tracePt t="33024" x="6607175" y="2373313"/>
          <p14:tracePt t="33025" x="6599238" y="2373313"/>
          <p14:tracePt t="33026" x="6586538" y="2373313"/>
          <p14:tracePt t="33027" x="6573838" y="2373313"/>
          <p14:tracePt t="33029" x="6565900" y="2373313"/>
          <p14:tracePt t="33029" x="6554788" y="2373313"/>
          <p14:tracePt t="33030" x="6546850" y="2373313"/>
          <p14:tracePt t="33031" x="6538913" y="2373313"/>
          <p14:tracePt t="33032" x="6530975" y="2373313"/>
          <p14:tracePt t="33033" x="6523038" y="2373313"/>
          <p14:tracePt t="33034" x="6507163" y="2373313"/>
          <p14:tracePt t="33035" x="6497638" y="2373313"/>
          <p14:tracePt t="33037" x="6494463" y="2373313"/>
          <p14:tracePt t="33037" x="6486525" y="2373313"/>
          <p14:tracePt t="33038" x="6478588" y="2373313"/>
          <p14:tracePt t="33039" x="6470650" y="2373313"/>
          <p14:tracePt t="33040" x="6462713" y="2373313"/>
          <p14:tracePt t="33041" x="6457950" y="2373313"/>
          <p14:tracePt t="33043" x="6450013" y="2373313"/>
          <p14:tracePt t="33044" x="6446838" y="2373313"/>
          <p14:tracePt t="33046" x="6442075" y="2373313"/>
          <p14:tracePt t="33046" x="6438900" y="2373313"/>
          <p14:tracePt t="33047" x="6434138" y="2373313"/>
          <p14:tracePt t="33048" x="6430963" y="2373313"/>
          <p14:tracePt t="33049" x="6426200" y="2373313"/>
          <p14:tracePt t="33050" x="6423025" y="2373313"/>
          <p14:tracePt t="33053" x="6418263" y="2373313"/>
          <p14:tracePt t="33054" x="6415088" y="2373313"/>
          <p14:tracePt t="33057" x="6410325" y="2373313"/>
          <p14:tracePt t="33064" x="6405563" y="2373313"/>
          <p14:tracePt t="33193" x="6405563" y="2378075"/>
          <p14:tracePt t="33204" x="6405563" y="2382838"/>
          <p14:tracePt t="33207" x="6405563" y="2386013"/>
          <p14:tracePt t="33210" x="6405563" y="2390775"/>
          <p14:tracePt t="33211" x="6405563" y="2393950"/>
          <p14:tracePt t="33213" x="6405563" y="2398713"/>
          <p14:tracePt t="33214" x="6405563" y="2401888"/>
          <p14:tracePt t="33216" x="6405563" y="2406650"/>
          <p14:tracePt t="33220" x="6405563" y="2414588"/>
          <p14:tracePt t="33223" x="6405563" y="2422525"/>
          <p14:tracePt t="33224" x="6405563" y="2425700"/>
          <p14:tracePt t="33226" x="6405563" y="2430463"/>
          <p14:tracePt t="33228" x="6405563" y="2438400"/>
          <p14:tracePt t="33230" x="6405563" y="2441575"/>
          <p14:tracePt t="33232" x="6405563" y="2446338"/>
          <p14:tracePt t="33235" x="6405563" y="2449513"/>
          <p14:tracePt t="33236" x="6410325" y="2457450"/>
          <p14:tracePt t="33238" x="6415088" y="2462213"/>
          <p14:tracePt t="33240" x="6423025" y="2470150"/>
          <p14:tracePt t="33242" x="6430963" y="2474913"/>
          <p14:tracePt t="33244" x="6434138" y="2482850"/>
          <p14:tracePt t="33246" x="6446838" y="2490788"/>
          <p14:tracePt t="33247" x="6457950" y="2498725"/>
          <p14:tracePt t="33249" x="6462713" y="2498725"/>
          <p14:tracePt t="33250" x="6465888" y="2498725"/>
          <p14:tracePt t="33252" x="6473825" y="2506663"/>
          <p14:tracePt t="33253" x="6494463" y="2517775"/>
          <p14:tracePt t="33255" x="6502400" y="2517775"/>
          <p14:tracePt t="33256" x="6510338" y="2522538"/>
          <p14:tracePt t="33256" x="6518275" y="2525713"/>
          <p14:tracePt t="33258" x="6526213" y="2530475"/>
          <p14:tracePt t="33258" x="6534150" y="2530475"/>
          <p14:tracePt t="33259" x="6550025" y="2533650"/>
          <p14:tracePt t="33260" x="6557963" y="2538413"/>
          <p14:tracePt t="33261" x="6573838" y="2541588"/>
          <p14:tracePt t="33262" x="6581775" y="2541588"/>
          <p14:tracePt t="33263" x="6589713" y="2546350"/>
          <p14:tracePt t="33264" x="6602413" y="2546350"/>
          <p14:tracePt t="33265" x="6623050" y="2554288"/>
          <p14:tracePt t="33266" x="6638925" y="2557463"/>
          <p14:tracePt t="33267" x="6650038" y="2562225"/>
          <p14:tracePt t="33268" x="6665913" y="2562225"/>
          <p14:tracePt t="33270" x="6673850" y="2566988"/>
          <p14:tracePt t="33271" x="6699250" y="2566988"/>
          <p14:tracePt t="33272" x="6707188" y="2570163"/>
          <p14:tracePt t="33273" x="6734175" y="2574925"/>
          <p14:tracePt t="33274" x="6754813" y="2574925"/>
          <p14:tracePt t="33275" x="6775450" y="2578100"/>
          <p14:tracePt t="33276" x="6786563" y="2578100"/>
          <p14:tracePt t="33277" x="6802438" y="2586038"/>
          <p14:tracePt t="33279" x="6831013" y="2586038"/>
          <p14:tracePt t="33280" x="6854825" y="2590800"/>
          <p14:tracePt t="33282" x="6870700" y="2590800"/>
          <p14:tracePt t="33282" x="6886575" y="2590800"/>
          <p14:tracePt t="33283" x="6902450" y="2593975"/>
          <p14:tracePt t="33284" x="6915150" y="2593975"/>
          <p14:tracePt t="33285" x="6934200" y="2598738"/>
          <p14:tracePt t="33287" x="6954838" y="2598738"/>
          <p14:tracePt t="33287" x="6970713" y="2598738"/>
          <p14:tracePt t="33289" x="6983413" y="2606675"/>
          <p14:tracePt t="33290" x="7026275" y="2606675"/>
          <p14:tracePt t="33291" x="7042150" y="2606675"/>
          <p14:tracePt t="33292" x="7062788" y="2609850"/>
          <p14:tracePt t="33293" x="7075488" y="2609850"/>
          <p14:tracePt t="33295" x="7086600" y="2609850"/>
          <p14:tracePt t="33295" x="7115175" y="2609850"/>
          <p14:tracePt t="33296" x="7135813" y="2609850"/>
          <p14:tracePt t="33298" x="7146925" y="2614613"/>
          <p14:tracePt t="33298" x="7159625" y="2614613"/>
          <p14:tracePt t="33299" x="7178675" y="2614613"/>
          <p14:tracePt t="33300" x="7199313" y="2614613"/>
          <p14:tracePt t="33301" x="7218363" y="2614613"/>
          <p14:tracePt t="33303" x="7251700" y="2614613"/>
          <p14:tracePt t="33305" x="7283450" y="2614613"/>
          <p14:tracePt t="33306" x="7302500" y="2614613"/>
          <p14:tracePt t="33307" x="7315200" y="2614613"/>
          <p14:tracePt t="33308" x="7331075" y="2614613"/>
          <p14:tracePt t="33309" x="7343775" y="2617788"/>
          <p14:tracePt t="33310" x="7362825" y="2617788"/>
          <p14:tracePt t="33311" x="7378700" y="2617788"/>
          <p14:tracePt t="33313" x="7391400" y="2617788"/>
          <p14:tracePt t="33313" x="7402513" y="2617788"/>
          <p14:tracePt t="33314" x="7419975" y="2617788"/>
          <p14:tracePt t="33315" x="7439025" y="2617788"/>
          <p14:tracePt t="33316" x="7451725" y="2617788"/>
          <p14:tracePt t="33317" x="7462838" y="2617788"/>
          <p14:tracePt t="33318" x="7470775" y="2617788"/>
          <p14:tracePt t="33320" x="7486650" y="2617788"/>
          <p14:tracePt t="33321" x="7515225" y="2617788"/>
          <p14:tracePt t="33322" x="7523163" y="2617788"/>
          <p14:tracePt t="33323" x="7531100" y="2617788"/>
          <p14:tracePt t="33324" x="7543800" y="2617788"/>
          <p14:tracePt t="33325" x="7551738" y="2617788"/>
          <p14:tracePt t="33327" x="7567613" y="2617788"/>
          <p14:tracePt t="33327" x="7575550" y="2617788"/>
          <p14:tracePt t="33328" x="7583488" y="2617788"/>
          <p14:tracePt t="33329" x="7591425" y="2617788"/>
          <p14:tracePt t="33330" x="7599363" y="2617788"/>
          <p14:tracePt t="33331" x="7607300" y="2617788"/>
          <p14:tracePt t="33332" x="7615238" y="2617788"/>
          <p14:tracePt t="33333" x="7620000" y="2617788"/>
          <p14:tracePt t="33334" x="7627938" y="2617788"/>
          <p14:tracePt t="33335" x="7635875" y="2617788"/>
          <p14:tracePt t="33337" x="7643813" y="2617788"/>
          <p14:tracePt t="33337" x="7646988" y="2617788"/>
          <p14:tracePt t="33338" x="7654925" y="2617788"/>
          <p14:tracePt t="33340" x="7659688" y="2617788"/>
          <p14:tracePt t="33340" x="7667625" y="2617788"/>
          <p14:tracePt t="33341" x="7670800" y="2617788"/>
          <p14:tracePt t="33342" x="7675563" y="2617788"/>
          <p14:tracePt t="33343" x="7680325" y="2617788"/>
          <p14:tracePt t="33345" x="7683500" y="2617788"/>
          <p14:tracePt t="33345" x="7688263" y="2622550"/>
          <p14:tracePt t="33346" x="7691438" y="2622550"/>
          <p14:tracePt t="33347" x="7696200" y="2622550"/>
          <p14:tracePt t="33348" x="7699375" y="2622550"/>
          <p14:tracePt t="33349" x="7704138" y="2622550"/>
          <p14:tracePt t="33350" x="7707313" y="2622550"/>
          <p14:tracePt t="33351" x="7712075" y="2622550"/>
          <p14:tracePt t="33353" x="7715250" y="2622550"/>
          <p14:tracePt t="33356" x="7715250" y="2625725"/>
          <p14:tracePt t="33358" x="7720013" y="2625725"/>
          <p14:tracePt t="33444" x="7723188" y="2625725"/>
          <p14:tracePt t="33456" x="7727950" y="2625725"/>
          <p14:tracePt t="33473" x="7727950" y="2630488"/>
          <p14:tracePt t="33523" x="7731125" y="2630488"/>
          <p14:tracePt t="33547" x="7731125" y="2633663"/>
          <p14:tracePt t="33549" x="7735888" y="2633663"/>
          <p14:tracePt t="33554" x="7735888" y="2638425"/>
          <p14:tracePt t="33563" x="7739063" y="2641600"/>
          <p14:tracePt t="33581" x="7743825" y="2646363"/>
          <p14:tracePt t="33587" x="7743825" y="2649538"/>
          <p14:tracePt t="33594" x="7743825" y="2654300"/>
          <p14:tracePt t="33599" x="7743825" y="2659063"/>
          <p14:tracePt t="33715" x="7743825" y="2654300"/>
          <p14:tracePt t="33737" x="7743825" y="2649538"/>
          <p14:tracePt t="33747" x="7743825" y="2646363"/>
          <p14:tracePt t="33749" x="7739063" y="2646363"/>
          <p14:tracePt t="33755" x="7735888" y="2646363"/>
          <p14:tracePt t="34235" x="7735888" y="2641600"/>
          <p14:tracePt t="34239" x="7735888" y="2638425"/>
          <p14:tracePt t="34245" x="7735888" y="2633663"/>
          <p14:tracePt t="34251" x="7735888" y="2630488"/>
          <p14:tracePt t="34255" x="7735888" y="2625725"/>
          <p14:tracePt t="34257" x="7735888" y="2622550"/>
          <p14:tracePt t="34260" x="7735888" y="2617788"/>
          <p14:tracePt t="34261" x="7735888" y="2614613"/>
          <p14:tracePt t="34264" x="7735888" y="2609850"/>
          <p14:tracePt t="34269" x="7735888" y="2606675"/>
          <p14:tracePt t="34274" x="7735888" y="2601913"/>
          <p14:tracePt t="34277" x="7735888" y="2598738"/>
          <p14:tracePt t="34281" x="7735888" y="2593975"/>
          <p14:tracePt t="34288" x="7735888" y="2590800"/>
          <p14:tracePt t="34340" x="7735888" y="2586038"/>
          <p14:tracePt t="34407" x="7739063" y="2586038"/>
          <p14:tracePt t="34419" x="7739063" y="2590800"/>
          <p14:tracePt t="34421" x="7743825" y="2590800"/>
          <p14:tracePt t="34422" x="7743825" y="2593975"/>
          <p14:tracePt t="34423" x="7747000" y="2593975"/>
          <p14:tracePt t="34425" x="7751763" y="2593975"/>
          <p14:tracePt t="34426" x="7751763" y="2598738"/>
          <p14:tracePt t="34428" x="7759700" y="2598738"/>
          <p14:tracePt t="34429" x="7759700" y="2601913"/>
          <p14:tracePt t="34430" x="7762875" y="2601913"/>
          <p14:tracePt t="34431" x="7767638" y="2601913"/>
          <p14:tracePt t="34432" x="7772400" y="2606675"/>
          <p14:tracePt t="34433" x="7775575" y="2606675"/>
          <p14:tracePt t="34434" x="7780338" y="2609850"/>
          <p14:tracePt t="34435" x="7783513" y="2609850"/>
          <p14:tracePt t="34436" x="7788275" y="2614613"/>
          <p14:tracePt t="34437" x="7796213" y="2617788"/>
          <p14:tracePt t="34440" x="7799388" y="2622550"/>
          <p14:tracePt t="34441" x="7804150" y="2622550"/>
          <p14:tracePt t="34442" x="7807325" y="2625725"/>
          <p14:tracePt t="34443" x="7812088" y="2625725"/>
          <p14:tracePt t="34444" x="7815263" y="2630488"/>
          <p14:tracePt t="34445" x="7820025" y="2630488"/>
          <p14:tracePt t="34446" x="7823200" y="2633663"/>
          <p14:tracePt t="34447" x="7827963" y="2633663"/>
          <p14:tracePt t="34448" x="7831138" y="2633663"/>
          <p14:tracePt t="34449" x="7835900" y="2638425"/>
          <p14:tracePt t="34451" x="7839075" y="2641600"/>
          <p14:tracePt t="34453" x="7843838" y="2641600"/>
          <p14:tracePt t="34455" x="7847013" y="2646363"/>
          <p14:tracePt t="34456" x="7851775" y="2646363"/>
          <p14:tracePt t="34457" x="7851775" y="2649538"/>
          <p14:tracePt t="34458" x="7854950" y="2649538"/>
          <p14:tracePt t="34459" x="7859713" y="2649538"/>
          <p14:tracePt t="34460" x="7864475" y="2654300"/>
          <p14:tracePt t="34462" x="7867650" y="2654300"/>
          <p14:tracePt t="34464" x="7872413" y="2659063"/>
          <p14:tracePt t="34465" x="7875588" y="2659063"/>
          <p14:tracePt t="34467" x="7875588" y="2662238"/>
          <p14:tracePt t="34471" x="7880350" y="2662238"/>
          <p14:tracePt t="34473" x="7880350" y="2667000"/>
          <p14:tracePt t="34485" x="7880350" y="2670175"/>
          <p14:tracePt t="34533" x="7875588" y="2670175"/>
          <p14:tracePt t="34535" x="7872413" y="2670175"/>
          <p14:tracePt t="34537" x="7867650" y="2670175"/>
          <p14:tracePt t="34539" x="7864475" y="2670175"/>
          <p14:tracePt t="34542" x="7859713" y="2670175"/>
          <p14:tracePt t="34544" x="7854950" y="2670175"/>
          <p14:tracePt t="34546" x="7851775" y="2670175"/>
          <p14:tracePt t="34548" x="7847013" y="2670175"/>
          <p14:tracePt t="34550" x="7843838" y="2670175"/>
          <p14:tracePt t="34555" x="7839075" y="2670175"/>
          <p14:tracePt t="34556" x="7835900" y="2670175"/>
          <p14:tracePt t="34559" x="7831138" y="2670175"/>
          <p14:tracePt t="34562" x="7827963" y="2670175"/>
          <p14:tracePt t="34563" x="7827963" y="2674938"/>
          <p14:tracePt t="34563" x="7823200" y="2674938"/>
          <p14:tracePt t="34567" x="7820025" y="2674938"/>
          <p14:tracePt t="34570" x="7815263" y="2674938"/>
          <p14:tracePt t="34573" x="7812088" y="2674938"/>
          <p14:tracePt t="34574" x="7812088" y="2678113"/>
          <p14:tracePt t="34578" x="7807325" y="2678113"/>
          <p14:tracePt t="34585" x="7804150" y="2678113"/>
          <p14:tracePt t="34587" x="7804150" y="2682875"/>
          <p14:tracePt t="34600" x="7799388" y="2682875"/>
          <p14:tracePt t="34694" x="7796213" y="2682875"/>
          <p14:tracePt t="34788" x="7791450" y="2682875"/>
          <p14:tracePt t="34825" x="7788275" y="2682875"/>
          <p14:tracePt t="34832" x="7788275" y="2686050"/>
          <p14:tracePt t="34834" x="7783513" y="2686050"/>
          <p14:tracePt t="34897" x="7780338" y="2686050"/>
          <p14:tracePt t="34926" x="7775575" y="2686050"/>
          <p14:tracePt t="34941" x="7772400" y="2686050"/>
          <p14:tracePt t="34949" x="7767638" y="2686050"/>
          <p14:tracePt t="34950" x="7767638" y="2682875"/>
          <p14:tracePt t="34952" x="7762875" y="2682875"/>
          <p14:tracePt t="34957" x="7762875" y="2678113"/>
          <p14:tracePt t="34960" x="7762875" y="2674938"/>
          <p14:tracePt t="34961" x="7759700" y="2674938"/>
          <p14:tracePt t="34963" x="7754938" y="2674938"/>
          <p14:tracePt t="34965" x="7751763" y="2674938"/>
          <p14:tracePt t="34967" x="7747000" y="2670175"/>
          <p14:tracePt t="34968" x="7743825" y="2670175"/>
          <p14:tracePt t="34970" x="7739063" y="2667000"/>
          <p14:tracePt t="34971" x="7735888" y="2667000"/>
          <p14:tracePt t="34972" x="7731125" y="2667000"/>
          <p14:tracePt t="34972" x="7727950" y="2667000"/>
          <p14:tracePt t="34975" x="7720013" y="2662238"/>
          <p14:tracePt t="34975" x="7715250" y="2662238"/>
          <p14:tracePt t="34977" x="7712075" y="2662238"/>
          <p14:tracePt t="34979" x="7707313" y="2659063"/>
          <p14:tracePt t="34979" x="7704138" y="2659063"/>
          <p14:tracePt t="34981" x="7696200" y="2659063"/>
          <p14:tracePt t="34982" x="7696200" y="2654300"/>
          <p14:tracePt t="34983" x="7691438" y="2654300"/>
          <p14:tracePt t="34983" x="7688263" y="2654300"/>
          <p14:tracePt t="34984" x="7683500" y="2649538"/>
          <p14:tracePt t="34985" x="7680325" y="2649538"/>
          <p14:tracePt t="34988" x="7675563" y="2649538"/>
          <p14:tracePt t="35235" x="7670800" y="2649538"/>
          <p14:tracePt t="35238" x="7667625" y="2649538"/>
          <p14:tracePt t="35241" x="7662863" y="2649538"/>
          <p14:tracePt t="35243" x="7659688" y="2649538"/>
          <p14:tracePt t="35244" x="7654925" y="2649538"/>
          <p14:tracePt t="35246" x="7651750" y="2649538"/>
          <p14:tracePt t="35248" x="7643813" y="2649538"/>
          <p14:tracePt t="35251" x="7631113" y="2649538"/>
          <p14:tracePt t="35252" x="7627938" y="2649538"/>
          <p14:tracePt t="35255" x="7615238" y="2649538"/>
          <p14:tracePt t="35256" x="7607300" y="2649538"/>
          <p14:tracePt t="35257" x="7599363" y="2649538"/>
          <p14:tracePt t="35258" x="7591425" y="2649538"/>
          <p14:tracePt t="35259" x="7583488" y="2649538"/>
          <p14:tracePt t="35260" x="7575550" y="2649538"/>
          <p14:tracePt t="35261" x="7567613" y="2649538"/>
          <p14:tracePt t="35262" x="7543800" y="2646363"/>
          <p14:tracePt t="35263" x="7535863" y="2646363"/>
          <p14:tracePt t="35264" x="7527925" y="2646363"/>
          <p14:tracePt t="35265" x="7512050" y="2646363"/>
          <p14:tracePt t="35266" x="7499350" y="2641600"/>
          <p14:tracePt t="35267" x="7491413" y="2641600"/>
          <p14:tracePt t="35268" x="7475538" y="2638425"/>
          <p14:tracePt t="35270" x="7462838" y="2638425"/>
          <p14:tracePt t="35271" x="7443788" y="2638425"/>
          <p14:tracePt t="35272" x="7431088" y="2633663"/>
          <p14:tracePt t="35272" x="7415213" y="2633663"/>
          <p14:tracePt t="35273" x="7402513" y="2633663"/>
          <p14:tracePt t="35274" x="7383463" y="2625725"/>
          <p14:tracePt t="35275" x="7367588" y="2622550"/>
          <p14:tracePt t="35276" x="7343775" y="2622550"/>
          <p14:tracePt t="35277" x="7327900" y="2617788"/>
          <p14:tracePt t="35279" x="7315200" y="2614613"/>
          <p14:tracePt t="35279" x="7294563" y="2614613"/>
          <p14:tracePt t="35280" x="7275513" y="2609850"/>
          <p14:tracePt t="35281" x="7254875" y="2601913"/>
          <p14:tracePt t="35282" x="7235825" y="2598738"/>
          <p14:tracePt t="35283" x="7223125" y="2598738"/>
          <p14:tracePt t="35284" x="7202488" y="2593975"/>
          <p14:tracePt t="35285" x="7175500" y="2590800"/>
          <p14:tracePt t="35287" x="7162800" y="2582863"/>
          <p14:tracePt t="35288" x="7143750" y="2578100"/>
          <p14:tracePt t="35290" x="7107238" y="2570163"/>
          <p14:tracePt t="35290" x="7083425" y="2562225"/>
          <p14:tracePt t="35291" x="7062788" y="2557463"/>
          <p14:tracePt t="35292" x="7046913" y="2554288"/>
          <p14:tracePt t="35293" x="7034213" y="2554288"/>
          <p14:tracePt t="35295" x="7015163" y="2549525"/>
          <p14:tracePt t="35295" x="6999288" y="2546350"/>
          <p14:tracePt t="35296" x="6975475" y="2538413"/>
          <p14:tracePt t="35297" x="6959600" y="2533650"/>
          <p14:tracePt t="35298" x="6938963" y="2530475"/>
          <p14:tracePt t="35299" x="6926263" y="2525713"/>
          <p14:tracePt t="35301" x="6899275" y="2514600"/>
          <p14:tracePt t="35301" x="6886575" y="2509838"/>
          <p14:tracePt t="35302" x="6870700" y="2506663"/>
          <p14:tracePt t="35303" x="6850063" y="2501900"/>
          <p14:tracePt t="35304" x="6838950" y="2493963"/>
          <p14:tracePt t="35306" x="6823075" y="2490788"/>
          <p14:tracePt t="35307" x="6799263" y="2486025"/>
          <p14:tracePt t="35308" x="6783388" y="2474913"/>
          <p14:tracePt t="35308" x="6765925" y="2470150"/>
          <p14:tracePt t="35309" x="6750050" y="2465388"/>
          <p14:tracePt t="35310" x="6734175" y="2462213"/>
          <p14:tracePt t="35311" x="6715125" y="2449513"/>
          <p14:tracePt t="35312" x="6694488" y="2446338"/>
          <p14:tracePt t="35313" x="6678613" y="2438400"/>
          <p14:tracePt t="35314" x="6657975" y="2430463"/>
          <p14:tracePt t="35315" x="6646863" y="2425700"/>
          <p14:tracePt t="35316" x="6618288" y="2417763"/>
          <p14:tracePt t="35318" x="6607175" y="2406650"/>
          <p14:tracePt t="35318" x="6586538" y="2401888"/>
          <p14:tracePt t="35320" x="6542088" y="2382838"/>
          <p14:tracePt t="35321" x="6530975" y="2378075"/>
          <p14:tracePt t="35324" x="6489700" y="2362200"/>
          <p14:tracePt t="35326" x="6454775" y="2341563"/>
          <p14:tracePt t="35327" x="6426200" y="2330450"/>
          <p14:tracePt t="35327" x="6405563" y="2317750"/>
          <p14:tracePt t="35328" x="6386513" y="2314575"/>
          <p14:tracePt t="35329" x="6362700" y="2306638"/>
          <p14:tracePt t="35330" x="6342063" y="2293938"/>
          <p14:tracePt t="35331" x="6313488" y="2281238"/>
          <p14:tracePt t="35332" x="6294438" y="2270125"/>
          <p14:tracePt t="35333" x="6270625" y="2262188"/>
          <p14:tracePt t="35334" x="6249988" y="2249488"/>
          <p14:tracePt t="35335" x="6229350" y="2241550"/>
          <p14:tracePt t="35337" x="6202363" y="2230438"/>
          <p14:tracePt t="35337" x="6170613" y="2217738"/>
          <p14:tracePt t="35338" x="6149975" y="2209800"/>
          <p14:tracePt t="35340" x="6129338" y="2201863"/>
          <p14:tracePt t="35341" x="6094413" y="2189163"/>
          <p14:tracePt t="35342" x="6065838" y="2178050"/>
          <p14:tracePt t="35342" x="6042025" y="2165350"/>
          <p14:tracePt t="35343" x="6021388" y="2162175"/>
          <p14:tracePt t="35344" x="5994400" y="2149475"/>
          <p14:tracePt t="35345" x="5973763" y="2138363"/>
          <p14:tracePt t="35346" x="5937250" y="2125663"/>
          <p14:tracePt t="35347" x="5910263" y="2122488"/>
          <p14:tracePt t="35348" x="5878513" y="2109788"/>
          <p14:tracePt t="35349" x="5861050" y="2106613"/>
          <p14:tracePt t="35350" x="5821363" y="2093913"/>
          <p14:tracePt t="35351" x="5794375" y="2081213"/>
          <p14:tracePt t="35352" x="5765800" y="2078038"/>
          <p14:tracePt t="35354" x="5737225" y="2070100"/>
          <p14:tracePt t="35355" x="5710238" y="2057400"/>
          <p14:tracePt t="35357" x="5645150" y="2041525"/>
          <p14:tracePt t="35359" x="5561013" y="2025650"/>
          <p14:tracePt t="35360" x="5534025" y="2017713"/>
          <p14:tracePt t="35361" x="5489575" y="2005013"/>
          <p14:tracePt t="35362" x="5461000" y="2001838"/>
          <p14:tracePt t="35363" x="5434013" y="1993900"/>
          <p14:tracePt t="35364" x="5405438" y="1989138"/>
          <p14:tracePt t="35365" x="5368925" y="1981200"/>
          <p14:tracePt t="35366" x="5324475" y="1978025"/>
          <p14:tracePt t="35367" x="5297488" y="1978025"/>
          <p14:tracePt t="35368" x="5268913" y="1970088"/>
          <p14:tracePt t="35370" x="5232400" y="1965325"/>
          <p14:tracePt t="35371" x="5208588" y="1965325"/>
          <p14:tracePt t="35371" x="5165725" y="1957388"/>
          <p14:tracePt t="35374" x="5100638" y="1946275"/>
          <p14:tracePt t="35375" x="5073650" y="1946275"/>
          <p14:tracePt t="35376" x="5037138" y="1941513"/>
          <p14:tracePt t="35376" x="4992688" y="1933575"/>
          <p14:tracePt t="35377" x="4968875" y="1933575"/>
          <p14:tracePt t="35378" x="4932363" y="1930400"/>
          <p14:tracePt t="35379" x="4897438" y="1930400"/>
          <p14:tracePt t="35380" x="4868863" y="1922463"/>
          <p14:tracePt t="35381" x="4816475" y="1922463"/>
          <p14:tracePt t="35382" x="4784725" y="1922463"/>
          <p14:tracePt t="35383" x="4756150" y="1922463"/>
          <p14:tracePt t="35384" x="4721225" y="1917700"/>
          <p14:tracePt t="35385" x="4684713" y="1917700"/>
          <p14:tracePt t="35387" x="4645025" y="1917700"/>
          <p14:tracePt t="35387" x="4616450" y="1917700"/>
          <p14:tracePt t="35389" x="4579938" y="1917700"/>
          <p14:tracePt t="35390" x="4548188" y="1917700"/>
          <p14:tracePt t="35391" x="4521200" y="1917700"/>
          <p14:tracePt t="35392" x="4476750" y="1917700"/>
          <p14:tracePt t="35392" x="4445000" y="1917700"/>
          <p14:tracePt t="35393" x="4416425" y="1917700"/>
          <p14:tracePt t="35394" x="4379913" y="1917700"/>
          <p14:tracePt t="35395" x="4356100" y="1917700"/>
          <p14:tracePt t="35396" x="4311650" y="1917700"/>
          <p14:tracePt t="35397" x="4284663" y="1917700"/>
          <p14:tracePt t="35398" x="4260850" y="1917700"/>
          <p14:tracePt t="35399" x="4232275" y="1917700"/>
          <p14:tracePt t="35400" x="4203700" y="1917700"/>
          <p14:tracePt t="35401" x="4160838" y="1917700"/>
          <p14:tracePt t="35402" x="4132263" y="1925638"/>
          <p14:tracePt t="35403" x="4108450" y="1925638"/>
          <p14:tracePt t="35405" x="4051300" y="1938338"/>
          <p14:tracePt t="35406" x="4016375" y="1938338"/>
          <p14:tracePt t="35407" x="3987800" y="1941513"/>
          <p14:tracePt t="35408" x="3963988" y="1941513"/>
          <p14:tracePt t="35409" x="3935413" y="1946275"/>
          <p14:tracePt t="35410" x="3916363" y="1954213"/>
          <p14:tracePt t="35411" x="3879850" y="1957388"/>
          <p14:tracePt t="35412" x="3851275" y="1962150"/>
          <p14:tracePt t="35413" x="3832225" y="1970088"/>
          <p14:tracePt t="35414" x="3811588" y="1973263"/>
          <p14:tracePt t="35415" x="3790950" y="1973263"/>
          <p14:tracePt t="35416" x="3759200" y="1985963"/>
          <p14:tracePt t="35417" x="3740150" y="1989138"/>
          <p14:tracePt t="35418" x="3719513" y="1993900"/>
          <p14:tracePt t="35420" x="3698875" y="1997075"/>
          <p14:tracePt t="35421" x="3687763" y="2005013"/>
          <p14:tracePt t="35421" x="3659188" y="2014538"/>
          <p14:tracePt t="35423" x="3640138" y="2022475"/>
          <p14:tracePt t="35423" x="3624263" y="2025650"/>
          <p14:tracePt t="35425" x="3603625" y="2030413"/>
          <p14:tracePt t="35425" x="3590925" y="2038350"/>
          <p14:tracePt t="35426" x="3563938" y="2046288"/>
          <p14:tracePt t="35427" x="3551238" y="2054225"/>
          <p14:tracePt t="35429" x="3535363" y="2057400"/>
          <p14:tracePt t="35429" x="3524250" y="2070100"/>
          <p14:tracePt t="35430" x="3506788" y="2073275"/>
          <p14:tracePt t="35431" x="3487738" y="2081213"/>
          <p14:tracePt t="35432" x="3471863" y="2093913"/>
          <p14:tracePt t="35433" x="3463925" y="2097088"/>
          <p14:tracePt t="35434" x="3451225" y="2106613"/>
          <p14:tracePt t="35435" x="3440113" y="2114550"/>
          <p14:tracePt t="35437" x="3419475" y="2125663"/>
          <p14:tracePt t="35437" x="3411538" y="2130425"/>
          <p14:tracePt t="35439" x="3403600" y="2138363"/>
          <p14:tracePt t="35440" x="3379788" y="2154238"/>
          <p14:tracePt t="35442" x="3371850" y="2165350"/>
          <p14:tracePt t="35442" x="3355975" y="2178050"/>
          <p14:tracePt t="35443" x="3351213" y="2181225"/>
          <p14:tracePt t="35444" x="3343275" y="2189163"/>
          <p14:tracePt t="35446" x="3335338" y="2198688"/>
          <p14:tracePt t="35446" x="3322638" y="2206625"/>
          <p14:tracePt t="35447" x="3314700" y="2217738"/>
          <p14:tracePt t="35448" x="3311525" y="2225675"/>
          <p14:tracePt t="35449" x="3303588" y="2230438"/>
          <p14:tracePt t="35450" x="3298825" y="2238375"/>
          <p14:tracePt t="35451" x="3295650" y="2246313"/>
          <p14:tracePt t="35452" x="3282950" y="2257425"/>
          <p14:tracePt t="35453" x="3282950" y="2265363"/>
          <p14:tracePt t="35454" x="3282950" y="2270125"/>
          <p14:tracePt t="35456" x="3279775" y="2278063"/>
          <p14:tracePt t="35457" x="3271838" y="2286000"/>
          <p14:tracePt t="35459" x="3263900" y="2306638"/>
          <p14:tracePt t="35460" x="3263900" y="2314575"/>
          <p14:tracePt t="35461" x="3259138" y="2322513"/>
          <p14:tracePt t="35462" x="3259138" y="2325688"/>
          <p14:tracePt t="35463" x="3259138" y="2333625"/>
          <p14:tracePt t="35464" x="3255963" y="2338388"/>
          <p14:tracePt t="35465" x="3255963" y="2346325"/>
          <p14:tracePt t="35466" x="3255963" y="2354263"/>
          <p14:tracePt t="35467" x="3255963" y="2362200"/>
          <p14:tracePt t="35468" x="3255963" y="2365375"/>
          <p14:tracePt t="35469" x="3255963" y="2373313"/>
          <p14:tracePt t="35471" x="3255963" y="2382838"/>
          <p14:tracePt t="35473" x="3255963" y="2390775"/>
          <p14:tracePt t="35473" x="3255963" y="2393950"/>
          <p14:tracePt t="35475" x="3255963" y="2401888"/>
          <p14:tracePt t="35476" x="3255963" y="2406650"/>
          <p14:tracePt t="35477" x="3255963" y="2414588"/>
          <p14:tracePt t="35478" x="3255963" y="2422525"/>
          <p14:tracePt t="35479" x="3255963" y="2425700"/>
          <p14:tracePt t="35479" x="3255963" y="2433638"/>
          <p14:tracePt t="35481" x="3255963" y="2438400"/>
          <p14:tracePt t="35483" x="3259138" y="2449513"/>
          <p14:tracePt t="35483" x="3259138" y="2457450"/>
          <p14:tracePt t="35484" x="3263900" y="2462213"/>
          <p14:tracePt t="35485" x="3263900" y="2465388"/>
          <p14:tracePt t="35487" x="3263900" y="2474913"/>
          <p14:tracePt t="35488" x="3267075" y="2478088"/>
          <p14:tracePt t="35490" x="3267075" y="2482850"/>
          <p14:tracePt t="35491" x="3271838" y="2486025"/>
          <p14:tracePt t="35492" x="3271838" y="2490788"/>
          <p14:tracePt t="35493" x="3275013" y="2498725"/>
          <p14:tracePt t="35494" x="3275013" y="2501900"/>
          <p14:tracePt t="35496" x="3279775" y="2506663"/>
          <p14:tracePt t="35497" x="3279775" y="2509838"/>
          <p14:tracePt t="35499" x="3279775" y="2517775"/>
          <p14:tracePt t="35501" x="3279775" y="2522538"/>
          <p14:tracePt t="35501" x="3279775" y="2525713"/>
          <p14:tracePt t="35503" x="3282950" y="2525713"/>
          <p14:tracePt t="35505" x="3282950" y="2530475"/>
          <p14:tracePt t="35506" x="3282950" y="2533650"/>
          <p14:tracePt t="35508" x="3282950" y="2538413"/>
          <p14:tracePt t="35512" x="3282950" y="2541588"/>
          <p14:tracePt t="35514" x="3282950" y="2546350"/>
          <p14:tracePt t="35517" x="3282950" y="2549525"/>
          <p14:tracePt t="35520" x="3282950" y="2554288"/>
          <p14:tracePt t="35523" x="3282950" y="2557463"/>
          <p14:tracePt t="35526" x="3282950" y="2562225"/>
          <p14:tracePt t="35531" x="3282950" y="2566988"/>
          <p14:tracePt t="35539" x="3282950" y="2570163"/>
          <p14:tracePt t="35546" x="3282950" y="2574925"/>
          <p14:tracePt t="35553" x="3279775" y="2574925"/>
          <p14:tracePt t="35554" x="3279775" y="2578100"/>
          <p14:tracePt t="35556" x="3275013" y="2578100"/>
          <p14:tracePt t="35560" x="3275013" y="2582863"/>
          <p14:tracePt t="35561" x="3271838" y="2582863"/>
          <p14:tracePt t="35564" x="3267075" y="2582863"/>
          <p14:tracePt t="35567" x="3263900" y="2582863"/>
          <p14:tracePt t="35570" x="3259138" y="2586038"/>
          <p14:tracePt t="35575" x="3255963" y="2586038"/>
          <p14:tracePt t="35577" x="3251200" y="2590800"/>
          <p14:tracePt t="35579" x="3246438" y="2590800"/>
          <p14:tracePt t="35583" x="3243263" y="2593975"/>
          <p14:tracePt t="35585" x="3238500" y="2593975"/>
          <p14:tracePt t="35588" x="3235325" y="2593975"/>
          <p14:tracePt t="35591" x="3230563" y="2593975"/>
          <p14:tracePt t="35594" x="3227388" y="2593975"/>
          <p14:tracePt t="35595" x="3227388" y="2598738"/>
          <p14:tracePt t="35596" x="3222625" y="2598738"/>
          <p14:tracePt t="35597" x="3222625" y="2601913"/>
          <p14:tracePt t="35599" x="3219450" y="2601913"/>
          <p14:tracePt t="35602" x="3214688" y="2601913"/>
          <p14:tracePt t="35610" x="3214688" y="2606675"/>
          <p14:tracePt t="35639" x="3214688" y="2609850"/>
          <p14:tracePt t="35645" x="3214688" y="2614613"/>
          <p14:tracePt t="35647" x="3219450" y="2614613"/>
          <p14:tracePt t="35650" x="3219450" y="2617788"/>
          <p14:tracePt t="35650" x="3222625" y="2617788"/>
          <p14:tracePt t="35653" x="3222625" y="2622550"/>
          <p14:tracePt t="35654" x="3227388" y="2622550"/>
          <p14:tracePt t="35656" x="3227388" y="2625725"/>
          <p14:tracePt t="35656" x="3230563" y="2625725"/>
          <p14:tracePt t="35658" x="3230563" y="2630488"/>
          <p14:tracePt t="35660" x="3235325" y="2630488"/>
          <p14:tracePt t="35661" x="3235325" y="2633663"/>
          <p14:tracePt t="35662" x="3238500" y="2633663"/>
          <p14:tracePt t="35664" x="3243263" y="2638425"/>
          <p14:tracePt t="35666" x="3246438" y="2638425"/>
          <p14:tracePt t="35667" x="3246438" y="2641600"/>
          <p14:tracePt t="35667" x="3251200" y="2641600"/>
          <p14:tracePt t="35668" x="3251200" y="2646363"/>
          <p14:tracePt t="35670" x="3255963" y="2646363"/>
          <p14:tracePt t="35674" x="3255963" y="2649538"/>
          <p14:tracePt t="35675" x="3259138" y="2649538"/>
          <p14:tracePt t="35677" x="3263900" y="2654300"/>
          <p14:tracePt t="35677" x="3267075" y="2654300"/>
          <p14:tracePt t="35678" x="3267075" y="2659063"/>
          <p14:tracePt t="35679" x="3271838" y="2662238"/>
          <p14:tracePt t="35681" x="3275013" y="2667000"/>
          <p14:tracePt t="35683" x="3279775" y="2670175"/>
          <p14:tracePt t="35683" x="3282950" y="2670175"/>
          <p14:tracePt t="35684" x="3287713" y="2674938"/>
          <p14:tracePt t="35687" x="3290888" y="2678113"/>
          <p14:tracePt t="35688" x="3298825" y="2682875"/>
          <p14:tracePt t="35689" x="3303588" y="2686050"/>
          <p14:tracePt t="35689" x="3303588" y="2690813"/>
          <p14:tracePt t="35690" x="3306763" y="2690813"/>
          <p14:tracePt t="35691" x="3314700" y="2693988"/>
          <p14:tracePt t="35692" x="3319463" y="2698750"/>
          <p14:tracePt t="35693" x="3327400" y="2701925"/>
          <p14:tracePt t="35694" x="3330575" y="2701925"/>
          <p14:tracePt t="35695" x="3335338" y="2706688"/>
          <p14:tracePt t="35696" x="3343275" y="2709863"/>
          <p14:tracePt t="35697" x="3351213" y="2714625"/>
          <p14:tracePt t="35698" x="3355975" y="2717800"/>
          <p14:tracePt t="35699" x="3363913" y="2722563"/>
          <p14:tracePt t="35700" x="3367088" y="2725738"/>
          <p14:tracePt t="35701" x="3375025" y="2730500"/>
          <p14:tracePt t="35702" x="3382963" y="2733675"/>
          <p14:tracePt t="35703" x="3390900" y="2738438"/>
          <p14:tracePt t="35705" x="3395663" y="2741613"/>
          <p14:tracePt t="35706" x="3414713" y="2751138"/>
          <p14:tracePt t="35707" x="3422650" y="2762250"/>
          <p14:tracePt t="35709" x="3430588" y="2767013"/>
          <p14:tracePt t="35710" x="3440113" y="2770188"/>
          <p14:tracePt t="35710" x="3443288" y="2774950"/>
          <p14:tracePt t="35711" x="3451225" y="2778125"/>
          <p14:tracePt t="35712" x="3459163" y="2782888"/>
          <p14:tracePt t="35713" x="3463925" y="2786063"/>
          <p14:tracePt t="35714" x="3467100" y="2790825"/>
          <p14:tracePt t="35715" x="3475038" y="2794000"/>
          <p14:tracePt t="35716" x="3479800" y="2798763"/>
          <p14:tracePt t="35718" x="3482975" y="2798763"/>
          <p14:tracePt t="35718" x="3490913" y="2801938"/>
          <p14:tracePt t="35720" x="3498850" y="2806700"/>
          <p14:tracePt t="35721" x="3503613" y="2809875"/>
          <p14:tracePt t="35723" x="3511550" y="2809875"/>
          <p14:tracePt t="35724" x="3514725" y="2814638"/>
          <p14:tracePt t="35726" x="3519488" y="2817813"/>
          <p14:tracePt t="35728" x="3524250" y="2822575"/>
          <p14:tracePt t="35729" x="3527425" y="2825750"/>
          <p14:tracePt t="35730" x="3532188" y="2830513"/>
          <p14:tracePt t="35733" x="3540125" y="2833688"/>
          <p14:tracePt t="35733" x="3543300" y="2833688"/>
          <p14:tracePt t="35734" x="3543300" y="2838450"/>
          <p14:tracePt t="35735" x="3548063" y="2838450"/>
          <p14:tracePt t="35737" x="3551238" y="2843213"/>
          <p14:tracePt t="35739" x="3551238" y="2846388"/>
          <p14:tracePt t="35739" x="3556000" y="2846388"/>
          <p14:tracePt t="35744" x="3559175" y="2846388"/>
          <p14:tracePt t="35745" x="3559175" y="2851150"/>
          <p14:tracePt t="35746" x="3563938" y="2851150"/>
          <p14:tracePt t="35746" x="3567113" y="2851150"/>
          <p14:tracePt t="35747" x="3567113" y="2854325"/>
          <p14:tracePt t="35748" x="3571875" y="2859088"/>
          <p14:tracePt t="35749" x="3575050" y="2859088"/>
          <p14:tracePt t="35751" x="3579813" y="2862263"/>
          <p14:tracePt t="35752" x="3582988" y="2862263"/>
          <p14:tracePt t="35755" x="3587750" y="2862263"/>
          <p14:tracePt t="35755" x="3587750" y="2867025"/>
          <p14:tracePt t="35756" x="3590925" y="2867025"/>
          <p14:tracePt t="35759" x="3595688" y="2867025"/>
          <p14:tracePt t="35759" x="3595688" y="2870200"/>
          <p14:tracePt t="35763" x="3598863" y="2870200"/>
          <p14:tracePt t="35765" x="3603625" y="2874963"/>
          <p14:tracePt t="35765" x="3606800" y="2874963"/>
          <p14:tracePt t="35766" x="3606800" y="2878138"/>
          <p14:tracePt t="35768" x="3611563" y="2878138"/>
          <p14:tracePt t="35772" x="3616325" y="2878138"/>
          <p14:tracePt t="35778" x="3619500" y="2878138"/>
          <p14:tracePt t="35831" x="3619500" y="2882900"/>
          <p14:tracePt t="35834" x="3616325" y="2882900"/>
          <p14:tracePt t="35838" x="3611563" y="2882900"/>
          <p14:tracePt t="35842" x="3606800" y="2882900"/>
          <p14:tracePt t="35844" x="3603625" y="2882900"/>
          <p14:tracePt t="35846" x="3598863" y="2886075"/>
          <p14:tracePt t="35850" x="3595688" y="2886075"/>
          <p14:tracePt t="35854" x="3587750" y="2886075"/>
          <p14:tracePt t="35857" x="3579813" y="2886075"/>
          <p14:tracePt t="35858" x="3575050" y="2886075"/>
          <p14:tracePt t="35861" x="3567113" y="2886075"/>
          <p14:tracePt t="35862" x="3563938" y="2886075"/>
          <p14:tracePt t="35865" x="3559175" y="2890838"/>
          <p14:tracePt t="35866" x="3556000" y="2890838"/>
          <p14:tracePt t="35867" x="3551238" y="2890838"/>
          <p14:tracePt t="35868" x="3548063" y="2890838"/>
          <p14:tracePt t="35869" x="3543300" y="2894013"/>
          <p14:tracePt t="35871" x="3532188" y="2894013"/>
          <p14:tracePt t="35873" x="3527425" y="2894013"/>
          <p14:tracePt t="35875" x="3514725" y="2894013"/>
          <p14:tracePt t="35878" x="3506788" y="2898775"/>
          <p14:tracePt t="35880" x="3495675" y="2898775"/>
          <p14:tracePt t="35881" x="3490913" y="2898775"/>
          <p14:tracePt t="35882" x="3487738" y="2898775"/>
          <p14:tracePt t="35883" x="3482975" y="2898775"/>
          <p14:tracePt t="35884" x="3475038" y="2898775"/>
          <p14:tracePt t="35885" x="3471863" y="2898775"/>
          <p14:tracePt t="35886" x="3467100" y="2901950"/>
          <p14:tracePt t="35888" x="3463925" y="2901950"/>
          <p14:tracePt t="35891" x="3443288" y="2906713"/>
          <p14:tracePt t="35892" x="3440113" y="2906713"/>
          <p14:tracePt t="35905" x="3363913" y="2922588"/>
          <p14:tracePt t="35907" x="3359150" y="2927350"/>
          <p14:tracePt t="35908" x="3355975" y="2927350"/>
          <p14:tracePt t="35909" x="3348038" y="2927350"/>
          <p14:tracePt t="35910" x="3338513" y="2927350"/>
          <p14:tracePt t="35911" x="3335338" y="2927350"/>
          <p14:tracePt t="35911" x="3330575" y="2930525"/>
          <p14:tracePt t="35912" x="3322638" y="2930525"/>
          <p14:tracePt t="35913" x="3319463" y="2930525"/>
          <p14:tracePt t="35914" x="3314700" y="2930525"/>
          <p14:tracePt t="35915" x="3306763" y="2930525"/>
          <p14:tracePt t="35916" x="3303588" y="2930525"/>
          <p14:tracePt t="35917" x="3298825" y="2935288"/>
          <p14:tracePt t="35918" x="3295650" y="2935288"/>
          <p14:tracePt t="35920" x="3287713" y="2935288"/>
          <p14:tracePt t="35922" x="3282950" y="2935288"/>
          <p14:tracePt t="35922" x="3279775" y="2935288"/>
          <p14:tracePt t="35924" x="3275013" y="2935288"/>
          <p14:tracePt t="35925" x="3267075" y="2935288"/>
          <p14:tracePt t="35926" x="3263900" y="2935288"/>
          <p14:tracePt t="35926" x="3259138" y="2935288"/>
          <p14:tracePt t="35927" x="3255963" y="2935288"/>
          <p14:tracePt t="35929" x="3251200" y="2938463"/>
          <p14:tracePt t="35929" x="3243263" y="2938463"/>
          <p14:tracePt t="35930" x="3238500" y="2938463"/>
          <p14:tracePt t="35932" x="3235325" y="2938463"/>
          <p14:tracePt t="35933" x="3235325" y="2943225"/>
          <p14:tracePt t="35934" x="3227388" y="2943225"/>
          <p14:tracePt t="35935" x="3222625" y="2943225"/>
          <p14:tracePt t="35937" x="3222625" y="2946400"/>
          <p14:tracePt t="35938" x="3219450" y="2946400"/>
          <p14:tracePt t="35938" x="3214688" y="2946400"/>
          <p14:tracePt t="35940" x="3211513" y="2951163"/>
          <p14:tracePt t="35940" x="3206750" y="2951163"/>
          <p14:tracePt t="35942" x="3203575" y="2951163"/>
          <p14:tracePt t="35943" x="3198813" y="2951163"/>
          <p14:tracePt t="35944" x="3195638" y="2951163"/>
          <p14:tracePt t="35945" x="3187700" y="2954338"/>
          <p14:tracePt t="35948" x="3182938" y="2954338"/>
          <p14:tracePt t="35949" x="3179763" y="2954338"/>
          <p14:tracePt t="35950" x="3175000" y="2954338"/>
          <p14:tracePt t="35951" x="3171825" y="2954338"/>
          <p14:tracePt t="35952" x="3167063" y="2954338"/>
          <p14:tracePt t="35954" x="3163888" y="2954338"/>
          <p14:tracePt t="35956" x="3159125" y="2954338"/>
          <p14:tracePt t="35958" x="3154363" y="2954338"/>
          <p14:tracePt t="35961" x="3151188" y="2954338"/>
          <p14:tracePt t="35964" x="3146425" y="2954338"/>
          <p14:tracePt t="35971" x="3143250" y="2954338"/>
          <p14:tracePt t="35974" x="3138488" y="2954338"/>
          <p14:tracePt t="35977" x="3135313" y="2954338"/>
          <p14:tracePt t="35984" x="3130550" y="2954338"/>
          <p14:tracePt t="35987" x="3127375" y="2954338"/>
          <p14:tracePt t="35988" x="3122613" y="2954338"/>
          <p14:tracePt t="35993" x="3119438" y="2954338"/>
          <p14:tracePt t="35996" x="3114675" y="2954338"/>
          <p14:tracePt t="35999" x="3111500" y="2954338"/>
          <p14:tracePt t="36001" x="3111500" y="2959100"/>
          <p14:tracePt t="36002" x="3106738" y="2959100"/>
          <p14:tracePt t="36004" x="3103563" y="2959100"/>
          <p14:tracePt t="36009" x="3098800" y="2959100"/>
          <p14:tracePt t="36012" x="3095625" y="2959100"/>
          <p14:tracePt t="36016" x="3090863" y="2962275"/>
          <p14:tracePt t="36019" x="3087688" y="2962275"/>
          <p14:tracePt t="36022" x="3082925" y="2962275"/>
          <p14:tracePt t="36026" x="3079750" y="2962275"/>
          <p14:tracePt t="36027" x="3079750" y="2967038"/>
          <p14:tracePt t="36033" x="3074988" y="2967038"/>
          <p14:tracePt t="36038" x="3071813" y="2967038"/>
          <p14:tracePt t="36041" x="3067050" y="2967038"/>
          <p14:tracePt t="36054" x="3062288" y="2967038"/>
          <p14:tracePt t="36058" x="3062288" y="2970213"/>
          <p14:tracePt t="36065" x="3059113" y="2970213"/>
          <p14:tracePt t="36070" x="3054350" y="2970213"/>
          <p14:tracePt t="36073" x="3051175" y="2970213"/>
          <p14:tracePt t="36075" x="3051175" y="2974975"/>
          <p14:tracePt t="36076" x="3046413" y="2974975"/>
          <p14:tracePt t="36077" x="3043238" y="2978150"/>
          <p14:tracePt t="36080" x="3038475" y="2978150"/>
          <p14:tracePt t="36082" x="3035300" y="2982913"/>
          <p14:tracePt t="36084" x="3030538" y="2982913"/>
          <p14:tracePt t="36084" x="3030538" y="2986088"/>
          <p14:tracePt t="36086" x="3027363" y="2986088"/>
          <p14:tracePt t="36087" x="3022600" y="2986088"/>
          <p14:tracePt t="36090" x="3019425" y="2986088"/>
          <p14:tracePt t="36092" x="3014663" y="2986088"/>
          <p14:tracePt t="36094" x="3011488" y="2986088"/>
          <p14:tracePt t="36094" x="3006725" y="2990850"/>
          <p14:tracePt t="36097" x="3003550" y="2990850"/>
          <p14:tracePt t="36098" x="2998788" y="2990850"/>
          <p14:tracePt t="36098" x="2998788" y="2994025"/>
          <p14:tracePt t="36100" x="2995613" y="2994025"/>
          <p14:tracePt t="36101" x="2990850" y="2994025"/>
          <p14:tracePt t="36103" x="2987675" y="2994025"/>
          <p14:tracePt t="36105" x="2982913" y="2994025"/>
          <p14:tracePt t="36106" x="2978150" y="2994025"/>
          <p14:tracePt t="36109" x="2974975" y="2994025"/>
          <p14:tracePt t="36109" x="2970213" y="2998788"/>
          <p14:tracePt t="36110" x="2967038" y="2998788"/>
          <p14:tracePt t="36111" x="2962275" y="2998788"/>
          <p14:tracePt t="36113" x="2959100" y="2998788"/>
          <p14:tracePt t="36114" x="2954338" y="3001963"/>
          <p14:tracePt t="36115" x="2951163" y="3001963"/>
          <p14:tracePt t="36116" x="2946400" y="3001963"/>
          <p14:tracePt t="36117" x="2943225" y="3001963"/>
          <p14:tracePt t="36120" x="2938463" y="3001963"/>
          <p14:tracePt t="36122" x="2930525" y="3006725"/>
          <p14:tracePt t="36123" x="2927350" y="3006725"/>
          <p14:tracePt t="36124" x="2922588" y="3006725"/>
          <p14:tracePt t="36125" x="2919413" y="3009900"/>
          <p14:tracePt t="36125" x="2914650" y="3009900"/>
          <p14:tracePt t="36127" x="2911475" y="3009900"/>
          <p14:tracePt t="36127" x="2906713" y="3009900"/>
          <p14:tracePt t="36128" x="2903538" y="3009900"/>
          <p14:tracePt t="36131" x="2898775" y="3014663"/>
          <p14:tracePt t="36132" x="2895600" y="3014663"/>
          <p14:tracePt t="36132" x="2890838" y="3014663"/>
          <p14:tracePt t="36133" x="2886075" y="3014663"/>
          <p14:tracePt t="36134" x="2882900" y="3014663"/>
          <p14:tracePt t="36135" x="2878138" y="3019425"/>
          <p14:tracePt t="36137" x="2874963" y="3019425"/>
          <p14:tracePt t="36138" x="2870200" y="3019425"/>
          <p14:tracePt t="36139" x="2862263" y="3019425"/>
          <p14:tracePt t="36139" x="2859088" y="3019425"/>
          <p14:tracePt t="36140" x="2854325" y="3019425"/>
          <p14:tracePt t="36141" x="2854325" y="3022600"/>
          <p14:tracePt t="36143" x="2851150" y="3022600"/>
          <p14:tracePt t="36143" x="2846388" y="3022600"/>
          <p14:tracePt t="36145" x="2843213" y="3022600"/>
          <p14:tracePt t="36145" x="2838450" y="3022600"/>
          <p14:tracePt t="36146" x="2835275" y="3022600"/>
          <p14:tracePt t="36147" x="2830513" y="3027363"/>
          <p14:tracePt t="36148" x="2827338" y="3027363"/>
          <p14:tracePt t="36149" x="2822575" y="3027363"/>
          <p14:tracePt t="36150" x="2819400" y="3027363"/>
          <p14:tracePt t="36151" x="2814638" y="3027363"/>
          <p14:tracePt t="36154" x="2811463" y="3027363"/>
          <p14:tracePt t="36154" x="2806700" y="3027363"/>
          <p14:tracePt t="36155" x="2803525" y="3027363"/>
          <p14:tracePt t="36157" x="2798763" y="3030538"/>
          <p14:tracePt t="36157" x="2794000" y="3030538"/>
          <p14:tracePt t="36159" x="2790825" y="3030538"/>
          <p14:tracePt t="36161" x="2782888" y="3030538"/>
          <p14:tracePt t="36163" x="2778125" y="3030538"/>
          <p14:tracePt t="36164" x="2774950" y="3030538"/>
          <p14:tracePt t="36165" x="2770188" y="3030538"/>
          <p14:tracePt t="36168" x="2767013" y="3030538"/>
          <p14:tracePt t="36171" x="2762250" y="3030538"/>
          <p14:tracePt t="36172" x="2759075" y="3030538"/>
          <p14:tracePt t="36174" x="2754313" y="3030538"/>
          <p14:tracePt t="36175" x="2751138" y="3030538"/>
          <p14:tracePt t="36177" x="2746375" y="3035300"/>
          <p14:tracePt t="36178" x="2743200" y="3035300"/>
          <p14:tracePt t="36180" x="2738438" y="3035300"/>
          <p14:tracePt t="36183" x="2735263" y="3035300"/>
          <p14:tracePt t="36184" x="2730500" y="3035300"/>
          <p14:tracePt t="36189" x="2727325" y="3035300"/>
          <p14:tracePt t="36192" x="2722563" y="3035300"/>
          <p14:tracePt t="36196" x="2719388" y="3035300"/>
          <p14:tracePt t="36200" x="2714625" y="3035300"/>
          <p14:tracePt t="36203" x="2711450" y="3035300"/>
          <p14:tracePt t="36206" x="2706688" y="3035300"/>
          <p14:tracePt t="36211" x="2701925" y="3035300"/>
          <p14:tracePt t="36221" x="2698750" y="3035300"/>
          <p14:tracePt t="36225" x="2693988" y="3035300"/>
          <p14:tracePt t="36230" x="2693988" y="3038475"/>
          <p14:tracePt t="36232" x="2690813" y="3038475"/>
          <p14:tracePt t="36506" x="2686050" y="3038475"/>
          <p14:tracePt t="36509" x="2682875" y="3038475"/>
          <p14:tracePt t="36514" x="2674938" y="3038475"/>
          <p14:tracePt t="36515" x="2670175" y="3043238"/>
          <p14:tracePt t="36517" x="2667000" y="3046413"/>
          <p14:tracePt t="36519" x="2662238" y="3046413"/>
          <p14:tracePt t="36523" x="2654300" y="3051175"/>
          <p14:tracePt t="36524" x="2651125" y="3051175"/>
          <p14:tracePt t="36526" x="2646363" y="3051175"/>
          <p14:tracePt t="36530" x="2635250" y="3054350"/>
          <p14:tracePt t="36532" x="2627313" y="3059113"/>
          <p14:tracePt t="36535" x="2617788" y="3059113"/>
          <p14:tracePt t="36537" x="2609850" y="3062288"/>
          <p14:tracePt t="36540" x="2606675" y="3062288"/>
          <p14:tracePt t="36544" x="2590800" y="3067050"/>
          <p14:tracePt t="36547" x="2578100" y="3070225"/>
          <p14:tracePt t="36550" x="2570163" y="3070225"/>
          <p14:tracePt t="36553" x="2562225" y="3070225"/>
          <p14:tracePt t="36554" x="2554288" y="3074988"/>
          <p14:tracePt t="36556" x="2551113" y="3074988"/>
          <p14:tracePt t="36558" x="2543175" y="3074988"/>
          <p14:tracePt t="36558" x="2538413" y="3074988"/>
          <p14:tracePt t="36561" x="2535238" y="3074988"/>
          <p14:tracePt t="36562" x="2530475" y="3074988"/>
          <p14:tracePt t="36563" x="2525713" y="3074988"/>
          <p14:tracePt t="36564" x="2522538" y="3074988"/>
          <p14:tracePt t="36566" x="2517775" y="3074988"/>
          <p14:tracePt t="36567" x="2514600" y="3074988"/>
          <p14:tracePt t="36568" x="2509838" y="3078163"/>
          <p14:tracePt t="36569" x="2506663" y="3078163"/>
          <p14:tracePt t="36571" x="2498725" y="3078163"/>
          <p14:tracePt t="36572" x="2490788" y="3078163"/>
          <p14:tracePt t="36574" x="2486025" y="3078163"/>
          <p14:tracePt t="36575" x="2482850" y="3078163"/>
          <p14:tracePt t="36577" x="2478088" y="3082925"/>
          <p14:tracePt t="36577" x="2474913" y="3082925"/>
          <p14:tracePt t="36579" x="2470150" y="3082925"/>
          <p14:tracePt t="36580" x="2466975" y="3082925"/>
          <p14:tracePt t="36582" x="2462213" y="3082925"/>
          <p14:tracePt t="36582" x="2454275" y="3082925"/>
          <p14:tracePt t="36583" x="2451100" y="3082925"/>
          <p14:tracePt t="36584" x="2446338" y="3082925"/>
          <p14:tracePt t="36587" x="2443163" y="3082925"/>
          <p14:tracePt t="36588" x="2438400" y="3086100"/>
          <p14:tracePt t="36588" x="2433638" y="3086100"/>
          <p14:tracePt t="36590" x="2430463" y="3086100"/>
          <p14:tracePt t="36592" x="2425700" y="3086100"/>
          <p14:tracePt t="36593" x="2422525" y="3086100"/>
          <p14:tracePt t="36594" x="2417763" y="3086100"/>
          <p14:tracePt t="36597" x="2414588" y="3086100"/>
          <p14:tracePt t="36597" x="2409825" y="3086100"/>
          <p14:tracePt t="36599" x="2406650" y="3086100"/>
          <p14:tracePt t="36600" x="2401888" y="3086100"/>
          <p14:tracePt t="36603" x="2398713" y="3086100"/>
          <p14:tracePt t="36605" x="2393950" y="3086100"/>
          <p14:tracePt t="36609" x="2390775" y="3086100"/>
          <p14:tracePt t="36613" x="2386013" y="3086100"/>
          <p14:tracePt t="36618" x="2382838" y="3086100"/>
          <p14:tracePt t="36696" x="2382838" y="3090863"/>
          <p14:tracePt t="36699" x="2378075" y="3090863"/>
          <p14:tracePt t="36703" x="2374900" y="3090863"/>
          <p14:tracePt t="36708" x="2370138" y="3090863"/>
          <p14:tracePt t="36712" x="2366963" y="3090863"/>
          <p14:tracePt t="36717" x="2362200" y="3090863"/>
          <p14:tracePt t="36718" x="2362200" y="3094038"/>
          <p14:tracePt t="36724" x="2362200" y="3098800"/>
          <p14:tracePt t="36727" x="2359025" y="3098800"/>
          <p14:tracePt t="36734" x="2359025" y="3101975"/>
          <p14:tracePt t="36738" x="2354263" y="3101975"/>
          <p14:tracePt t="37862" x="2359025" y="3101975"/>
          <p14:tracePt t="38151" x="2359025" y="3098800"/>
          <p14:tracePt t="38297" x="2362200" y="3098800"/>
          <p14:tracePt t="38326" x="2362200" y="3094038"/>
          <p14:tracePt t="38333" x="2366963" y="3094038"/>
          <p14:tracePt t="38905" x="2366963" y="3090863"/>
          <p14:tracePt t="38946" x="2366963" y="3086100"/>
          <p14:tracePt t="38958" x="2366963" y="3082925"/>
          <p14:tracePt t="38961" x="2370138" y="3082925"/>
          <p14:tracePt t="39291" x="2374900" y="3082925"/>
          <p14:tracePt t="39377" x="2378075" y="3082925"/>
          <p14:tracePt t="40007" x="2382838" y="3082925"/>
          <p14:tracePt t="40028" x="2386013" y="3082925"/>
          <p14:tracePt t="40033" x="2390775" y="3082925"/>
          <p14:tracePt t="40041" x="2393950" y="3082925"/>
          <p14:tracePt t="40043" x="2398713" y="3082925"/>
          <p14:tracePt t="40045" x="2401888" y="3082925"/>
          <p14:tracePt t="40046" x="2406650" y="3082925"/>
          <p14:tracePt t="40049" x="2409825" y="3082925"/>
          <p14:tracePt t="40050" x="2414588" y="3082925"/>
          <p14:tracePt t="40050" x="2417763" y="3082925"/>
          <p14:tracePt t="40051" x="2422525" y="3082925"/>
          <p14:tracePt t="40054" x="2425700" y="3082925"/>
          <p14:tracePt t="40054" x="2430463" y="3082925"/>
          <p14:tracePt t="40057" x="2433638" y="3082925"/>
          <p14:tracePt t="40058" x="2438400" y="3082925"/>
          <p14:tracePt t="40059" x="2443163" y="3082925"/>
          <p14:tracePt t="40060" x="2446338" y="3082925"/>
          <p14:tracePt t="40061" x="2454275" y="3082925"/>
          <p14:tracePt t="40062" x="2459038" y="3082925"/>
          <p14:tracePt t="40063" x="2466975" y="3082925"/>
          <p14:tracePt t="40064" x="2470150" y="3082925"/>
          <p14:tracePt t="40065" x="2474913" y="3082925"/>
          <p14:tracePt t="40067" x="2478088" y="3082925"/>
          <p14:tracePt t="40068" x="2482850" y="3082925"/>
          <p14:tracePt t="40069" x="2486025" y="3082925"/>
          <p14:tracePt t="40070" x="2490788" y="3082925"/>
          <p14:tracePt t="40071" x="2498725" y="3082925"/>
          <p14:tracePt t="40071" x="2501900" y="3082925"/>
          <p14:tracePt t="40072" x="2506663" y="3082925"/>
          <p14:tracePt t="40074" x="2514600" y="3082925"/>
          <p14:tracePt t="40075" x="2522538" y="3082925"/>
          <p14:tracePt t="40076" x="2525713" y="3082925"/>
          <p14:tracePt t="40077" x="2530475" y="3082925"/>
          <p14:tracePt t="40078" x="2538413" y="3082925"/>
          <p14:tracePt t="40079" x="2546350" y="3082925"/>
          <p14:tracePt t="40079" x="2554288" y="3082925"/>
          <p14:tracePt t="40081" x="2559050" y="3082925"/>
          <p14:tracePt t="40081" x="2566988" y="3082925"/>
          <p14:tracePt t="40082" x="2570163" y="3082925"/>
          <p14:tracePt t="40083" x="2578100" y="3082925"/>
          <p14:tracePt t="40084" x="2586038" y="3082925"/>
          <p14:tracePt t="40086" x="2593975" y="3082925"/>
          <p14:tracePt t="40086" x="2598738" y="3082925"/>
          <p14:tracePt t="40088" x="2606675" y="3082925"/>
          <p14:tracePt t="40089" x="2614613" y="3082925"/>
          <p14:tracePt t="40090" x="2622550" y="3082925"/>
          <p14:tracePt t="40090" x="2627313" y="3082925"/>
          <p14:tracePt t="40091" x="2635250" y="3082925"/>
          <p14:tracePt t="40092" x="2643188" y="3082925"/>
          <p14:tracePt t="40094" x="2651125" y="3082925"/>
          <p14:tracePt t="40095" x="2659063" y="3082925"/>
          <p14:tracePt t="40096" x="2670175" y="3082925"/>
          <p14:tracePt t="40099" x="2686050" y="3082925"/>
          <p14:tracePt t="40099" x="2693988" y="3082925"/>
          <p14:tracePt t="40100" x="2701925" y="3082925"/>
          <p14:tracePt t="40101" x="2711450" y="3082925"/>
          <p14:tracePt t="40102" x="2719388" y="3082925"/>
          <p14:tracePt t="40104" x="2727325" y="3082925"/>
          <p14:tracePt t="40105" x="2735263" y="3082925"/>
          <p14:tracePt t="40105" x="2746375" y="3082925"/>
          <p14:tracePt t="40107" x="2754313" y="3082925"/>
          <p14:tracePt t="40108" x="2762250" y="3082925"/>
          <p14:tracePt t="40109" x="2778125" y="3082925"/>
          <p14:tracePt t="40109" x="2790825" y="3082925"/>
          <p14:tracePt t="40110" x="2798763" y="3078163"/>
          <p14:tracePt t="40111" x="2814638" y="3078163"/>
          <p14:tracePt t="40112" x="2822575" y="3078163"/>
          <p14:tracePt t="40113" x="2835275" y="3078163"/>
          <p14:tracePt t="40114" x="2854325" y="3078163"/>
          <p14:tracePt t="40115" x="2862263" y="3078163"/>
          <p14:tracePt t="40116" x="2878138" y="3078163"/>
          <p14:tracePt t="40117" x="2890838" y="3078163"/>
          <p14:tracePt t="40118" x="2911475" y="3078163"/>
          <p14:tracePt t="40119" x="2922588" y="3078163"/>
          <p14:tracePt t="40121" x="2938463" y="3074988"/>
          <p14:tracePt t="40121" x="2951163" y="3074988"/>
          <p14:tracePt t="40122" x="2962275" y="3074988"/>
          <p14:tracePt t="40124" x="2978150" y="3074988"/>
          <p14:tracePt t="40124" x="2998788" y="3074988"/>
          <p14:tracePt t="40125" x="3014663" y="3074988"/>
          <p14:tracePt t="40126" x="3030538" y="3074988"/>
          <p14:tracePt t="40127" x="3043238" y="3074988"/>
          <p14:tracePt t="40128" x="3062288" y="3070225"/>
          <p14:tracePt t="40129" x="3082925" y="3070225"/>
          <p14:tracePt t="40130" x="3095625" y="3070225"/>
          <p14:tracePt t="40131" x="3111500" y="3070225"/>
          <p14:tracePt t="40132" x="3130550" y="3070225"/>
          <p14:tracePt t="40133" x="3143250" y="3070225"/>
          <p14:tracePt t="40134" x="3167063" y="3070225"/>
          <p14:tracePt t="40135" x="3187700" y="3067050"/>
          <p14:tracePt t="40136" x="3203575" y="3067050"/>
          <p14:tracePt t="40138" x="3222625" y="3067050"/>
          <p14:tracePt t="40139" x="3246438" y="3067050"/>
          <p14:tracePt t="40140" x="3259138" y="3059113"/>
          <p14:tracePt t="40140" x="3279775" y="3059113"/>
          <p14:tracePt t="40141" x="3295650" y="3059113"/>
          <p14:tracePt t="40142" x="3311525" y="3059113"/>
          <p14:tracePt t="40143" x="3338513" y="3054350"/>
          <p14:tracePt t="40144" x="3359150" y="3054350"/>
          <p14:tracePt t="40145" x="3371850" y="3054350"/>
          <p14:tracePt t="40146" x="3390900" y="3054350"/>
          <p14:tracePt t="40147" x="3403600" y="3054350"/>
          <p14:tracePt t="40148" x="3430588" y="3054350"/>
          <p14:tracePt t="40149" x="3443288" y="3054350"/>
          <p14:tracePt t="40150" x="3463925" y="3054350"/>
          <p14:tracePt t="40151" x="3475038" y="3054350"/>
          <p14:tracePt t="40152" x="3495675" y="3051175"/>
          <p14:tracePt t="40154" x="3511550" y="3051175"/>
          <p14:tracePt t="40155" x="3535363" y="3051175"/>
          <p14:tracePt t="40156" x="3551238" y="3046413"/>
          <p14:tracePt t="40156" x="3563938" y="3046413"/>
          <p14:tracePt t="40157" x="3582988" y="3046413"/>
          <p14:tracePt t="40158" x="3603625" y="3046413"/>
          <p14:tracePt t="40159" x="3619500" y="3046413"/>
          <p14:tracePt t="40160" x="3635375" y="3038475"/>
          <p14:tracePt t="40161" x="3648075" y="3038475"/>
          <p14:tracePt t="40162" x="3663950" y="3038475"/>
          <p14:tracePt t="40163" x="3683000" y="3038475"/>
          <p14:tracePt t="40164" x="3698875" y="3038475"/>
          <p14:tracePt t="40165" x="3719513" y="3038475"/>
          <p14:tracePt t="40166" x="3735388" y="3035300"/>
          <p14:tracePt t="40167" x="3748088" y="3035300"/>
          <p14:tracePt t="40168" x="3767138" y="3035300"/>
          <p14:tracePt t="40169" x="3779838" y="3035300"/>
          <p14:tracePt t="40171" x="3795713" y="3035300"/>
          <p14:tracePt t="40172" x="3808413" y="3035300"/>
          <p14:tracePt t="40172" x="3824288" y="3035300"/>
          <p14:tracePt t="40173" x="3835400" y="3035300"/>
          <p14:tracePt t="40174" x="3856038" y="3035300"/>
          <p14:tracePt t="40175" x="3867150" y="3035300"/>
          <p14:tracePt t="40177" x="3884613" y="3035300"/>
          <p14:tracePt t="40177" x="3895725" y="3035300"/>
          <p14:tracePt t="40178" x="3916363" y="3035300"/>
          <p14:tracePt t="40179" x="3927475" y="3035300"/>
          <p14:tracePt t="40180" x="3943350" y="3035300"/>
          <p14:tracePt t="40181" x="3951288" y="3035300"/>
          <p14:tracePt t="40182" x="3963988" y="3035300"/>
          <p14:tracePt t="40183" x="3976688" y="3035300"/>
          <p14:tracePt t="40184" x="3995738" y="3035300"/>
          <p14:tracePt t="40185" x="4011613" y="3035300"/>
          <p14:tracePt t="40186" x="4024313" y="3035300"/>
          <p14:tracePt t="40187" x="4035425" y="3035300"/>
          <p14:tracePt t="40188" x="4051300" y="3035300"/>
          <p14:tracePt t="40189" x="4071938" y="3035300"/>
          <p14:tracePt t="40190" x="4084638" y="3035300"/>
          <p14:tracePt t="40191" x="4092575" y="3035300"/>
          <p14:tracePt t="40192" x="4108450" y="3035300"/>
          <p14:tracePt t="40193" x="4119563" y="3035300"/>
          <p14:tracePt t="40194" x="4140200" y="3035300"/>
          <p14:tracePt t="40195" x="4148138" y="3035300"/>
          <p14:tracePt t="40196" x="4160838" y="3035300"/>
          <p14:tracePt t="40197" x="4176713" y="3035300"/>
          <p14:tracePt t="40198" x="4187825" y="3035300"/>
          <p14:tracePt t="40199" x="4208463" y="3035300"/>
          <p14:tracePt t="40200" x="4216400" y="3035300"/>
          <p14:tracePt t="40201" x="4227513" y="3035300"/>
          <p14:tracePt t="40202" x="4243388" y="3035300"/>
          <p14:tracePt t="40204" x="4256088" y="3035300"/>
          <p14:tracePt t="40204" x="4271963" y="3035300"/>
          <p14:tracePt t="40205" x="4284663" y="3035300"/>
          <p14:tracePt t="40206" x="4300538" y="3035300"/>
          <p14:tracePt t="40207" x="4308475" y="3043238"/>
          <p14:tracePt t="40208" x="4319588" y="3043238"/>
          <p14:tracePt t="40209" x="4337050" y="3043238"/>
          <p14:tracePt t="40210" x="4348163" y="3046413"/>
          <p14:tracePt t="40211" x="4360863" y="3046413"/>
          <p14:tracePt t="40212" x="4371975" y="3046413"/>
          <p14:tracePt t="40213" x="4384675" y="3046413"/>
          <p14:tracePt t="40214" x="4395788" y="3051175"/>
          <p14:tracePt t="40215" x="4411663" y="3051175"/>
          <p14:tracePt t="40216" x="4419600" y="3051175"/>
          <p14:tracePt t="40217" x="4432300" y="3051175"/>
          <p14:tracePt t="40218" x="4445000" y="3054350"/>
          <p14:tracePt t="40219" x="4456113" y="3054350"/>
          <p14:tracePt t="40220" x="4468813" y="3054350"/>
          <p14:tracePt t="40221" x="4479925" y="3059113"/>
          <p14:tracePt t="40222" x="4487863" y="3059113"/>
          <p14:tracePt t="40223" x="4500563" y="3059113"/>
          <p14:tracePt t="40224" x="4516438" y="3062288"/>
          <p14:tracePt t="40225" x="4524375" y="3062288"/>
          <p14:tracePt t="40226" x="4532313" y="3062288"/>
          <p14:tracePt t="40227" x="4545013" y="3067050"/>
          <p14:tracePt t="40228" x="4552950" y="3067050"/>
          <p14:tracePt t="40229" x="4560888" y="3067050"/>
          <p14:tracePt t="40230" x="4568825" y="3074988"/>
          <p14:tracePt t="40231" x="4576763" y="3074988"/>
          <p14:tracePt t="40232" x="4587875" y="3074988"/>
          <p14:tracePt t="40233" x="4595813" y="3074988"/>
          <p14:tracePt t="40234" x="4603750" y="3078163"/>
          <p14:tracePt t="40235" x="4613275" y="3078163"/>
          <p14:tracePt t="40237" x="4629150" y="3078163"/>
          <p14:tracePt t="40238" x="4637088" y="3078163"/>
          <p14:tracePt t="40239" x="4645025" y="3078163"/>
          <p14:tracePt t="40241" x="4652963" y="3082925"/>
          <p14:tracePt t="40241" x="4660900" y="3082925"/>
          <p14:tracePt t="40242" x="4668838" y="3082925"/>
          <p14:tracePt t="40243" x="4672013" y="3082925"/>
          <p14:tracePt t="40244" x="4679950" y="3082925"/>
          <p14:tracePt t="40245" x="4687888" y="3086100"/>
          <p14:tracePt t="40246" x="4692650" y="3086100"/>
          <p14:tracePt t="40247" x="4700588" y="3086100"/>
          <p14:tracePt t="40249" x="4705350" y="3086100"/>
          <p14:tracePt t="40249" x="4716463" y="3086100"/>
          <p14:tracePt t="40250" x="4721225" y="3086100"/>
          <p14:tracePt t="40251" x="4724400" y="3086100"/>
          <p14:tracePt t="40252" x="4732338" y="3090863"/>
          <p14:tracePt t="40254" x="4737100" y="3090863"/>
          <p14:tracePt t="40255" x="4745038" y="3090863"/>
          <p14:tracePt t="40255" x="4748213" y="3090863"/>
          <p14:tracePt t="40256" x="4752975" y="3090863"/>
          <p14:tracePt t="40257" x="4760913" y="3090863"/>
          <p14:tracePt t="40259" x="4768850" y="3090863"/>
          <p14:tracePt t="40260" x="4772025" y="3090863"/>
          <p14:tracePt t="40261" x="4776788" y="3090863"/>
          <p14:tracePt t="40262" x="4779963" y="3090863"/>
          <p14:tracePt t="40263" x="4784725" y="3090863"/>
          <p14:tracePt t="40264" x="4789488" y="3090863"/>
          <p14:tracePt t="40265" x="4797425" y="3090863"/>
          <p14:tracePt t="40266" x="4800600" y="3090863"/>
          <p14:tracePt t="40268" x="4805363" y="3090863"/>
          <p14:tracePt t="40268" x="4808538" y="3090863"/>
          <p14:tracePt t="40269" x="4813300" y="3090863"/>
          <p14:tracePt t="40271" x="4816475" y="3090863"/>
          <p14:tracePt t="40272" x="4821238" y="3090863"/>
          <p14:tracePt t="40273" x="4824413" y="3090863"/>
          <p14:tracePt t="40274" x="4832350" y="3090863"/>
          <p14:tracePt t="40275" x="4837113" y="3090863"/>
          <p14:tracePt t="40276" x="4840288" y="3090863"/>
          <p14:tracePt t="40277" x="4845050" y="3090863"/>
          <p14:tracePt t="40278" x="4848225" y="3090863"/>
          <p14:tracePt t="40280" x="4856163" y="3090863"/>
          <p14:tracePt t="40280" x="4860925" y="3090863"/>
          <p14:tracePt t="40282" x="4868863" y="3090863"/>
          <p14:tracePt t="40283" x="4872038" y="3090863"/>
          <p14:tracePt t="40284" x="4881563" y="3090863"/>
          <p14:tracePt t="40285" x="4884738" y="3090863"/>
          <p14:tracePt t="40287" x="4897438" y="3090863"/>
          <p14:tracePt t="40288" x="4905375" y="3090863"/>
          <p14:tracePt t="40289" x="4913313" y="3090863"/>
          <p14:tracePt t="40290" x="4916488" y="3090863"/>
          <p14:tracePt t="40291" x="4924425" y="3090863"/>
          <p14:tracePt t="40292" x="4932363" y="3086100"/>
          <p14:tracePt t="40293" x="4937125" y="3086100"/>
          <p14:tracePt t="40294" x="4948238" y="3086100"/>
          <p14:tracePt t="40295" x="4953000" y="3086100"/>
          <p14:tracePt t="40296" x="4960938" y="3086100"/>
          <p14:tracePt t="40297" x="4968875" y="3086100"/>
          <p14:tracePt t="40298" x="4973638" y="3082925"/>
          <p14:tracePt t="40299" x="4981575" y="3082925"/>
          <p14:tracePt t="40300" x="4992688" y="3082925"/>
          <p14:tracePt t="40301" x="5000625" y="3082925"/>
          <p14:tracePt t="40302" x="5013325" y="3078163"/>
          <p14:tracePt t="40304" x="5024438" y="3078163"/>
          <p14:tracePt t="40305" x="5037138" y="3078163"/>
          <p14:tracePt t="40306" x="5045075" y="3078163"/>
          <p14:tracePt t="40306" x="5053013" y="3078163"/>
          <p14:tracePt t="40307" x="5060950" y="3078163"/>
          <p14:tracePt t="40308" x="5073650" y="3078163"/>
          <p14:tracePt t="40309" x="5081588" y="3074988"/>
          <p14:tracePt t="40310" x="5092700" y="3074988"/>
          <p14:tracePt t="40311" x="5100638" y="3074988"/>
          <p14:tracePt t="40312" x="5116513" y="3074988"/>
          <p14:tracePt t="40313" x="5124450" y="3074988"/>
          <p14:tracePt t="40314" x="5137150" y="3074988"/>
          <p14:tracePt t="40315" x="5153025" y="3070225"/>
          <p14:tracePt t="40317" x="5160963" y="3070225"/>
          <p14:tracePt t="40317" x="5168900" y="3070225"/>
          <p14:tracePt t="40318" x="5181600" y="3070225"/>
          <p14:tracePt t="40319" x="5189538" y="3070225"/>
          <p14:tracePt t="40321" x="5205413" y="3070225"/>
          <p14:tracePt t="40321" x="5216525" y="3062288"/>
          <p14:tracePt t="40322" x="5224463" y="3062288"/>
          <p14:tracePt t="40324" x="5232400" y="3062288"/>
          <p14:tracePt t="40324" x="5249863" y="3062288"/>
          <p14:tracePt t="40325" x="5260975" y="3059113"/>
          <p14:tracePt t="40328" x="5284788" y="3059113"/>
          <p14:tracePt t="40328" x="5292725" y="3054350"/>
          <p14:tracePt t="40329" x="5305425" y="3054350"/>
          <p14:tracePt t="40330" x="5321300" y="3054350"/>
          <p14:tracePt t="40331" x="5329238" y="3051175"/>
          <p14:tracePt t="40332" x="5337175" y="3051175"/>
          <p14:tracePt t="40333" x="5345113" y="3051175"/>
          <p14:tracePt t="40334" x="5365750" y="3046413"/>
          <p14:tracePt t="40335" x="5373688" y="3046413"/>
          <p14:tracePt t="40336" x="5381625" y="3046413"/>
          <p14:tracePt t="40337" x="5389563" y="3046413"/>
          <p14:tracePt t="40338" x="5400675" y="3043238"/>
          <p14:tracePt t="40340" x="5408613" y="3043238"/>
          <p14:tracePt t="40340" x="5426075" y="3043238"/>
          <p14:tracePt t="40341" x="5434013" y="3035300"/>
          <p14:tracePt t="40342" x="5441950" y="3035300"/>
          <p14:tracePt t="40343" x="5449888" y="3035300"/>
          <p14:tracePt t="40344" x="5457825" y="3030538"/>
          <p14:tracePt t="40345" x="5465763" y="3030538"/>
          <p14:tracePt t="40346" x="5473700" y="3030538"/>
          <p14:tracePt t="40347" x="5484813" y="3027363"/>
          <p14:tracePt t="40348" x="5492750" y="3027363"/>
          <p14:tracePt t="40349" x="5497513" y="3027363"/>
          <p14:tracePt t="40350" x="5510213" y="3027363"/>
          <p14:tracePt t="40351" x="5513388" y="3022600"/>
          <p14:tracePt t="40352" x="5521325" y="3022600"/>
          <p14:tracePt t="40354" x="5529263" y="3022600"/>
          <p14:tracePt t="40354" x="5537200" y="3022600"/>
          <p14:tracePt t="40356" x="5541963" y="3022600"/>
          <p14:tracePt t="40356" x="5545138" y="3022600"/>
          <p14:tracePt t="40357" x="5549900" y="3019425"/>
          <p14:tracePt t="40359" x="5557838" y="3019425"/>
          <p14:tracePt t="40360" x="5561013" y="3019425"/>
          <p14:tracePt t="40360" x="5565775" y="3019425"/>
          <p14:tracePt t="40361" x="5573713" y="3014663"/>
          <p14:tracePt t="40362" x="5576888" y="3014663"/>
          <p14:tracePt t="40364" x="5581650" y="3014663"/>
          <p14:tracePt t="40364" x="5584825" y="3014663"/>
          <p14:tracePt t="40365" x="5589588" y="3014663"/>
          <p14:tracePt t="40366" x="5592763" y="3014663"/>
          <p14:tracePt t="40367" x="5597525" y="3014663"/>
          <p14:tracePt t="40368" x="5602288" y="3014663"/>
          <p14:tracePt t="40370" x="5605463" y="3014663"/>
          <p14:tracePt t="40372" x="5610225" y="3014663"/>
          <p14:tracePt t="40372" x="5613400" y="3014663"/>
          <p14:tracePt t="40374" x="5618163" y="3009900"/>
          <p14:tracePt t="40375" x="5621338" y="3009900"/>
          <p14:tracePt t="40377" x="5626100" y="3009900"/>
          <p14:tracePt t="40380" x="5629275" y="3009900"/>
          <p14:tracePt t="40381" x="5634038" y="3009900"/>
          <p14:tracePt t="40383" x="5637213" y="3009900"/>
          <p14:tracePt t="40387" x="5641975" y="3009900"/>
          <p14:tracePt t="40393" x="5645150" y="3009900"/>
          <p14:tracePt t="40397" x="5649913" y="3009900"/>
          <p14:tracePt t="40400" x="5653088" y="3009900"/>
          <p14:tracePt t="40403" x="5657850" y="3009900"/>
          <p14:tracePt t="40405" x="5661025" y="3009900"/>
          <p14:tracePt t="40407" x="5665788" y="3009900"/>
          <p14:tracePt t="40409" x="5668963" y="3009900"/>
          <p14:tracePt t="40412" x="5673725" y="3009900"/>
          <p14:tracePt t="40414" x="5676900" y="3009900"/>
          <p14:tracePt t="40415" x="5681663" y="3009900"/>
          <p14:tracePt t="40418" x="5684838" y="3009900"/>
          <p14:tracePt t="40420" x="5694363" y="3009900"/>
          <p14:tracePt t="40422" x="5697538" y="3009900"/>
          <p14:tracePt t="40425" x="5702300" y="3009900"/>
          <p14:tracePt t="40426" x="5705475" y="3009900"/>
          <p14:tracePt t="40428" x="5710238" y="3009900"/>
          <p14:tracePt t="40428" x="5713413" y="3009900"/>
          <p14:tracePt t="40430" x="5718175" y="3009900"/>
          <p14:tracePt t="40430" x="5721350" y="3009900"/>
          <p14:tracePt t="40434" x="5726113" y="3009900"/>
          <p14:tracePt t="40436" x="5729288" y="3009900"/>
          <p14:tracePt t="40438" x="5737225" y="3009900"/>
          <p14:tracePt t="40440" x="5741988" y="3009900"/>
          <p14:tracePt t="40441" x="5745163" y="3009900"/>
          <p14:tracePt t="40444" x="5749925" y="3009900"/>
          <p14:tracePt t="40444" x="5753100" y="3009900"/>
          <p14:tracePt t="40447" x="5757863" y="3009900"/>
          <p14:tracePt t="40447" x="5761038" y="3009900"/>
          <p14:tracePt t="40449" x="5761038" y="3014663"/>
          <p14:tracePt t="40453" x="5765800" y="3014663"/>
          <p14:tracePt t="40455" x="5768975" y="3014663"/>
          <p14:tracePt t="40458" x="5773738" y="3014663"/>
          <p14:tracePt t="40461" x="5776913" y="3014663"/>
          <p14:tracePt t="40466" x="5781675" y="3014663"/>
          <p14:tracePt t="40555" x="5776913" y="3014663"/>
          <p14:tracePt t="40558" x="5773738" y="3014663"/>
          <p14:tracePt t="40559" x="5768975" y="3014663"/>
          <p14:tracePt t="40562" x="5765800" y="3014663"/>
          <p14:tracePt t="40563" x="5761038" y="3014663"/>
          <p14:tracePt t="40564" x="5757863" y="3014663"/>
          <p14:tracePt t="40565" x="5753100" y="3014663"/>
          <p14:tracePt t="40567" x="5741988" y="3014663"/>
          <p14:tracePt t="40569" x="5734050" y="3014663"/>
          <p14:tracePt t="40570" x="5729288" y="3014663"/>
          <p14:tracePt t="40573" x="5710238" y="3014663"/>
          <p14:tracePt t="40574" x="5702300" y="3014663"/>
          <p14:tracePt t="40576" x="5694363" y="3014663"/>
          <p14:tracePt t="40580" x="5665788" y="3014663"/>
          <p14:tracePt t="40581" x="5649913" y="3014663"/>
          <p14:tracePt t="40582" x="5641975" y="3014663"/>
          <p14:tracePt t="40584" x="5629275" y="3014663"/>
          <p14:tracePt t="40585" x="5621338" y="3009900"/>
          <p14:tracePt t="40586" x="5613400" y="3009900"/>
          <p14:tracePt t="40587" x="5602288" y="3009900"/>
          <p14:tracePt t="40590" x="5576888" y="3009900"/>
          <p14:tracePt t="40591" x="5553075" y="3009900"/>
          <p14:tracePt t="40593" x="5545138" y="3009900"/>
          <p14:tracePt t="40594" x="5537200" y="3009900"/>
          <p14:tracePt t="40596" x="5521325" y="3009900"/>
          <p14:tracePt t="40598" x="5497513" y="3009900"/>
          <p14:tracePt t="40600" x="5481638" y="3006725"/>
          <p14:tracePt t="40601" x="5473700" y="3006725"/>
          <p14:tracePt t="40601" x="5465763" y="3006725"/>
          <p14:tracePt t="40602" x="5457825" y="3006725"/>
          <p14:tracePt t="40604" x="5449888" y="3006725"/>
          <p14:tracePt t="40605" x="5441950" y="3006725"/>
          <p14:tracePt t="40605" x="5429250" y="3006725"/>
          <p14:tracePt t="40607" x="5416550" y="3006725"/>
          <p14:tracePt t="40609" x="5408613" y="3006725"/>
          <p14:tracePt t="40609" x="5400675" y="3006725"/>
          <p14:tracePt t="40610" x="5392738" y="3006725"/>
          <p14:tracePt t="40611" x="5389563" y="3006725"/>
          <p14:tracePt t="40612" x="5381625" y="3006725"/>
          <p14:tracePt t="40613" x="5373688" y="3006725"/>
          <p14:tracePt t="40614" x="5368925" y="3006725"/>
          <p14:tracePt t="40615" x="5360988" y="3006725"/>
          <p14:tracePt t="40616" x="5357813" y="3006725"/>
          <p14:tracePt t="40617" x="5349875" y="3006725"/>
          <p14:tracePt t="40618" x="5345113" y="3006725"/>
          <p14:tracePt t="40619" x="5337175" y="3006725"/>
          <p14:tracePt t="40621" x="5334000" y="3006725"/>
          <p14:tracePt t="40621" x="5324475" y="3006725"/>
          <p14:tracePt t="40622" x="5321300" y="3006725"/>
          <p14:tracePt t="40624" x="5316538" y="3006725"/>
          <p14:tracePt t="40625" x="5313363" y="3006725"/>
          <p14:tracePt t="40626" x="5305425" y="3006725"/>
          <p14:tracePt t="40627" x="5300663" y="3006725"/>
          <p14:tracePt t="40629" x="5297488" y="3006725"/>
          <p14:tracePt t="40630" x="5292725" y="3006725"/>
          <p14:tracePt t="40631" x="5289550" y="3006725"/>
          <p14:tracePt t="40632" x="5284788" y="3006725"/>
          <p14:tracePt t="40634" x="5281613" y="3006725"/>
          <p14:tracePt t="40634" x="5276850" y="3006725"/>
          <p14:tracePt t="40636" x="5273675" y="3006725"/>
          <p14:tracePt t="40641" x="5268913" y="3006725"/>
          <p14:tracePt t="40643" x="5265738" y="3006725"/>
          <p14:tracePt t="40689" x="5268913" y="3006725"/>
          <p14:tracePt t="40695" x="5273675" y="3006725"/>
          <p14:tracePt t="40697" x="5276850" y="3006725"/>
          <p14:tracePt t="40698" x="5281613" y="3006725"/>
          <p14:tracePt t="40700" x="5284788" y="3006725"/>
          <p14:tracePt t="40702" x="5297488" y="3006725"/>
          <p14:tracePt t="40705" x="5300663" y="3006725"/>
          <p14:tracePt t="40705" x="5305425" y="3006725"/>
          <p14:tracePt t="40707" x="5308600" y="3006725"/>
          <p14:tracePt t="40709" x="5313363" y="3006725"/>
          <p14:tracePt t="40710" x="5316538" y="3006725"/>
          <p14:tracePt t="40711" x="5321300" y="3006725"/>
          <p14:tracePt t="40712" x="5324475" y="3006725"/>
          <p14:tracePt t="40712" x="5329238" y="3006725"/>
          <p14:tracePt t="40713" x="5334000" y="3006725"/>
          <p14:tracePt t="40714" x="5337175" y="3006725"/>
          <p14:tracePt t="40715" x="5341938" y="3006725"/>
          <p14:tracePt t="40717" x="5349875" y="3006725"/>
          <p14:tracePt t="40717" x="5353050" y="3006725"/>
          <p14:tracePt t="40719" x="5357813" y="3006725"/>
          <p14:tracePt t="40721" x="5365750" y="3006725"/>
          <p14:tracePt t="40722" x="5368925" y="3006725"/>
          <p14:tracePt t="40722" x="5373688" y="3006725"/>
          <p14:tracePt t="40724" x="5381625" y="3006725"/>
          <p14:tracePt t="40724" x="5384800" y="3006725"/>
          <p14:tracePt t="40725" x="5389563" y="3006725"/>
          <p14:tracePt t="40726" x="5397500" y="3006725"/>
          <p14:tracePt t="40727" x="5400675" y="3006725"/>
          <p14:tracePt t="40729" x="5405438" y="3006725"/>
          <p14:tracePt t="40729" x="5408613" y="3006725"/>
          <p14:tracePt t="40731" x="5413375" y="3006725"/>
          <p14:tracePt t="40732" x="5426075" y="3009900"/>
          <p14:tracePt t="40733" x="5429250" y="3009900"/>
          <p14:tracePt t="40734" x="5437188" y="3009900"/>
          <p14:tracePt t="40735" x="5441950" y="3009900"/>
          <p14:tracePt t="40736" x="5449888" y="3009900"/>
          <p14:tracePt t="40738" x="5453063" y="3009900"/>
          <p14:tracePt t="40738" x="5457825" y="3009900"/>
          <p14:tracePt t="40739" x="5465763" y="3014663"/>
          <p14:tracePt t="40740" x="5468938" y="3014663"/>
          <p14:tracePt t="40741" x="5473700" y="3014663"/>
          <p14:tracePt t="40742" x="5481638" y="3014663"/>
          <p14:tracePt t="40743" x="5484813" y="3014663"/>
          <p14:tracePt t="40744" x="5489575" y="3014663"/>
          <p14:tracePt t="40745" x="5492750" y="3014663"/>
          <p14:tracePt t="40747" x="5497513" y="3014663"/>
          <p14:tracePt t="40749" x="5500688" y="3014663"/>
          <p14:tracePt t="40749" x="5505450" y="3014663"/>
          <p14:tracePt t="40750" x="5510213" y="3014663"/>
          <p14:tracePt t="40751" x="5513388" y="3014663"/>
          <p14:tracePt t="40754" x="5521325" y="3014663"/>
          <p14:tracePt t="40757" x="5526088" y="3019425"/>
          <p14:tracePt t="40758" x="5529263" y="3019425"/>
          <p14:tracePt t="40760" x="5534025" y="3019425"/>
          <p14:tracePt t="40767" x="5537200" y="3019425"/>
          <p14:tracePt t="40816" x="5537200" y="3022600"/>
          <p14:tracePt t="40817" x="5534025" y="3022600"/>
          <p14:tracePt t="40819" x="5529263" y="3022600"/>
          <p14:tracePt t="40820" x="5526088" y="3022600"/>
          <p14:tracePt t="40821" x="5521325" y="3022600"/>
          <p14:tracePt t="40822" x="5513388" y="3027363"/>
          <p14:tracePt t="40824" x="5510213" y="3027363"/>
          <p14:tracePt t="40825" x="5505450" y="3027363"/>
          <p14:tracePt t="40827" x="5497513" y="3027363"/>
          <p14:tracePt t="40827" x="5489575" y="3027363"/>
          <p14:tracePt t="40828" x="5484813" y="3027363"/>
          <p14:tracePt t="40830" x="5481638" y="3027363"/>
          <p14:tracePt t="40831" x="5473700" y="3030538"/>
          <p14:tracePt t="40832" x="5465763" y="3030538"/>
          <p14:tracePt t="40833" x="5461000" y="3030538"/>
          <p14:tracePt t="40834" x="5453063" y="3030538"/>
          <p14:tracePt t="40835" x="5449888" y="3030538"/>
          <p14:tracePt t="40836" x="5441950" y="3030538"/>
          <p14:tracePt t="40838" x="5434013" y="3030538"/>
          <p14:tracePt t="40838" x="5426075" y="3030538"/>
          <p14:tracePt t="40839" x="5416550" y="3035300"/>
          <p14:tracePt t="40840" x="5408613" y="3035300"/>
          <p14:tracePt t="40841" x="5400675" y="3035300"/>
          <p14:tracePt t="40842" x="5384800" y="3035300"/>
          <p14:tracePt t="40843" x="5376863" y="3035300"/>
          <p14:tracePt t="40844" x="5368925" y="3035300"/>
          <p14:tracePt t="40846" x="5360988" y="3035300"/>
          <p14:tracePt t="40846" x="5349875" y="3035300"/>
          <p14:tracePt t="40847" x="5334000" y="3035300"/>
          <p14:tracePt t="40848" x="5324475" y="3035300"/>
          <p14:tracePt t="40849" x="5316538" y="3035300"/>
          <p14:tracePt t="40850" x="5305425" y="3035300"/>
          <p14:tracePt t="40851" x="5297488" y="3035300"/>
          <p14:tracePt t="40852" x="5281613" y="3035300"/>
          <p14:tracePt t="40854" x="5268913" y="3035300"/>
          <p14:tracePt t="40855" x="5260975" y="3035300"/>
          <p14:tracePt t="40856" x="5245100" y="3035300"/>
          <p14:tracePt t="40857" x="5232400" y="3035300"/>
          <p14:tracePt t="40857" x="5224463" y="3035300"/>
          <p14:tracePt t="40859" x="5208588" y="3035300"/>
          <p14:tracePt t="40860" x="5200650" y="3035300"/>
          <p14:tracePt t="40860" x="5192713" y="3035300"/>
          <p14:tracePt t="40861" x="5181600" y="3035300"/>
          <p14:tracePt t="40862" x="5165725" y="3035300"/>
          <p14:tracePt t="40863" x="5157788" y="3038475"/>
          <p14:tracePt t="40864" x="5145088" y="3038475"/>
          <p14:tracePt t="40865" x="5137150" y="3038475"/>
          <p14:tracePt t="40866" x="5121275" y="3038475"/>
          <p14:tracePt t="40867" x="5113338" y="3038475"/>
          <p14:tracePt t="40868" x="5105400" y="3038475"/>
          <p14:tracePt t="40869" x="5097463" y="3038475"/>
          <p14:tracePt t="40871" x="5084763" y="3038475"/>
          <p14:tracePt t="40871" x="5076825" y="3038475"/>
          <p14:tracePt t="40872" x="5068888" y="3038475"/>
          <p14:tracePt t="40874" x="5060950" y="3038475"/>
          <p14:tracePt t="40874" x="5053013" y="3038475"/>
          <p14:tracePt t="40875" x="5045075" y="3038475"/>
          <p14:tracePt t="40876" x="5037138" y="3038475"/>
          <p14:tracePt t="40877" x="5024438" y="3038475"/>
          <p14:tracePt t="40879" x="5016500" y="3038475"/>
          <p14:tracePt t="40880" x="5013325" y="3038475"/>
          <p14:tracePt t="40881" x="5008563" y="3038475"/>
          <p14:tracePt t="40882" x="5000625" y="3038475"/>
          <p14:tracePt t="40883" x="4997450" y="3038475"/>
          <p14:tracePt t="40884" x="4992688" y="3038475"/>
          <p14:tracePt t="40885" x="4989513" y="3038475"/>
          <p14:tracePt t="40886" x="4984750" y="3038475"/>
          <p14:tracePt t="40888" x="4981575" y="3038475"/>
          <p14:tracePt t="40890" x="4976813" y="3038475"/>
          <p14:tracePt t="40891" x="4976813" y="3043238"/>
          <p14:tracePt t="40918" x="4976813" y="3046413"/>
          <p14:tracePt t="40923" x="4981575" y="3046413"/>
          <p14:tracePt t="40923" x="4984750" y="3046413"/>
          <p14:tracePt t="40925" x="4989513" y="3046413"/>
          <p14:tracePt t="40927" x="4992688" y="3051175"/>
          <p14:tracePt t="40928" x="4997450" y="3051175"/>
          <p14:tracePt t="40929" x="5000625" y="3051175"/>
          <p14:tracePt t="40930" x="5005388" y="3051175"/>
          <p14:tracePt t="40930" x="5013325" y="3051175"/>
          <p14:tracePt t="40931" x="5016500" y="3051175"/>
          <p14:tracePt t="40932" x="5024438" y="3054350"/>
          <p14:tracePt t="40935" x="5032375" y="3054350"/>
          <p14:tracePt t="40936" x="5040313" y="3054350"/>
          <p14:tracePt t="40936" x="5045075" y="3059113"/>
          <p14:tracePt t="40937" x="5056188" y="3059113"/>
          <p14:tracePt t="40938" x="5065713" y="3059113"/>
          <p14:tracePt t="40939" x="5076825" y="3059113"/>
          <p14:tracePt t="40940" x="5084763" y="3062288"/>
          <p14:tracePt t="40941" x="5092700" y="3062288"/>
          <p14:tracePt t="40942" x="5105400" y="3067050"/>
          <p14:tracePt t="40943" x="5113338" y="3067050"/>
          <p14:tracePt t="40944" x="5124450" y="3070225"/>
          <p14:tracePt t="40945" x="5132388" y="3070225"/>
          <p14:tracePt t="40946" x="5145088" y="3070225"/>
          <p14:tracePt t="40947" x="5157788" y="3070225"/>
          <p14:tracePt t="40948" x="5168900" y="3074988"/>
          <p14:tracePt t="40949" x="5181600" y="3074988"/>
          <p14:tracePt t="40950" x="5192713" y="3074988"/>
          <p14:tracePt t="40952" x="5208588" y="3074988"/>
          <p14:tracePt t="40952" x="5221288" y="3074988"/>
          <p14:tracePt t="40954" x="5237163" y="3082925"/>
          <p14:tracePt t="40955" x="5249863" y="3082925"/>
          <p14:tracePt t="40956" x="5257800" y="3082925"/>
          <p14:tracePt t="40956" x="5273675" y="3082925"/>
          <p14:tracePt t="40957" x="5292725" y="3086100"/>
          <p14:tracePt t="40958" x="5300663" y="3086100"/>
          <p14:tracePt t="40959" x="5313363" y="3086100"/>
          <p14:tracePt t="40960" x="5324475" y="3086100"/>
          <p14:tracePt t="40961" x="5341938" y="3086100"/>
          <p14:tracePt t="40962" x="5360988" y="3086100"/>
          <p14:tracePt t="40963" x="5373688" y="3090863"/>
          <p14:tracePt t="40964" x="5389563" y="3090863"/>
          <p14:tracePt t="40965" x="5400675" y="3090863"/>
          <p14:tracePt t="40966" x="5408613" y="3090863"/>
          <p14:tracePt t="40968" x="5429250" y="3090863"/>
          <p14:tracePt t="40968" x="5441950" y="3090863"/>
          <p14:tracePt t="40969" x="5457825" y="3090863"/>
          <p14:tracePt t="40971" x="5468938" y="3090863"/>
          <p14:tracePt t="40972" x="5481638" y="3090863"/>
          <p14:tracePt t="40972" x="5500688" y="3094038"/>
          <p14:tracePt t="40974" x="5510213" y="3094038"/>
          <p14:tracePt t="40974" x="5526088" y="3094038"/>
          <p14:tracePt t="40976" x="5537200" y="3094038"/>
          <p14:tracePt t="40977" x="5553075" y="3094038"/>
          <p14:tracePt t="40977" x="5565775" y="3094038"/>
          <p14:tracePt t="40978" x="5581650" y="3094038"/>
          <p14:tracePt t="40979" x="5589588" y="3094038"/>
          <p14:tracePt t="40980" x="5602288" y="3094038"/>
          <p14:tracePt t="40981" x="5610225" y="3094038"/>
          <p14:tracePt t="40982" x="5621338" y="3094038"/>
          <p14:tracePt t="40983" x="5637213" y="3094038"/>
          <p14:tracePt t="40984" x="5645150" y="3094038"/>
          <p14:tracePt t="40985" x="5653088" y="3094038"/>
          <p14:tracePt t="40986" x="5661025" y="3094038"/>
          <p14:tracePt t="40988" x="5673725" y="3094038"/>
          <p14:tracePt t="40989" x="5676900" y="3094038"/>
          <p14:tracePt t="40989" x="5684838" y="3094038"/>
          <p14:tracePt t="40991" x="5694363" y="3094038"/>
          <p14:tracePt t="40991" x="5697538" y="3094038"/>
          <p14:tracePt t="40992" x="5705475" y="3094038"/>
          <p14:tracePt t="40993" x="5710238" y="3094038"/>
          <p14:tracePt t="40994" x="5713413" y="3094038"/>
          <p14:tracePt t="40995" x="5718175" y="3094038"/>
          <p14:tracePt t="40996" x="5721350" y="3094038"/>
          <p14:tracePt t="40997" x="5726113" y="3094038"/>
          <p14:tracePt t="40999" x="5729288" y="3094038"/>
          <p14:tracePt t="41001" x="5734050" y="3094038"/>
          <p14:tracePt t="41032" x="5729288" y="3094038"/>
          <p14:tracePt t="41034" x="5726113" y="3098800"/>
          <p14:tracePt t="41037" x="5721350" y="3098800"/>
          <p14:tracePt t="41038" x="5718175" y="3098800"/>
          <p14:tracePt t="41040" x="5713413" y="3098800"/>
          <p14:tracePt t="41041" x="5710238" y="3098800"/>
          <p14:tracePt t="41042" x="5705475" y="3098800"/>
          <p14:tracePt t="41043" x="5702300" y="3098800"/>
          <p14:tracePt t="41044" x="5697538" y="3101975"/>
          <p14:tracePt t="41047" x="5684838" y="3101975"/>
          <p14:tracePt t="41047" x="5681663" y="3101975"/>
          <p14:tracePt t="41049" x="5676900" y="3101975"/>
          <p14:tracePt t="41050" x="5668963" y="3101975"/>
          <p14:tracePt t="41051" x="5665788" y="3101975"/>
          <p14:tracePt t="41051" x="5661025" y="3106738"/>
          <p14:tracePt t="41052" x="5653088" y="3106738"/>
          <p14:tracePt t="41054" x="5649913" y="3106738"/>
          <p14:tracePt t="41055" x="5641975" y="3106738"/>
          <p14:tracePt t="41055" x="5637213" y="3106738"/>
          <p14:tracePt t="41056" x="5629275" y="3106738"/>
          <p14:tracePt t="41057" x="5621338" y="3106738"/>
          <p14:tracePt t="41058" x="5613400" y="3106738"/>
          <p14:tracePt t="41059" x="5605463" y="3106738"/>
          <p14:tracePt t="41060" x="5602288" y="3106738"/>
          <p14:tracePt t="41061" x="5592763" y="3106738"/>
          <p14:tracePt t="41062" x="5584825" y="3111500"/>
          <p14:tracePt t="41063" x="5576888" y="3111500"/>
          <p14:tracePt t="41064" x="5568950" y="3111500"/>
          <p14:tracePt t="41065" x="5561013" y="3111500"/>
          <p14:tracePt t="41066" x="5553075" y="3111500"/>
          <p14:tracePt t="41067" x="5545138" y="3111500"/>
          <p14:tracePt t="41068" x="5537200" y="3111500"/>
          <p14:tracePt t="41069" x="5529263" y="3111500"/>
          <p14:tracePt t="41071" x="5526088" y="3111500"/>
          <p14:tracePt t="41071" x="5518150" y="3111500"/>
          <p14:tracePt t="41073" x="5505450" y="3111500"/>
          <p14:tracePt t="41074" x="5500688" y="3111500"/>
          <p14:tracePt t="41075" x="5492750" y="3111500"/>
          <p14:tracePt t="41077" x="5481638" y="3111500"/>
          <p14:tracePt t="41078" x="5473700" y="3111500"/>
          <p14:tracePt t="41078" x="5465763" y="3111500"/>
          <p14:tracePt t="41079" x="5461000" y="3111500"/>
          <p14:tracePt t="41080" x="5457825" y="3111500"/>
          <p14:tracePt t="41081" x="5453063" y="3114675"/>
          <p14:tracePt t="41082" x="5445125" y="3114675"/>
          <p14:tracePt t="41083" x="5441950" y="3114675"/>
          <p14:tracePt t="41084" x="5437188" y="3114675"/>
          <p14:tracePt t="41088" x="5434013" y="3114675"/>
          <p14:tracePt t="41089" x="5429250" y="3114675"/>
          <p14:tracePt t="41091" x="5426075" y="3114675"/>
          <p14:tracePt t="41093" x="5421313" y="3114675"/>
          <p14:tracePt t="41126" x="5426075" y="3114675"/>
          <p14:tracePt t="41128" x="5434013" y="3114675"/>
          <p14:tracePt t="41131" x="5437188" y="3114675"/>
          <p14:tracePt t="41132" x="5445125" y="3114675"/>
          <p14:tracePt t="41133" x="5449888" y="3114675"/>
          <p14:tracePt t="41134" x="5453063" y="3114675"/>
          <p14:tracePt t="41135" x="5461000" y="3114675"/>
          <p14:tracePt t="41136" x="5465763" y="3119438"/>
          <p14:tracePt t="41138" x="5481638" y="3119438"/>
          <p14:tracePt t="41140" x="5484813" y="3119438"/>
          <p14:tracePt t="41140" x="5492750" y="3119438"/>
          <p14:tracePt t="41141" x="5500688" y="3119438"/>
          <p14:tracePt t="41142" x="5510213" y="3119438"/>
          <p14:tracePt t="41144" x="5518150" y="3119438"/>
          <p14:tracePt t="41145" x="5526088" y="3119438"/>
          <p14:tracePt t="41146" x="5534025" y="3119438"/>
          <p14:tracePt t="41146" x="5541963" y="3119438"/>
          <p14:tracePt t="41147" x="5549900" y="3122613"/>
          <p14:tracePt t="41148" x="5565775" y="3122613"/>
          <p14:tracePt t="41149" x="5573713" y="3122613"/>
          <p14:tracePt t="41150" x="5581650" y="3122613"/>
          <p14:tracePt t="41151" x="5589588" y="3122613"/>
          <p14:tracePt t="41153" x="5602288" y="3122613"/>
          <p14:tracePt t="41155" x="5626100" y="3122613"/>
          <p14:tracePt t="41155" x="5634038" y="3127375"/>
          <p14:tracePt t="41156" x="5641975" y="3127375"/>
          <p14:tracePt t="41158" x="5649913" y="3127375"/>
          <p14:tracePt t="41158" x="5661025" y="3127375"/>
          <p14:tracePt t="41159" x="5668963" y="3127375"/>
          <p14:tracePt t="41160" x="5684838" y="3127375"/>
          <p14:tracePt t="41161" x="5694363" y="3127375"/>
          <p14:tracePt t="41162" x="5705475" y="3127375"/>
          <p14:tracePt t="41163" x="5713413" y="3127375"/>
          <p14:tracePt t="41164" x="5721350" y="3127375"/>
          <p14:tracePt t="41165" x="5734050" y="3130550"/>
          <p14:tracePt t="41166" x="5741988" y="3130550"/>
          <p14:tracePt t="41167" x="5753100" y="3130550"/>
          <p14:tracePt t="41168" x="5765800" y="3130550"/>
          <p14:tracePt t="41170" x="5776913" y="3130550"/>
          <p14:tracePt t="41171" x="5786438" y="3130550"/>
          <p14:tracePt t="41172" x="5794375" y="3130550"/>
          <p14:tracePt t="41172" x="5805488" y="3135313"/>
          <p14:tracePt t="41173" x="5813425" y="3135313"/>
          <p14:tracePt t="41174" x="5821363" y="3135313"/>
          <p14:tracePt t="41175" x="5837238" y="3135313"/>
          <p14:tracePt t="41176" x="5845175" y="3135313"/>
          <p14:tracePt t="41177" x="5853113" y="3135313"/>
          <p14:tracePt t="41178" x="5865813" y="3135313"/>
          <p14:tracePt t="41179" x="5868988" y="3135313"/>
          <p14:tracePt t="41180" x="5878513" y="3138488"/>
          <p14:tracePt t="41181" x="5886450" y="3138488"/>
          <p14:tracePt t="41182" x="5894388" y="3138488"/>
          <p14:tracePt t="41183" x="5902325" y="3138488"/>
          <p14:tracePt t="41184" x="5905500" y="3138488"/>
          <p14:tracePt t="41185" x="5913438" y="3138488"/>
          <p14:tracePt t="41187" x="5918200" y="3143250"/>
          <p14:tracePt t="41188" x="5926138" y="3143250"/>
          <p14:tracePt t="41189" x="5929313" y="3143250"/>
          <p14:tracePt t="41189" x="5934075" y="3143250"/>
          <p14:tracePt t="41191" x="5937250" y="3143250"/>
          <p14:tracePt t="41192" x="5942013" y="3143250"/>
          <p14:tracePt t="41193" x="5942013" y="3146425"/>
          <p14:tracePt t="41193" x="5945188" y="3146425"/>
          <p14:tracePt t="41194" x="5949950" y="3146425"/>
          <p14:tracePt t="41197" x="5953125" y="3146425"/>
          <p14:tracePt t="41198" x="5957888" y="3146425"/>
          <p14:tracePt t="41210" x="5957888" y="3151188"/>
          <p14:tracePt t="41238" x="5953125" y="3154363"/>
          <p14:tracePt t="41239" x="5949950" y="3154363"/>
          <p14:tracePt t="41241" x="5945188" y="3154363"/>
          <p14:tracePt t="41243" x="5945188" y="3159125"/>
          <p14:tracePt t="41244" x="5942013" y="3159125"/>
          <p14:tracePt t="41244" x="5937250" y="3159125"/>
          <p14:tracePt t="41246" x="5934075" y="3159125"/>
          <p14:tracePt t="41247" x="5929313" y="3159125"/>
          <p14:tracePt t="41249" x="5926138" y="3162300"/>
          <p14:tracePt t="41249" x="5921375" y="3162300"/>
          <p14:tracePt t="41251" x="5918200" y="3162300"/>
          <p14:tracePt t="41251" x="5913438" y="3162300"/>
          <p14:tracePt t="41252" x="5910263" y="3162300"/>
          <p14:tracePt t="41254" x="5905500" y="3162300"/>
          <p14:tracePt t="41255" x="5905500" y="3167063"/>
          <p14:tracePt t="41255" x="5902325" y="3167063"/>
          <p14:tracePt t="41257" x="5897563" y="3167063"/>
          <p14:tracePt t="41258" x="5894388" y="3167063"/>
          <p14:tracePt t="41258" x="5886450" y="3170238"/>
          <p14:tracePt t="41259" x="5881688" y="3170238"/>
          <p14:tracePt t="41260" x="5878513" y="3170238"/>
          <p14:tracePt t="41261" x="5873750" y="3170238"/>
          <p14:tracePt t="41262" x="5865813" y="3170238"/>
          <p14:tracePt t="41263" x="5861050" y="3170238"/>
          <p14:tracePt t="41264" x="5857875" y="3175000"/>
          <p14:tracePt t="41265" x="5849938" y="3175000"/>
          <p14:tracePt t="41266" x="5845175" y="3175000"/>
          <p14:tracePt t="41268" x="5837238" y="3175000"/>
          <p14:tracePt t="41269" x="5834063" y="3175000"/>
          <p14:tracePt t="41271" x="5826125" y="3175000"/>
          <p14:tracePt t="41272" x="5821363" y="3175000"/>
          <p14:tracePt t="41272" x="5818188" y="3175000"/>
          <p14:tracePt t="41273" x="5810250" y="3175000"/>
          <p14:tracePt t="41275" x="5805488" y="3178175"/>
          <p14:tracePt t="41275" x="5802313" y="3178175"/>
          <p14:tracePt t="41277" x="5794375" y="3178175"/>
          <p14:tracePt t="41277" x="5789613" y="3178175"/>
          <p14:tracePt t="41279" x="5781675" y="3178175"/>
          <p14:tracePt t="41281" x="5776913" y="3182938"/>
          <p14:tracePt t="41281" x="5768975" y="3182938"/>
          <p14:tracePt t="41283" x="5765800" y="3182938"/>
          <p14:tracePt t="41283" x="5757863" y="3186113"/>
          <p14:tracePt t="41284" x="5753100" y="3186113"/>
          <p14:tracePt t="41285" x="5749925" y="3186113"/>
          <p14:tracePt t="41286" x="5745163" y="3186113"/>
          <p14:tracePt t="41288" x="5737225" y="3190875"/>
          <p14:tracePt t="41289" x="5734050" y="3190875"/>
          <p14:tracePt t="41289" x="5729288" y="3190875"/>
          <p14:tracePt t="41290" x="5721350" y="3190875"/>
          <p14:tracePt t="41291" x="5718175" y="3190875"/>
          <p14:tracePt t="41292" x="5713413" y="3190875"/>
          <p14:tracePt t="41293" x="5705475" y="3194050"/>
          <p14:tracePt t="41295" x="5702300" y="3194050"/>
          <p14:tracePt t="41296" x="5697538" y="3194050"/>
          <p14:tracePt t="41297" x="5694363" y="3194050"/>
          <p14:tracePt t="41298" x="5684838" y="3194050"/>
          <p14:tracePt t="41299" x="5681663" y="3194050"/>
          <p14:tracePt t="41300" x="5676900" y="3194050"/>
          <p14:tracePt t="41301" x="5668963" y="3198813"/>
          <p14:tracePt t="41302" x="5665788" y="3198813"/>
          <p14:tracePt t="41304" x="5657850" y="3198813"/>
          <p14:tracePt t="41305" x="5645150" y="3198813"/>
          <p14:tracePt t="41306" x="5641975" y="3203575"/>
          <p14:tracePt t="41308" x="5634038" y="3203575"/>
          <p14:tracePt t="41309" x="5626100" y="3203575"/>
          <p14:tracePt t="41310" x="5621338" y="3203575"/>
          <p14:tracePt t="41311" x="5613400" y="3206750"/>
          <p14:tracePt t="41312" x="5605463" y="3206750"/>
          <p14:tracePt t="41313" x="5597525" y="3206750"/>
          <p14:tracePt t="41314" x="5589588" y="3206750"/>
          <p14:tracePt t="41315" x="5584825" y="3211513"/>
          <p14:tracePt t="41316" x="5576888" y="3211513"/>
          <p14:tracePt t="41317" x="5568950" y="3211513"/>
          <p14:tracePt t="41318" x="5561013" y="3211513"/>
          <p14:tracePt t="41319" x="5553075" y="3211513"/>
          <p14:tracePt t="41321" x="5541963" y="3214688"/>
          <p14:tracePt t="41322" x="5534025" y="3214688"/>
          <p14:tracePt t="41322" x="5526088" y="3214688"/>
          <p14:tracePt t="41324" x="5513388" y="3214688"/>
          <p14:tracePt t="41324" x="5505450" y="3214688"/>
          <p14:tracePt t="41325" x="5497513" y="3214688"/>
          <p14:tracePt t="41327" x="5481638" y="3219450"/>
          <p14:tracePt t="41327" x="5473700" y="3219450"/>
          <p14:tracePt t="41328" x="5461000" y="3219450"/>
          <p14:tracePt t="41329" x="5445125" y="3219450"/>
          <p14:tracePt t="41330" x="5434013" y="3227388"/>
          <p14:tracePt t="41331" x="5426075" y="3227388"/>
          <p14:tracePt t="41332" x="5408613" y="3227388"/>
          <p14:tracePt t="41333" x="5392738" y="3227388"/>
          <p14:tracePt t="41334" x="5376863" y="3230563"/>
          <p14:tracePt t="41335" x="5365750" y="3230563"/>
          <p14:tracePt t="41336" x="5349875" y="3230563"/>
          <p14:tracePt t="41337" x="5337175" y="3235325"/>
          <p14:tracePt t="41338" x="5316538" y="3235325"/>
          <p14:tracePt t="41339" x="5300663" y="3235325"/>
          <p14:tracePt t="41340" x="5284788" y="3235325"/>
          <p14:tracePt t="41341" x="5268913" y="3238500"/>
          <p14:tracePt t="41342" x="5249863" y="3238500"/>
          <p14:tracePt t="41343" x="5232400" y="3238500"/>
          <p14:tracePt t="41344" x="5213350" y="3238500"/>
          <p14:tracePt t="41345" x="5192713" y="3243263"/>
          <p14:tracePt t="41346" x="5181600" y="3243263"/>
          <p14:tracePt t="41347" x="5160963" y="3243263"/>
          <p14:tracePt t="41348" x="5132388" y="3251200"/>
          <p14:tracePt t="41349" x="5113338" y="3251200"/>
          <p14:tracePt t="41350" x="5097463" y="3251200"/>
          <p14:tracePt t="41351" x="5076825" y="3251200"/>
          <p14:tracePt t="41352" x="5056188" y="3251200"/>
          <p14:tracePt t="41354" x="5029200" y="3254375"/>
          <p14:tracePt t="41354" x="5013325" y="3254375"/>
          <p14:tracePt t="41355" x="4992688" y="3254375"/>
          <p14:tracePt t="41357" x="4973638" y="3254375"/>
          <p14:tracePt t="41359" x="4916488" y="3259138"/>
          <p14:tracePt t="41359" x="4900613" y="3259138"/>
          <p14:tracePt t="41361" x="4872038" y="3262313"/>
          <p14:tracePt t="41361" x="4852988" y="3262313"/>
          <p14:tracePt t="41362" x="4837113" y="3262313"/>
          <p14:tracePt t="41363" x="4800600" y="3270250"/>
          <p14:tracePt t="41364" x="4776788" y="3270250"/>
          <p14:tracePt t="41366" x="4748213" y="3270250"/>
          <p14:tracePt t="41367" x="4729163" y="3275013"/>
          <p14:tracePt t="41367" x="4705350" y="3275013"/>
          <p14:tracePt t="41368" x="4668838" y="3275013"/>
          <p14:tracePt t="41369" x="4640263" y="3275013"/>
          <p14:tracePt t="41371" x="4616450" y="3275013"/>
          <p14:tracePt t="41372" x="4587875" y="3278188"/>
          <p14:tracePt t="41373" x="4516438" y="3278188"/>
          <p14:tracePt t="41374" x="4492625" y="3278188"/>
          <p14:tracePt t="41376" x="4464050" y="3286125"/>
          <p14:tracePt t="41376" x="4437063" y="3286125"/>
          <p14:tracePt t="41377" x="4411663" y="3286125"/>
          <p14:tracePt t="41378" x="4368800" y="3290888"/>
          <p14:tracePt t="41379" x="4340225" y="3290888"/>
          <p14:tracePt t="41380" x="4311650" y="3290888"/>
          <p14:tracePt t="41382" x="4279900" y="3290888"/>
          <p14:tracePt t="41383" x="4252913" y="3290888"/>
          <p14:tracePt t="41384" x="4208463" y="3290888"/>
          <p14:tracePt t="41384" x="4176713" y="3290888"/>
          <p14:tracePt t="41385" x="4148138" y="3290888"/>
          <p14:tracePt t="41387" x="4111625" y="3290888"/>
          <p14:tracePt t="41388" x="4079875" y="3290888"/>
          <p14:tracePt t="41389" x="4000500" y="3298825"/>
          <p14:tracePt t="41391" x="3963988" y="3298825"/>
          <p14:tracePt t="41392" x="3940175" y="3298825"/>
          <p14:tracePt t="41392" x="3903663" y="3298825"/>
          <p14:tracePt t="41393" x="3851275" y="3298825"/>
          <p14:tracePt t="41394" x="3827463" y="3298825"/>
          <p14:tracePt t="41395" x="3790950" y="3298825"/>
          <p14:tracePt t="41396" x="3756025" y="3298825"/>
          <p14:tracePt t="41397" x="3724275" y="3298825"/>
          <p14:tracePt t="41398" x="3679825" y="3298825"/>
          <p14:tracePt t="41399" x="3643313" y="3298825"/>
          <p14:tracePt t="41400" x="3619500" y="3298825"/>
          <p14:tracePt t="41401" x="3582988" y="3298825"/>
          <p14:tracePt t="41403" x="3556000" y="3298825"/>
          <p14:tracePt t="41404" x="3511550" y="3298825"/>
          <p14:tracePt t="41405" x="3487738" y="3298825"/>
          <p14:tracePt t="41406" x="3451225" y="3298825"/>
          <p14:tracePt t="41406" x="3427413" y="3298825"/>
          <p14:tracePt t="41407" x="3398838" y="3298825"/>
          <p14:tracePt t="41409" x="3363913" y="3298825"/>
          <p14:tracePt t="41409" x="3335338" y="3303588"/>
          <p14:tracePt t="41410" x="3311525" y="3303588"/>
          <p14:tracePt t="41411" x="3282950" y="3303588"/>
          <p14:tracePt t="41412" x="3259138" y="3303588"/>
          <p14:tracePt t="41413" x="3214688" y="3303588"/>
          <p14:tracePt t="41414" x="3187700" y="3303588"/>
          <p14:tracePt t="41415" x="3167063" y="3303588"/>
          <p14:tracePt t="41416" x="3143250" y="3303588"/>
          <p14:tracePt t="41417" x="3122613" y="3303588"/>
          <p14:tracePt t="41418" x="3090863" y="3303588"/>
          <p14:tracePt t="41420" x="3071813" y="3311525"/>
          <p14:tracePt t="41421" x="3046413" y="3311525"/>
          <p14:tracePt t="41422" x="3027363" y="3311525"/>
          <p14:tracePt t="41422" x="3006725" y="3311525"/>
          <p14:tracePt t="41423" x="2982913" y="3311525"/>
          <p14:tracePt t="41425" x="2962275" y="3311525"/>
          <p14:tracePt t="41425" x="2943225" y="3311525"/>
          <p14:tracePt t="41426" x="2922588" y="3311525"/>
          <p14:tracePt t="41427" x="2911475" y="3311525"/>
          <p14:tracePt t="41428" x="2886075" y="3311525"/>
          <p14:tracePt t="41429" x="2867025" y="3311525"/>
          <p14:tracePt t="41430" x="2851150" y="3311525"/>
          <p14:tracePt t="41431" x="2838450" y="3311525"/>
          <p14:tracePt t="41432" x="2819400" y="3311525"/>
          <p14:tracePt t="41433" x="2798763" y="3311525"/>
          <p14:tracePt t="41434" x="2786063" y="3311525"/>
          <p14:tracePt t="41435" x="2774950" y="3311525"/>
          <p14:tracePt t="41436" x="2759075" y="3311525"/>
          <p14:tracePt t="41438" x="2746375" y="3311525"/>
          <p14:tracePt t="41438" x="2730500" y="3314700"/>
          <p14:tracePt t="41439" x="2719388" y="3314700"/>
          <p14:tracePt t="41440" x="2701925" y="3314700"/>
          <p14:tracePt t="41441" x="2693988" y="3314700"/>
          <p14:tracePt t="41442" x="2682875" y="3314700"/>
          <p14:tracePt t="41443" x="2667000" y="3314700"/>
          <p14:tracePt t="41444" x="2659063" y="3314700"/>
          <p14:tracePt t="41445" x="2651125" y="3314700"/>
          <p14:tracePt t="41446" x="2638425" y="3314700"/>
          <p14:tracePt t="41447" x="2630488" y="3314700"/>
          <p14:tracePt t="41448" x="2622550" y="3314700"/>
          <p14:tracePt t="41449" x="2614613" y="3314700"/>
          <p14:tracePt t="41450" x="2606675" y="3314700"/>
          <p14:tracePt t="41452" x="2598738" y="3314700"/>
          <p14:tracePt t="41452" x="2593975" y="3314700"/>
          <p14:tracePt t="41454" x="2578100" y="3314700"/>
          <p14:tracePt t="41455" x="2570163" y="3314700"/>
          <p14:tracePt t="41456" x="2566988" y="3314700"/>
          <p14:tracePt t="41458" x="2562225" y="3314700"/>
          <p14:tracePt t="41458" x="2554288" y="3314700"/>
          <p14:tracePt t="41459" x="2551113" y="3314700"/>
          <p14:tracePt t="41460" x="2546350" y="3314700"/>
          <p14:tracePt t="41461" x="2538413" y="3314700"/>
          <p14:tracePt t="41462" x="2535238" y="3314700"/>
          <p14:tracePt t="41463" x="2530475" y="3314700"/>
          <p14:tracePt t="41465" x="2525713" y="3314700"/>
          <p14:tracePt t="41466" x="2522538" y="3314700"/>
          <p14:tracePt t="41468" x="2517775" y="3314700"/>
          <p14:tracePt t="41469" x="2514600" y="3314700"/>
          <p14:tracePt t="41471" x="2509838" y="3314700"/>
          <p14:tracePt t="41472" x="2506663" y="3314700"/>
          <p14:tracePt t="41473" x="2501900" y="3314700"/>
          <p14:tracePt t="41476" x="2498725" y="3314700"/>
          <p14:tracePt t="41478" x="2493963" y="3314700"/>
          <p14:tracePt t="41481" x="2490788" y="3314700"/>
          <p14:tracePt t="41510" x="2486025" y="3314700"/>
          <p14:tracePt t="41526" x="2482850" y="3314700"/>
          <p14:tracePt t="41528" x="2478088" y="3314700"/>
          <p14:tracePt t="41530" x="2474913" y="3314700"/>
          <p14:tracePt t="41532" x="2470150" y="3314700"/>
          <p14:tracePt t="41534" x="2466975" y="3314700"/>
          <p14:tracePt t="41537" x="2462213" y="3314700"/>
          <p14:tracePt t="41538" x="2459038" y="3314700"/>
          <p14:tracePt t="41540" x="2454275" y="3314700"/>
          <p14:tracePt t="41541" x="2451100" y="3314700"/>
          <p14:tracePt t="41543" x="2446338" y="3314700"/>
          <p14:tracePt t="41546" x="2443163" y="3314700"/>
          <p14:tracePt t="41547" x="2433638" y="3314700"/>
          <p14:tracePt t="41548" x="2430463" y="3314700"/>
          <p14:tracePt t="41551" x="2425700" y="3314700"/>
          <p14:tracePt t="41552" x="2422525" y="3314700"/>
          <p14:tracePt t="41553" x="2417763" y="3314700"/>
          <p14:tracePt t="41554" x="2414588" y="3314700"/>
          <p14:tracePt t="41555" x="2409825" y="3314700"/>
          <p14:tracePt t="41557" x="2406650" y="3314700"/>
          <p14:tracePt t="41558" x="2401888" y="3314700"/>
          <p14:tracePt t="41559" x="2398713" y="3314700"/>
          <p14:tracePt t="41560" x="2393950" y="3314700"/>
          <p14:tracePt t="41561" x="2390775" y="3314700"/>
          <p14:tracePt t="41562" x="2386013" y="3314700"/>
          <p14:tracePt t="41563" x="2382838" y="3314700"/>
          <p14:tracePt t="41565" x="2374900" y="3314700"/>
          <p14:tracePt t="41565" x="2370138" y="3314700"/>
          <p14:tracePt t="41566" x="2366963" y="3314700"/>
          <p14:tracePt t="41567" x="2362200" y="3314700"/>
          <p14:tracePt t="41568" x="2359025" y="3314700"/>
          <p14:tracePt t="41569" x="2354263" y="3319463"/>
          <p14:tracePt t="41571" x="2351088" y="3319463"/>
          <p14:tracePt t="41571" x="2346325" y="3319463"/>
          <p14:tracePt t="41572" x="2341563" y="3319463"/>
          <p14:tracePt t="41574" x="2333625" y="3319463"/>
          <p14:tracePt t="41574" x="2330450" y="3319463"/>
          <p14:tracePt t="41576" x="2317750" y="3319463"/>
          <p14:tracePt t="41577" x="2314575" y="3319463"/>
          <p14:tracePt t="41578" x="2306638" y="3319463"/>
          <p14:tracePt t="41579" x="2301875" y="3319463"/>
          <p14:tracePt t="41580" x="2293938" y="3319463"/>
          <p14:tracePt t="41582" x="2290763" y="3319463"/>
          <p14:tracePt t="41583" x="2286000" y="3319463"/>
          <p14:tracePt t="41584" x="2278063" y="3319463"/>
          <p14:tracePt t="41585" x="2274888" y="3319463"/>
          <p14:tracePt t="41586" x="2266950" y="3319463"/>
          <p14:tracePt t="41587" x="2262188" y="3319463"/>
          <p14:tracePt t="41588" x="2259013" y="3319463"/>
          <p14:tracePt t="41589" x="2249488" y="3319463"/>
          <p14:tracePt t="41590" x="2246313" y="3319463"/>
          <p14:tracePt t="41591" x="2238375" y="3319463"/>
          <p14:tracePt t="41592" x="2233613" y="3319463"/>
          <p14:tracePt t="41594" x="2225675" y="3319463"/>
          <p14:tracePt t="41595" x="2222500" y="3319463"/>
          <p14:tracePt t="41596" x="2217738" y="3319463"/>
          <p14:tracePt t="41597" x="2214563" y="3319463"/>
          <p14:tracePt t="41598" x="2209800" y="3319463"/>
          <p14:tracePt t="41599" x="2201863" y="3319463"/>
          <p14:tracePt t="41600" x="2198688" y="3319463"/>
          <p14:tracePt t="41601" x="2193925" y="3319463"/>
          <p14:tracePt t="41602" x="2190750" y="3319463"/>
          <p14:tracePt t="41603" x="2185988" y="3319463"/>
          <p14:tracePt t="41605" x="2182813" y="3319463"/>
          <p14:tracePt t="41606" x="2178050" y="3319463"/>
          <p14:tracePt t="41608" x="2174875" y="3319463"/>
          <p14:tracePt t="41609" x="2170113" y="3319463"/>
          <p14:tracePt t="41609" x="2162175" y="3319463"/>
          <p14:tracePt t="41611" x="2157413" y="3319463"/>
          <p14:tracePt t="41612" x="2154238" y="3319463"/>
          <p14:tracePt t="41613" x="2149475" y="3319463"/>
          <p14:tracePt t="41614" x="2146300" y="3319463"/>
          <p14:tracePt t="41615" x="2141538" y="3319463"/>
          <p14:tracePt t="41617" x="2138363" y="3319463"/>
          <p14:tracePt t="41621" x="2133600" y="3319463"/>
          <p14:tracePt t="41622" x="2130425" y="3319463"/>
          <p14:tracePt t="41624" x="2125663" y="3319463"/>
          <p14:tracePt t="41625" x="2122488" y="3319463"/>
          <p14:tracePt t="41628" x="2117725" y="3319463"/>
          <p14:tracePt t="41630" x="2114550" y="3319463"/>
          <p14:tracePt t="41633" x="2109788" y="3319463"/>
          <p14:tracePt t="41637" x="2106613" y="3319463"/>
          <p14:tracePt t="41687" x="2109788" y="3319463"/>
          <p14:tracePt t="41690" x="2114550" y="3319463"/>
          <p14:tracePt t="41691" x="2117725" y="3322638"/>
          <p14:tracePt t="41694" x="2122488" y="3322638"/>
          <p14:tracePt t="41694" x="2125663" y="3322638"/>
          <p14:tracePt t="41695" x="2130425" y="3322638"/>
          <p14:tracePt t="41696" x="2133600" y="3322638"/>
          <p14:tracePt t="41698" x="2141538" y="3327400"/>
          <p14:tracePt t="41699" x="2146300" y="3327400"/>
          <p14:tracePt t="41702" x="2157413" y="3330575"/>
          <p14:tracePt t="41702" x="2165350" y="3330575"/>
          <p14:tracePt t="41704" x="2174875" y="3330575"/>
          <p14:tracePt t="41705" x="2182813" y="3335338"/>
          <p14:tracePt t="41705" x="2190750" y="3335338"/>
          <p14:tracePt t="41707" x="2198688" y="3335338"/>
          <p14:tracePt t="41708" x="2214563" y="3335338"/>
          <p14:tracePt t="41709" x="2222500" y="3338513"/>
          <p14:tracePt t="41709" x="2230438" y="3338513"/>
          <p14:tracePt t="41711" x="2246313" y="3338513"/>
          <p14:tracePt t="41711" x="2259013" y="3338513"/>
          <p14:tracePt t="41712" x="2266950" y="3343275"/>
          <p14:tracePt t="41713" x="2282825" y="3343275"/>
          <p14:tracePt t="41714" x="2298700" y="3343275"/>
          <p14:tracePt t="41715" x="2314575" y="3346450"/>
          <p14:tracePt t="41716" x="2325688" y="3346450"/>
          <p14:tracePt t="41718" x="2341563" y="3346450"/>
          <p14:tracePt t="41718" x="2354263" y="3351213"/>
          <p14:tracePt t="41719" x="2374900" y="3351213"/>
          <p14:tracePt t="41721" x="2386013" y="3351213"/>
          <p14:tracePt t="41722" x="2401888" y="3354388"/>
          <p14:tracePt t="41723" x="2414588" y="3354388"/>
          <p14:tracePt t="41724" x="2433638" y="3354388"/>
          <p14:tracePt t="41724" x="2454275" y="3354388"/>
          <p14:tracePt t="41726" x="2466975" y="3354388"/>
          <p14:tracePt t="41726" x="2486025" y="3362325"/>
          <p14:tracePt t="41727" x="2506663" y="3362325"/>
          <p14:tracePt t="41728" x="2517775" y="3362325"/>
          <p14:tracePt t="41729" x="2538413" y="3362325"/>
          <p14:tracePt t="41730" x="2559050" y="3367088"/>
          <p14:tracePt t="41731" x="2578100" y="3367088"/>
          <p14:tracePt t="41733" x="2598738" y="3367088"/>
          <p14:tracePt t="41733" x="2609850" y="3367088"/>
          <p14:tracePt t="41734" x="2638425" y="3367088"/>
          <p14:tracePt t="41735" x="2654300" y="3370263"/>
          <p14:tracePt t="41737" x="2674938" y="3370263"/>
          <p14:tracePt t="41738" x="2690813" y="3370263"/>
          <p14:tracePt t="41739" x="2727325" y="3370263"/>
          <p14:tracePt t="41740" x="2754313" y="3370263"/>
          <p14:tracePt t="41742" x="2767013" y="3370263"/>
          <p14:tracePt t="41743" x="2786063" y="3375025"/>
          <p14:tracePt t="41744" x="2798763" y="3375025"/>
          <p14:tracePt t="41744" x="2827338" y="3375025"/>
          <p14:tracePt t="41746" x="2846388" y="3375025"/>
          <p14:tracePt t="41747" x="2859088" y="3375025"/>
          <p14:tracePt t="41748" x="2878138" y="3375025"/>
          <p14:tracePt t="41749" x="2914650" y="3375025"/>
          <p14:tracePt t="41750" x="2935288" y="3375025"/>
          <p14:tracePt t="41751" x="2951163" y="3378200"/>
          <p14:tracePt t="41752" x="2967038" y="3378200"/>
          <p14:tracePt t="41754" x="2982913" y="3378200"/>
          <p14:tracePt t="41755" x="3006725" y="3378200"/>
          <p14:tracePt t="41756" x="3022600" y="3378200"/>
          <p14:tracePt t="41757" x="3035300" y="3378200"/>
          <p14:tracePt t="41757" x="3046413" y="3378200"/>
          <p14:tracePt t="41759" x="3062288" y="3378200"/>
          <p14:tracePt t="41760" x="3074988" y="3378200"/>
          <p14:tracePt t="41760" x="3095625" y="3378200"/>
          <p14:tracePt t="41761" x="3106738" y="3378200"/>
          <p14:tracePt t="41762" x="3122613" y="3378200"/>
          <p14:tracePt t="41763" x="3130550" y="3378200"/>
          <p14:tracePt t="41765" x="3151188" y="3378200"/>
          <p14:tracePt t="41765" x="3163888" y="3378200"/>
          <p14:tracePt t="41766" x="3171825" y="3378200"/>
          <p14:tracePt t="41767" x="3187700" y="3378200"/>
          <p14:tracePt t="41768" x="3195638" y="3378200"/>
          <p14:tracePt t="41769" x="3203575" y="3378200"/>
          <p14:tracePt t="41771" x="3214688" y="3378200"/>
          <p14:tracePt t="41772" x="3222625" y="3378200"/>
          <p14:tracePt t="41773" x="3230563" y="3378200"/>
          <p14:tracePt t="41774" x="3238500" y="3378200"/>
          <p14:tracePt t="41774" x="3255963" y="3378200"/>
          <p14:tracePt t="41775" x="3259138" y="3378200"/>
          <p14:tracePt t="41776" x="3267075" y="3378200"/>
          <p14:tracePt t="41777" x="3275013" y="3378200"/>
          <p14:tracePt t="41779" x="3282950" y="3378200"/>
          <p14:tracePt t="41781" x="3287713" y="3378200"/>
          <p14:tracePt t="41781" x="3295650" y="3378200"/>
          <p14:tracePt t="41783" x="3298825" y="3378200"/>
          <p14:tracePt t="41783" x="3303588" y="3378200"/>
          <p14:tracePt t="41784" x="3306763" y="3378200"/>
          <p14:tracePt t="41785" x="3311525" y="3378200"/>
          <p14:tracePt t="41787" x="3314700" y="3378200"/>
          <p14:tracePt t="41791" x="3319463" y="3378200"/>
          <p14:tracePt t="41852" x="3314700" y="3378200"/>
          <p14:tracePt t="41855" x="3311525" y="3378200"/>
          <p14:tracePt t="41858" x="3306763" y="3378200"/>
          <p14:tracePt t="41860" x="3303588" y="3378200"/>
          <p14:tracePt t="41860" x="3298825" y="3378200"/>
          <p14:tracePt t="41861" x="3295650" y="3375025"/>
          <p14:tracePt t="41863" x="3290888" y="3375025"/>
          <p14:tracePt t="41866" x="3287713" y="3375025"/>
          <p14:tracePt t="41867" x="3282950" y="3375025"/>
          <p14:tracePt t="41868" x="3279775" y="3375025"/>
          <p14:tracePt t="41868" x="3275013" y="3370263"/>
          <p14:tracePt t="41869" x="3271838" y="3370263"/>
          <p14:tracePt t="41871" x="3263900" y="3370263"/>
          <p14:tracePt t="41871" x="3259138" y="3370263"/>
          <p14:tracePt t="41873" x="3255963" y="3370263"/>
          <p14:tracePt t="41873" x="3251200" y="3370263"/>
          <p14:tracePt t="41874" x="3246438" y="3367088"/>
          <p14:tracePt t="41875" x="3238500" y="3367088"/>
          <p14:tracePt t="41889" x="3163888" y="3362325"/>
          <p14:tracePt t="41890" x="3159125" y="3362325"/>
          <p14:tracePt t="41891" x="3151188" y="3359150"/>
          <p14:tracePt t="41892" x="3143250" y="3359150"/>
          <p14:tracePt t="41893" x="3138488" y="3359150"/>
          <p14:tracePt t="41893" x="3135313" y="3359150"/>
          <p14:tracePt t="41894" x="3127375" y="3359150"/>
          <p14:tracePt t="41896" x="3119438" y="3359150"/>
          <p14:tracePt t="41897" x="3114675" y="3359150"/>
          <p14:tracePt t="41898" x="3111500" y="3359150"/>
          <p14:tracePt t="41899" x="3106738" y="3359150"/>
          <p14:tracePt t="41901" x="3098800" y="3359150"/>
          <p14:tracePt t="41901" x="3095625" y="3354388"/>
          <p14:tracePt t="41902" x="3090863" y="3354388"/>
          <p14:tracePt t="41904" x="3087688" y="3354388"/>
          <p14:tracePt t="41905" x="3079750" y="3354388"/>
          <p14:tracePt t="41906" x="3074988" y="3354388"/>
          <p14:tracePt t="41909" x="3071813" y="3354388"/>
          <p14:tracePt t="41911" x="3067050" y="3354388"/>
          <p14:tracePt t="41912" x="3062288" y="3354388"/>
          <p14:tracePt t="41915" x="3059113" y="3354388"/>
          <p14:tracePt t="41956" x="3062288" y="3354388"/>
          <p14:tracePt t="41958" x="3067050" y="3351213"/>
          <p14:tracePt t="41959" x="3071813" y="3351213"/>
          <p14:tracePt t="41963" x="3074988" y="3351213"/>
          <p14:tracePt t="41964" x="3079750" y="3351213"/>
          <p14:tracePt t="41964" x="3082925" y="3346450"/>
          <p14:tracePt t="41965" x="3087688" y="3346450"/>
          <p14:tracePt t="41966" x="3090863" y="3346450"/>
          <p14:tracePt t="41967" x="3095625" y="3346450"/>
          <p14:tracePt t="41968" x="3098800" y="3346450"/>
          <p14:tracePt t="41969" x="3103563" y="3343275"/>
          <p14:tracePt t="41971" x="3106738" y="3343275"/>
          <p14:tracePt t="41971" x="3114675" y="3343275"/>
          <p14:tracePt t="41972" x="3119438" y="3343275"/>
          <p14:tracePt t="41974" x="3122613" y="3343275"/>
          <p14:tracePt t="41976" x="3130550" y="3338513"/>
          <p14:tracePt t="41977" x="3135313" y="3338513"/>
          <p14:tracePt t="41978" x="3138488" y="3338513"/>
          <p14:tracePt t="41979" x="3146425" y="3338513"/>
          <p14:tracePt t="41979" x="3151188" y="3338513"/>
          <p14:tracePt t="41980" x="3159125" y="3338513"/>
          <p14:tracePt t="41981" x="3163888" y="3338513"/>
          <p14:tracePt t="41982" x="3167063" y="3335338"/>
          <p14:tracePt t="41983" x="3171825" y="3335338"/>
          <p14:tracePt t="41984" x="3179763" y="3335338"/>
          <p14:tracePt t="41985" x="3182938" y="3335338"/>
          <p14:tracePt t="41987" x="3190875" y="3335338"/>
          <p14:tracePt t="41988" x="3195638" y="3335338"/>
          <p14:tracePt t="41990" x="3198813" y="3335338"/>
          <p14:tracePt t="41990" x="3206750" y="3330575"/>
          <p14:tracePt t="41991" x="3211513" y="3330575"/>
          <p14:tracePt t="41992" x="3214688" y="3330575"/>
          <p14:tracePt t="41993" x="3219450" y="3330575"/>
          <p14:tracePt t="41994" x="3222625" y="3330575"/>
          <p14:tracePt t="41995" x="3227388" y="3330575"/>
          <p14:tracePt t="41996" x="3230563" y="3330575"/>
          <p14:tracePt t="41997" x="3235325" y="3330575"/>
          <p14:tracePt t="41999" x="3238500" y="3330575"/>
          <p14:tracePt t="42001" x="3243263" y="3330575"/>
          <p14:tracePt t="42004" x="3246438" y="3330575"/>
          <p14:tracePt t="42006" x="3251200" y="3330575"/>
          <p14:tracePt t="42007" x="3255963" y="3330575"/>
          <p14:tracePt t="42009" x="3259138" y="3330575"/>
          <p14:tracePt t="42050" x="3255963" y="3330575"/>
          <p14:tracePt t="42052" x="3251200" y="3335338"/>
          <p14:tracePt t="42053" x="3246438" y="3335338"/>
          <p14:tracePt t="42054" x="3246438" y="3338513"/>
          <p14:tracePt t="42055" x="3238500" y="3338513"/>
          <p14:tracePt t="42058" x="3235325" y="3343275"/>
          <p14:tracePt t="42059" x="3230563" y="3343275"/>
          <p14:tracePt t="42060" x="3227388" y="3343275"/>
          <p14:tracePt t="42061" x="3219450" y="3343275"/>
          <p14:tracePt t="42061" x="3214688" y="3346450"/>
          <p14:tracePt t="42063" x="3211513" y="3346450"/>
          <p14:tracePt t="42063" x="3203575" y="3346450"/>
          <p14:tracePt t="42065" x="3198813" y="3351213"/>
          <p14:tracePt t="42065" x="3195638" y="3351213"/>
          <p14:tracePt t="42066" x="3187700" y="3354388"/>
          <p14:tracePt t="42067" x="3182938" y="3354388"/>
          <p14:tracePt t="42068" x="3179763" y="3359150"/>
          <p14:tracePt t="42071" x="3171825" y="3359150"/>
          <p14:tracePt t="42072" x="3159125" y="3362325"/>
          <p14:tracePt t="42074" x="3151188" y="3362325"/>
          <p14:tracePt t="42074" x="3143250" y="3362325"/>
          <p14:tracePt t="42076" x="3138488" y="3362325"/>
          <p14:tracePt t="42078" x="3119438" y="3367088"/>
          <p14:tracePt t="42078" x="3114675" y="3367088"/>
          <p14:tracePt t="42079" x="3106738" y="3367088"/>
          <p14:tracePt t="42080" x="3090863" y="3370263"/>
          <p14:tracePt t="42081" x="3082925" y="3370263"/>
          <p14:tracePt t="42082" x="3074988" y="3370263"/>
          <p14:tracePt t="42083" x="3071813" y="3370263"/>
          <p14:tracePt t="42084" x="3062288" y="3375025"/>
          <p14:tracePt t="42085" x="3054350" y="3375025"/>
          <p14:tracePt t="42086" x="3043238" y="3375025"/>
          <p14:tracePt t="42087" x="3038475" y="3375025"/>
          <p14:tracePt t="42088" x="3030538" y="3378200"/>
          <p14:tracePt t="42090" x="3022600" y="3378200"/>
          <p14:tracePt t="42090" x="3014663" y="3378200"/>
          <p14:tracePt t="42093" x="2990850" y="3382963"/>
          <p14:tracePt t="42093" x="2982913" y="3382963"/>
          <p14:tracePt t="42095" x="2974975" y="3382963"/>
          <p14:tracePt t="42095" x="2970213" y="3382963"/>
          <p14:tracePt t="42096" x="2959100" y="3382963"/>
          <p14:tracePt t="42097" x="2951163" y="3382963"/>
          <p14:tracePt t="42098" x="2943225" y="3382963"/>
          <p14:tracePt t="42100" x="2938463" y="3387725"/>
          <p14:tracePt t="42100" x="2930525" y="3387725"/>
          <p14:tracePt t="42101" x="2922588" y="3387725"/>
          <p14:tracePt t="42102" x="2914650" y="3387725"/>
          <p14:tracePt t="42104" x="2903538" y="3387725"/>
          <p14:tracePt t="42106" x="2898775" y="3387725"/>
          <p14:tracePt t="42106" x="2890838" y="3387725"/>
          <p14:tracePt t="42108" x="2886075" y="3387725"/>
          <p14:tracePt t="42109" x="2878138" y="3387725"/>
          <p14:tracePt t="42110" x="2874963" y="3387725"/>
          <p14:tracePt t="42111" x="2870200" y="3387725"/>
          <p14:tracePt t="42112" x="2867025" y="3387725"/>
          <p14:tracePt t="42113" x="2862263" y="3387725"/>
          <p14:tracePt t="42114" x="2859088" y="3390900"/>
          <p14:tracePt t="42116" x="2854325" y="3390900"/>
          <p14:tracePt t="42117" x="2851150" y="3390900"/>
          <p14:tracePt t="42118" x="2846388" y="3390900"/>
          <p14:tracePt t="42122" x="2843213" y="3390900"/>
          <p14:tracePt t="42232" x="2838450" y="3390900"/>
          <p14:tracePt t="42238" x="2835275" y="3390900"/>
          <p14:tracePt t="42239" x="2830513" y="3390900"/>
          <p14:tracePt t="42242" x="2822575" y="3390900"/>
          <p14:tracePt t="42245" x="2814638" y="3395663"/>
          <p14:tracePt t="42247" x="2811463" y="3395663"/>
          <p14:tracePt t="42251" x="2798763" y="3395663"/>
          <p14:tracePt t="42252" x="2790825" y="3395663"/>
          <p14:tracePt t="42254" x="2786063" y="3395663"/>
          <p14:tracePt t="42255" x="2782888" y="3398838"/>
          <p14:tracePt t="42256" x="2774950" y="3398838"/>
          <p14:tracePt t="42258" x="2770188" y="3398838"/>
          <p14:tracePt t="42259" x="2767013" y="3398838"/>
          <p14:tracePt t="42259" x="2762250" y="3398838"/>
          <p14:tracePt t="42261" x="2759075" y="3398838"/>
          <p14:tracePt t="42261" x="2754313" y="3398838"/>
          <p14:tracePt t="42262" x="2751138" y="3398838"/>
          <p14:tracePt t="42264" x="2746375" y="3398838"/>
          <p14:tracePt t="42266" x="2743200" y="3398838"/>
          <p14:tracePt t="42267" x="2738438" y="3398838"/>
          <p14:tracePt t="42267" x="2735263" y="3398838"/>
          <p14:tracePt t="42268" x="2730500" y="3398838"/>
          <p14:tracePt t="42270" x="2727325" y="3398838"/>
          <p14:tracePt t="42271" x="2722563" y="3403600"/>
          <p14:tracePt t="42272" x="2719388" y="3403600"/>
          <p14:tracePt t="42273" x="2711450" y="3403600"/>
          <p14:tracePt t="42274" x="2706688" y="3403600"/>
          <p14:tracePt t="42276" x="2701925" y="3403600"/>
          <p14:tracePt t="42277" x="2698750" y="3403600"/>
          <p14:tracePt t="42277" x="2693988" y="3403600"/>
          <p14:tracePt t="42278" x="2690813" y="3403600"/>
          <p14:tracePt t="42281" x="2682875" y="3403600"/>
          <p14:tracePt t="42281" x="2678113" y="3403600"/>
          <p14:tracePt t="42282" x="2670175" y="3403600"/>
          <p14:tracePt t="42283" x="2667000" y="3403600"/>
          <p14:tracePt t="42284" x="2662238" y="3403600"/>
          <p14:tracePt t="42285" x="2659063" y="3403600"/>
          <p14:tracePt t="42287" x="2654300" y="3403600"/>
          <p14:tracePt t="42288" x="2651125" y="3403600"/>
          <p14:tracePt t="42290" x="2646363" y="3403600"/>
          <p14:tracePt t="42291" x="2643188" y="3403600"/>
          <p14:tracePt t="42293" x="2638425" y="3403600"/>
          <p14:tracePt t="42296" x="2635250" y="3403600"/>
          <p14:tracePt t="42300" x="2630488" y="3403600"/>
          <p14:tracePt t="42330" x="2635250" y="3403600"/>
          <p14:tracePt t="42333" x="2638425" y="3403600"/>
          <p14:tracePt t="42335" x="2643188" y="3403600"/>
          <p14:tracePt t="42336" x="2646363" y="3403600"/>
          <p14:tracePt t="42336" x="2651125" y="3403600"/>
          <p14:tracePt t="42337" x="2651125" y="3398838"/>
          <p14:tracePt t="42339" x="2654300" y="3398838"/>
          <p14:tracePt t="42340" x="2659063" y="3398838"/>
          <p14:tracePt t="42341" x="2662238" y="3395663"/>
          <p14:tracePt t="42343" x="2667000" y="3395663"/>
          <p14:tracePt t="42343" x="2670175" y="3395663"/>
          <p14:tracePt t="42344" x="2674938" y="3390900"/>
          <p14:tracePt t="42345" x="2678113" y="3390900"/>
          <p14:tracePt t="42346" x="2682875" y="3390900"/>
          <p14:tracePt t="42348" x="2686050" y="3390900"/>
          <p14:tracePt t="42349" x="2690813" y="3387725"/>
          <p14:tracePt t="42350" x="2698750" y="3387725"/>
          <p14:tracePt t="42351" x="2701925" y="3387725"/>
          <p14:tracePt t="42354" x="2706688" y="3382963"/>
          <p14:tracePt t="42355" x="2714625" y="3382963"/>
          <p14:tracePt t="42356" x="2722563" y="3382963"/>
          <p14:tracePt t="42358" x="2727325" y="3378200"/>
          <p14:tracePt t="42359" x="2730500" y="3378200"/>
          <p14:tracePt t="42359" x="2735263" y="3378200"/>
          <p14:tracePt t="42361" x="2738438" y="3378200"/>
          <p14:tracePt t="42361" x="2746375" y="3378200"/>
          <p14:tracePt t="42362" x="2751138" y="3378200"/>
          <p14:tracePt t="42364" x="2751138" y="3375025"/>
          <p14:tracePt t="42365" x="2754313" y="3375025"/>
          <p14:tracePt t="42365" x="2759075" y="3375025"/>
          <p14:tracePt t="42366" x="2762250" y="3375025"/>
          <p14:tracePt t="42368" x="2767013" y="3375025"/>
          <p14:tracePt t="42369" x="2770188" y="3375025"/>
          <p14:tracePt t="42370" x="2774950" y="3375025"/>
          <p14:tracePt t="42371" x="2778125" y="3370263"/>
          <p14:tracePt t="42372" x="2782888" y="3370263"/>
          <p14:tracePt t="42373" x="2786063" y="3370263"/>
          <p14:tracePt t="42374" x="2790825" y="3370263"/>
          <p14:tracePt t="42375" x="2794000" y="3370263"/>
          <p14:tracePt t="42377" x="2798763" y="3367088"/>
          <p14:tracePt t="42377" x="2803525" y="3367088"/>
          <p14:tracePt t="42379" x="2806700" y="3367088"/>
          <p14:tracePt t="42381" x="2811463" y="3367088"/>
          <p14:tracePt t="42382" x="2814638" y="3367088"/>
          <p14:tracePt t="42383" x="2819400" y="3367088"/>
          <p14:tracePt t="42386" x="2822575" y="3367088"/>
          <p14:tracePt t="42389" x="2827338" y="3367088"/>
          <p14:tracePt t="42438" x="2822575" y="3367088"/>
          <p14:tracePt t="42442" x="2819400" y="3367088"/>
          <p14:tracePt t="42444" x="2814638" y="3367088"/>
          <p14:tracePt t="42448" x="2811463" y="3367088"/>
          <p14:tracePt t="42450" x="2806700" y="3367088"/>
          <p14:tracePt t="42451" x="2803525" y="3367088"/>
          <p14:tracePt t="42452" x="2798763" y="3367088"/>
          <p14:tracePt t="42455" x="2794000" y="3367088"/>
          <p14:tracePt t="42458" x="2790825" y="3367088"/>
          <p14:tracePt t="42458" x="2786063" y="3367088"/>
          <p14:tracePt t="42459" x="2782888" y="3367088"/>
          <p14:tracePt t="42462" x="2778125" y="3367088"/>
          <p14:tracePt t="42463" x="2774950" y="3367088"/>
          <p14:tracePt t="42463" x="2770188" y="3367088"/>
          <p14:tracePt t="42464" x="2767013" y="3367088"/>
          <p14:tracePt t="42465" x="2762250" y="3367088"/>
          <p14:tracePt t="42467" x="2759075" y="3367088"/>
          <p14:tracePt t="42469" x="2751138" y="3367088"/>
          <p14:tracePt t="42471" x="2746375" y="3367088"/>
          <p14:tracePt t="42472" x="2743200" y="3367088"/>
          <p14:tracePt t="42472" x="2738438" y="3367088"/>
          <p14:tracePt t="42474" x="2735263" y="3367088"/>
          <p14:tracePt t="42474" x="2730500" y="3367088"/>
          <p14:tracePt t="42476" x="2727325" y="3367088"/>
          <p14:tracePt t="42476" x="2722563" y="3367088"/>
          <p14:tracePt t="42477" x="2719388" y="3367088"/>
          <p14:tracePt t="42478" x="2714625" y="3367088"/>
          <p14:tracePt t="42479" x="2711450" y="3367088"/>
          <p14:tracePt t="42482" x="2706688" y="3367088"/>
          <p14:tracePt t="42483" x="2701925" y="3367088"/>
          <p14:tracePt t="42483" x="2698750" y="3367088"/>
          <p14:tracePt t="42484" x="2693988" y="3367088"/>
          <p14:tracePt t="42486" x="2690813" y="3367088"/>
          <p14:tracePt t="42488" x="2686050" y="3367088"/>
          <p14:tracePt t="42488" x="2682875" y="3367088"/>
          <p14:tracePt t="42492" x="2678113" y="3367088"/>
          <p14:tracePt t="42531" x="2682875" y="3367088"/>
          <p14:tracePt t="42534" x="2686050" y="3367088"/>
          <p14:tracePt t="42536" x="2690813" y="3367088"/>
          <p14:tracePt t="42537" x="2693988" y="3367088"/>
          <p14:tracePt t="42540" x="2698750" y="3362325"/>
          <p14:tracePt t="42541" x="2701925" y="3362325"/>
          <p14:tracePt t="42543" x="2706688" y="3359150"/>
          <p14:tracePt t="42546" x="2711450" y="3359150"/>
          <p14:tracePt t="42546" x="2714625" y="3359150"/>
          <p14:tracePt t="42547" x="2719388" y="3354388"/>
          <p14:tracePt t="42549" x="2722563" y="3354388"/>
          <p14:tracePt t="42550" x="2727325" y="3351213"/>
          <p14:tracePt t="42553" x="2730500" y="3346450"/>
          <p14:tracePt t="42554" x="2738438" y="3346450"/>
          <p14:tracePt t="42556" x="2738438" y="3343275"/>
          <p14:tracePt t="42557" x="2743200" y="3343275"/>
          <p14:tracePt t="42559" x="2746375" y="3343275"/>
          <p14:tracePt t="42560" x="2746375" y="3338513"/>
          <p14:tracePt t="42562" x="2751138" y="3338513"/>
          <p14:tracePt t="42562" x="2754313" y="3335338"/>
          <p14:tracePt t="42564" x="2759075" y="3335338"/>
          <p14:tracePt t="42565" x="2762250" y="3335338"/>
          <p14:tracePt t="42567" x="2767013" y="3335338"/>
          <p14:tracePt t="42568" x="2770188" y="3330575"/>
          <p14:tracePt t="42571" x="2774950" y="3330575"/>
          <p14:tracePt t="42572" x="2774950" y="3327400"/>
          <p14:tracePt t="42573" x="2778125" y="3327400"/>
          <p14:tracePt t="42575" x="2782888" y="3327400"/>
          <p14:tracePt t="42577" x="2786063" y="3327400"/>
          <p14:tracePt t="42580" x="2786063" y="3322638"/>
          <p14:tracePt t="42580" x="2790825" y="3322638"/>
          <p14:tracePt t="42583" x="2794000" y="3322638"/>
          <p14:tracePt t="42587" x="2794000" y="3319463"/>
          <p14:tracePt t="42590" x="2798763" y="3319463"/>
          <p14:tracePt t="42656" x="2798763" y="3314700"/>
          <p14:tracePt t="42686" x="2798763" y="3311525"/>
          <p14:tracePt t="42694" x="2798763" y="3306763"/>
          <p14:tracePt t="42702" x="2794000" y="3306763"/>
          <p14:tracePt t="42706" x="2790825" y="3303588"/>
          <p14:tracePt t="42817" x="2794000" y="3303588"/>
          <p14:tracePt t="42822" x="2798763" y="3303588"/>
          <p14:tracePt t="42824" x="2803525" y="3303588"/>
          <p14:tracePt t="42828" x="2811463" y="3303588"/>
          <p14:tracePt t="42829" x="2814638" y="3303588"/>
          <p14:tracePt t="42831" x="2819400" y="3298825"/>
          <p14:tracePt t="42833" x="2822575" y="3298825"/>
          <p14:tracePt t="42835" x="2827338" y="3298825"/>
          <p14:tracePt t="42837" x="2830513" y="3298825"/>
          <p14:tracePt t="44420" x="2835275" y="3298825"/>
          <p14:tracePt t="44424" x="2838450" y="3303588"/>
          <p14:tracePt t="44426" x="2846388" y="3306763"/>
          <p14:tracePt t="44429" x="2851150" y="3306763"/>
          <p14:tracePt t="44431" x="2854325" y="3311525"/>
          <p14:tracePt t="44432" x="2862263" y="3314700"/>
          <p14:tracePt t="44434" x="2870200" y="3319463"/>
          <p14:tracePt t="44436" x="2874963" y="3322638"/>
          <p14:tracePt t="44437" x="2878138" y="3322638"/>
          <p14:tracePt t="44440" x="2895600" y="3330575"/>
          <p14:tracePt t="44442" x="2906713" y="3335338"/>
          <p14:tracePt t="44442" x="2911475" y="3338513"/>
          <p14:tracePt t="44444" x="2919413" y="3343275"/>
          <p14:tracePt t="44446" x="2930525" y="3351213"/>
          <p14:tracePt t="44446" x="2938463" y="3354388"/>
          <p14:tracePt t="44447" x="2943225" y="3354388"/>
          <p14:tracePt t="44448" x="2951163" y="3359150"/>
          <p14:tracePt t="44449" x="2959100" y="3362325"/>
          <p14:tracePt t="44451" x="2970213" y="3375025"/>
          <p14:tracePt t="44452" x="2970213" y="3378200"/>
          <p14:tracePt t="44452" x="2978150" y="3382963"/>
          <p14:tracePt t="44454" x="2990850" y="3387725"/>
          <p14:tracePt t="44455" x="2998788" y="3390900"/>
          <p14:tracePt t="44455" x="3006725" y="3395663"/>
          <p14:tracePt t="44458" x="3038475" y="3406775"/>
          <p14:tracePt t="44459" x="3046413" y="3411538"/>
          <p14:tracePt t="44460" x="3054350" y="3422650"/>
          <p14:tracePt t="44461" x="3067050" y="3427413"/>
          <p14:tracePt t="44462" x="3074988" y="3430588"/>
          <p14:tracePt t="44463" x="3082925" y="3435350"/>
          <p14:tracePt t="44464" x="3090863" y="3438525"/>
          <p14:tracePt t="44465" x="3106738" y="3446463"/>
          <p14:tracePt t="44467" x="3119438" y="3454400"/>
          <p14:tracePt t="44468" x="3127375" y="3459163"/>
          <p14:tracePt t="44469" x="3138488" y="3462338"/>
          <p14:tracePt t="44469" x="3146425" y="3467100"/>
          <p14:tracePt t="44471" x="3175000" y="3479800"/>
          <p14:tracePt t="44473" x="3182938" y="3487738"/>
          <p14:tracePt t="44475" x="3211513" y="3503613"/>
          <p14:tracePt t="44476" x="3222625" y="3511550"/>
          <p14:tracePt t="44477" x="3230563" y="3514725"/>
          <p14:tracePt t="44478" x="3243263" y="3522663"/>
          <p14:tracePt t="44479" x="3251200" y="3527425"/>
          <p14:tracePt t="44480" x="3263900" y="3535363"/>
          <p14:tracePt t="44481" x="3267075" y="3538538"/>
          <p14:tracePt t="44482" x="3275013" y="3543300"/>
          <p14:tracePt t="44484" x="3287713" y="3546475"/>
          <p14:tracePt t="44485" x="3295650" y="3551238"/>
          <p14:tracePt t="44486" x="3303588" y="3554413"/>
          <p14:tracePt t="44486" x="3311525" y="3559175"/>
          <p14:tracePt t="44488" x="3319463" y="3562350"/>
          <p14:tracePt t="44488" x="3327400" y="3571875"/>
          <p14:tracePt t="44490" x="3338513" y="3575050"/>
          <p14:tracePt t="44491" x="3348038" y="3582988"/>
          <p14:tracePt t="44492" x="3351213" y="3587750"/>
          <p14:tracePt t="44493" x="3359150" y="3590925"/>
          <p14:tracePt t="44493" x="3363913" y="3595688"/>
          <p14:tracePt t="44494" x="3371850" y="3598863"/>
          <p14:tracePt t="44495" x="3375025" y="3603625"/>
          <p14:tracePt t="44496" x="3382963" y="3606800"/>
          <p14:tracePt t="44497" x="3387725" y="3611563"/>
          <p14:tracePt t="44498" x="3395663" y="3614738"/>
          <p14:tracePt t="44499" x="3398838" y="3614738"/>
          <p14:tracePt t="44500" x="3398838" y="3619500"/>
          <p14:tracePt t="44501" x="3406775" y="3619500"/>
          <p14:tracePt t="44502" x="3411538" y="3622675"/>
          <p14:tracePt t="44504" x="3414713" y="3627438"/>
          <p14:tracePt t="44505" x="3419475" y="3630613"/>
          <p14:tracePt t="44505" x="3422650" y="3635375"/>
          <p14:tracePt t="44507" x="3430588" y="3638550"/>
          <p14:tracePt t="44508" x="3435350" y="3638550"/>
          <p14:tracePt t="44508" x="3435350" y="3643313"/>
          <p14:tracePt t="44510" x="3440113" y="3646488"/>
          <p14:tracePt t="44511" x="3443288" y="3651250"/>
          <p14:tracePt t="44511" x="3448050" y="3651250"/>
          <p14:tracePt t="44512" x="3451225" y="3654425"/>
          <p14:tracePt t="44514" x="3451225" y="3659188"/>
          <p14:tracePt t="44515" x="3455988" y="3659188"/>
          <p14:tracePt t="44515" x="3459163" y="3659188"/>
          <p14:tracePt t="44517" x="3463925" y="3663950"/>
          <p14:tracePt t="44518" x="3467100" y="3667125"/>
          <p14:tracePt t="44518" x="3471863" y="3667125"/>
          <p14:tracePt t="44519" x="3475038" y="3671888"/>
          <p14:tracePt t="44521" x="3479800" y="3671888"/>
          <p14:tracePt t="44522" x="3482975" y="3675063"/>
          <p14:tracePt t="44523" x="3487738" y="3679825"/>
          <p14:tracePt t="44525" x="3490913" y="3683000"/>
          <p14:tracePt t="44526" x="3495675" y="3687763"/>
          <p14:tracePt t="44529" x="3498850" y="3690938"/>
          <p14:tracePt t="44529" x="3503613" y="3690938"/>
          <p14:tracePt t="44530" x="3503613" y="3695700"/>
          <p14:tracePt t="44531" x="3506788" y="3695700"/>
          <p14:tracePt t="44533" x="3506788" y="3698875"/>
          <p14:tracePt t="44534" x="3511550" y="3698875"/>
          <p14:tracePt t="44536" x="3514725" y="3698875"/>
          <p14:tracePt t="44537" x="3514725" y="3703638"/>
          <p14:tracePt t="44538" x="3519488" y="3703638"/>
          <p14:tracePt t="44541" x="3524250" y="3706813"/>
          <p14:tracePt t="44542" x="3524250" y="3711575"/>
          <p14:tracePt t="44543" x="3527425" y="3711575"/>
          <p14:tracePt t="44545" x="3527425" y="3714750"/>
          <p14:tracePt t="44546" x="3532188" y="3719513"/>
          <p14:tracePt t="44549" x="3532188" y="3722688"/>
          <p14:tracePt t="44552" x="3532188" y="3727450"/>
          <p14:tracePt t="44553" x="3535363" y="3727450"/>
          <p14:tracePt t="44556" x="3535363" y="3730625"/>
          <p14:tracePt t="44557" x="3540125" y="3735388"/>
          <p14:tracePt t="44559" x="3540125" y="3738563"/>
          <p14:tracePt t="44560" x="3543300" y="3738563"/>
          <p14:tracePt t="44563" x="3548063" y="3738563"/>
          <p14:tracePt t="44564" x="3548063" y="3743325"/>
          <p14:tracePt t="44566" x="3548063" y="3746500"/>
          <p14:tracePt t="44568" x="3548063" y="3751263"/>
          <p14:tracePt t="44569" x="3551238" y="3751263"/>
          <p14:tracePt t="44571" x="3551238" y="3756025"/>
          <p14:tracePt t="44572" x="3556000" y="3763963"/>
          <p14:tracePt t="44573" x="3559175" y="3763963"/>
          <p14:tracePt t="44574" x="3559175" y="3767138"/>
          <p14:tracePt t="44576" x="3563938" y="3771900"/>
          <p14:tracePt t="44578" x="3567113" y="3775075"/>
          <p14:tracePt t="44579" x="3567113" y="3779838"/>
          <p14:tracePt t="44580" x="3571875" y="3783013"/>
          <p14:tracePt t="44581" x="3575050" y="3783013"/>
          <p14:tracePt t="44583" x="3575050" y="3787775"/>
          <p14:tracePt t="44585" x="3579813" y="3790950"/>
          <p14:tracePt t="44586" x="3582988" y="3795713"/>
          <p14:tracePt t="44588" x="3582988" y="3798888"/>
          <p14:tracePt t="44589" x="3587750" y="3803650"/>
          <p14:tracePt t="44590" x="3590925" y="3811588"/>
          <p14:tracePt t="44591" x="3595688" y="3811588"/>
          <p14:tracePt t="44593" x="3603625" y="3819525"/>
          <p14:tracePt t="44594" x="3603625" y="3822700"/>
          <p14:tracePt t="44595" x="3606800" y="3827463"/>
          <p14:tracePt t="44596" x="3611563" y="3830638"/>
          <p14:tracePt t="44597" x="3616325" y="3830638"/>
          <p14:tracePt t="44598" x="3619500" y="3835400"/>
          <p14:tracePt t="44599" x="3619500" y="3838575"/>
          <p14:tracePt t="44600" x="3619500" y="3843338"/>
          <p14:tracePt t="44601" x="3627438" y="3848100"/>
          <p14:tracePt t="44602" x="3627438" y="3851275"/>
          <p14:tracePt t="44603" x="3632200" y="3856038"/>
          <p14:tracePt t="44605" x="3635375" y="3859213"/>
          <p14:tracePt t="44606" x="3640138" y="3863975"/>
          <p14:tracePt t="44606" x="3643313" y="3867150"/>
          <p14:tracePt t="44607" x="3648075" y="3871913"/>
          <p14:tracePt t="44608" x="3651250" y="3879850"/>
          <p14:tracePt t="44609" x="3656013" y="3883025"/>
          <p14:tracePt t="44610" x="3659188" y="3890963"/>
          <p14:tracePt t="44611" x="3663950" y="3890963"/>
          <p14:tracePt t="44612" x="3671888" y="3895725"/>
          <p14:tracePt t="44614" x="3675063" y="3898900"/>
          <p14:tracePt t="44614" x="3679825" y="3906838"/>
          <p14:tracePt t="44616" x="3683000" y="3911600"/>
          <p14:tracePt t="44616" x="3690938" y="3919538"/>
          <p14:tracePt t="44617" x="3698875" y="3922713"/>
          <p14:tracePt t="44618" x="3703638" y="3935413"/>
          <p14:tracePt t="44619" x="3711575" y="3940175"/>
          <p14:tracePt t="44621" x="3719513" y="3948113"/>
          <p14:tracePt t="44622" x="3727450" y="3956050"/>
          <p14:tracePt t="44623" x="3735388" y="3959225"/>
          <p14:tracePt t="44624" x="3743325" y="3971925"/>
          <p14:tracePt t="44625" x="3748088" y="3971925"/>
          <p14:tracePt t="44625" x="3756025" y="3979863"/>
          <p14:tracePt t="44626" x="3767138" y="3987800"/>
          <p14:tracePt t="44627" x="3775075" y="3995738"/>
          <p14:tracePt t="44628" x="3783013" y="3998913"/>
          <p14:tracePt t="44630" x="3790950" y="4006850"/>
          <p14:tracePt t="44630" x="3800475" y="4014788"/>
          <p14:tracePt t="44631" x="3816350" y="4027488"/>
          <p14:tracePt t="44632" x="3824288" y="4035425"/>
          <p14:tracePt t="44633" x="3832225" y="4040188"/>
          <p14:tracePt t="44634" x="3848100" y="4051300"/>
          <p14:tracePt t="44635" x="3856038" y="4059238"/>
          <p14:tracePt t="44636" x="3871913" y="4067175"/>
          <p14:tracePt t="44638" x="3879850" y="4071938"/>
          <p14:tracePt t="44638" x="3887788" y="4083050"/>
          <p14:tracePt t="44640" x="3900488" y="4090988"/>
          <p14:tracePt t="44641" x="3908425" y="4095750"/>
          <p14:tracePt t="44642" x="3932238" y="4116388"/>
          <p14:tracePt t="44643" x="3943350" y="4124325"/>
          <p14:tracePt t="44644" x="3951288" y="4135438"/>
          <p14:tracePt t="44645" x="3963988" y="4140200"/>
          <p14:tracePt t="44647" x="3976688" y="4148138"/>
          <p14:tracePt t="44647" x="3992563" y="4151313"/>
          <p14:tracePt t="44648" x="4000500" y="4159250"/>
          <p14:tracePt t="44649" x="4008438" y="4167188"/>
          <p14:tracePt t="44650" x="4016375" y="4175125"/>
          <p14:tracePt t="44652" x="4032250" y="4179888"/>
          <p14:tracePt t="44652" x="4040188" y="4187825"/>
          <p14:tracePt t="44653" x="4048125" y="4191000"/>
          <p14:tracePt t="44655" x="4059238" y="4195763"/>
          <p14:tracePt t="44655" x="4068763" y="4203700"/>
          <p14:tracePt t="44656" x="4079875" y="4211638"/>
          <p14:tracePt t="44659" x="4100513" y="4216400"/>
          <p14:tracePt t="44660" x="4108450" y="4219575"/>
          <p14:tracePt t="44660" x="4116388" y="4224338"/>
          <p14:tracePt t="44661" x="4124325" y="4227513"/>
          <p14:tracePt t="44662" x="4127500" y="4232275"/>
          <p14:tracePt t="44663" x="4135438" y="4232275"/>
          <p14:tracePt t="44664" x="4140200" y="4235450"/>
          <p14:tracePt t="44665" x="4148138" y="4240213"/>
          <p14:tracePt t="44666" x="4156075" y="4240213"/>
          <p14:tracePt t="44667" x="4160838" y="4243388"/>
          <p14:tracePt t="44668" x="4164013" y="4243388"/>
          <p14:tracePt t="44669" x="4171950" y="4243388"/>
          <p14:tracePt t="44671" x="4176713" y="4248150"/>
          <p14:tracePt t="44672" x="4179888" y="4248150"/>
          <p14:tracePt t="44673" x="4184650" y="4251325"/>
          <p14:tracePt t="44675" x="4187825" y="4251325"/>
          <p14:tracePt t="44675" x="4192588" y="4256088"/>
          <p14:tracePt t="44676" x="4195763" y="4256088"/>
          <p14:tracePt t="44677" x="4200525" y="4256088"/>
          <p14:tracePt t="44678" x="4203700" y="4256088"/>
          <p14:tracePt t="44680" x="4208463" y="4259263"/>
          <p14:tracePt t="44681" x="4211638" y="4259263"/>
          <p14:tracePt t="44683" x="4216400" y="4259263"/>
          <p14:tracePt t="44685" x="4219575" y="4259263"/>
          <p14:tracePt t="44688" x="4224338" y="4259263"/>
          <p14:tracePt t="44691" x="4227513" y="4259263"/>
          <p14:tracePt t="44692" x="4227513" y="4264025"/>
          <p14:tracePt t="44694" x="4232275" y="4264025"/>
          <p14:tracePt t="44697" x="4235450" y="4264025"/>
          <p14:tracePt t="44700" x="4240213" y="4264025"/>
          <p14:tracePt t="44702" x="4243388" y="4264025"/>
          <p14:tracePt t="44705" x="4248150" y="4264025"/>
          <p14:tracePt t="44707" x="4252913" y="4264025"/>
          <p14:tracePt t="44709" x="4256088" y="4264025"/>
          <p14:tracePt t="44710" x="4260850" y="4259263"/>
          <p14:tracePt t="44712" x="4264025" y="4259263"/>
          <p14:tracePt t="44716" x="4268788" y="4256088"/>
          <p14:tracePt t="44718" x="4271963" y="4256088"/>
          <p14:tracePt t="44721" x="4276725" y="4251325"/>
          <p14:tracePt t="44722" x="4279900" y="4251325"/>
          <p14:tracePt t="44724" x="4284663" y="4248150"/>
          <p14:tracePt t="44726" x="4287838" y="4248150"/>
          <p14:tracePt t="44727" x="4292600" y="4243388"/>
          <p14:tracePt t="44730" x="4295775" y="4240213"/>
          <p14:tracePt t="44730" x="4300538" y="4240213"/>
          <p14:tracePt t="44733" x="4303713" y="4235450"/>
          <p14:tracePt t="44735" x="4303713" y="4232275"/>
          <p14:tracePt t="44736" x="4308475" y="4227513"/>
          <p14:tracePt t="44738" x="4311650" y="4227513"/>
          <p14:tracePt t="44739" x="4316413" y="4227513"/>
          <p14:tracePt t="44740" x="4319588" y="4224338"/>
          <p14:tracePt t="44742" x="4324350" y="4219575"/>
          <p14:tracePt t="44743" x="4327525" y="4219575"/>
          <p14:tracePt t="44744" x="4332288" y="4216400"/>
          <p14:tracePt t="44745" x="4337050" y="4216400"/>
          <p14:tracePt t="44746" x="4337050" y="4211638"/>
          <p14:tracePt t="44747" x="4340225" y="4208463"/>
          <p14:tracePt t="44749" x="4344988" y="4203700"/>
          <p14:tracePt t="44750" x="4348163" y="4198938"/>
          <p14:tracePt t="44751" x="4352925" y="4198938"/>
          <p14:tracePt t="44752" x="4356100" y="4195763"/>
          <p14:tracePt t="44753" x="4360863" y="4195763"/>
          <p14:tracePt t="44754" x="4364038" y="4191000"/>
          <p14:tracePt t="44757" x="4371975" y="4187825"/>
          <p14:tracePt t="44757" x="4376738" y="4183063"/>
          <p14:tracePt t="44758" x="4379913" y="4183063"/>
          <p14:tracePt t="44759" x="4384675" y="4183063"/>
          <p14:tracePt t="44761" x="4387850" y="4179888"/>
          <p14:tracePt t="44761" x="4392613" y="4175125"/>
          <p14:tracePt t="44763" x="4395788" y="4171950"/>
          <p14:tracePt t="44764" x="4403725" y="4167188"/>
          <p14:tracePt t="44765" x="4408488" y="4167188"/>
          <p14:tracePt t="44766" x="4416425" y="4164013"/>
          <p14:tracePt t="44767" x="4419600" y="4159250"/>
          <p14:tracePt t="44768" x="4424363" y="4156075"/>
          <p14:tracePt t="44769" x="4429125" y="4151313"/>
          <p14:tracePt t="44771" x="4437063" y="4151313"/>
          <p14:tracePt t="44772" x="4440238" y="4148138"/>
          <p14:tracePt t="44773" x="4448175" y="4143375"/>
          <p14:tracePt t="44774" x="4452938" y="4140200"/>
          <p14:tracePt t="44775" x="4460875" y="4140200"/>
          <p14:tracePt t="44776" x="4464050" y="4135438"/>
          <p14:tracePt t="44776" x="4471988" y="4132263"/>
          <p14:tracePt t="44777" x="4479925" y="4127500"/>
          <p14:tracePt t="44778" x="4484688" y="4124325"/>
          <p14:tracePt t="44780" x="4492625" y="4124325"/>
          <p14:tracePt t="44780" x="4495800" y="4119563"/>
          <p14:tracePt t="44781" x="4503738" y="4119563"/>
          <p14:tracePt t="44782" x="4511675" y="4116388"/>
          <p14:tracePt t="44783" x="4516438" y="4111625"/>
          <p14:tracePt t="44784" x="4524375" y="4106863"/>
          <p14:tracePt t="44785" x="4532313" y="4103688"/>
          <p14:tracePt t="44786" x="4537075" y="4103688"/>
          <p14:tracePt t="44788" x="4545013" y="4098925"/>
          <p14:tracePt t="44788" x="4552950" y="4095750"/>
          <p14:tracePt t="44790" x="4556125" y="4090988"/>
          <p14:tracePt t="44791" x="4564063" y="4087813"/>
          <p14:tracePt t="44791" x="4568825" y="4087813"/>
          <p14:tracePt t="44792" x="4579938" y="4083050"/>
          <p14:tracePt t="44793" x="4584700" y="4079875"/>
          <p14:tracePt t="44794" x="4587875" y="4079875"/>
          <p14:tracePt t="44795" x="4595813" y="4075113"/>
          <p14:tracePt t="44796" x="4600575" y="4071938"/>
          <p14:tracePt t="44799" x="4608513" y="4071938"/>
          <p14:tracePt t="44800" x="4613275" y="4067175"/>
          <p14:tracePt t="44800" x="4616450" y="4067175"/>
          <p14:tracePt t="44801" x="4621213" y="4064000"/>
          <p14:tracePt t="44802" x="4624388" y="4064000"/>
          <p14:tracePt t="44803" x="4629150" y="4059238"/>
          <p14:tracePt t="44805" x="4632325" y="4059238"/>
          <p14:tracePt t="44806" x="4637088" y="4056063"/>
          <p14:tracePt t="44807" x="4640263" y="4051300"/>
          <p14:tracePt t="44808" x="4645025" y="4051300"/>
          <p14:tracePt t="44809" x="4648200" y="4051300"/>
          <p14:tracePt t="44810" x="4648200" y="4048125"/>
          <p14:tracePt t="44813" x="4652963" y="4048125"/>
          <p14:tracePt t="44813" x="4656138" y="4048125"/>
          <p14:tracePt t="44814" x="4656138" y="4043363"/>
          <p14:tracePt t="44815" x="4660900" y="4043363"/>
          <p14:tracePt t="44816" x="4664075" y="4043363"/>
          <p14:tracePt t="44817" x="4668838" y="4040188"/>
          <p14:tracePt t="44821" x="4672013" y="4035425"/>
          <p14:tracePt t="44823" x="4676775" y="4035425"/>
          <p14:tracePt t="44823" x="4679950" y="4035425"/>
          <p14:tracePt t="44824" x="4679950" y="4032250"/>
          <p14:tracePt t="44826" x="4684713" y="4032250"/>
          <p14:tracePt t="44827" x="4687888" y="4032250"/>
          <p14:tracePt t="44831" x="4692650" y="4032250"/>
          <p14:tracePt t="44831" x="4697413" y="4032250"/>
          <p14:tracePt t="44832" x="4700588" y="4032250"/>
          <p14:tracePt t="44834" x="4705350" y="4027488"/>
          <p14:tracePt t="44835" x="4708525" y="4027488"/>
          <p14:tracePt t="44838" x="4713288" y="4024313"/>
          <p14:tracePt t="44839" x="4716463" y="4024313"/>
          <p14:tracePt t="44840" x="4721225" y="4024313"/>
          <p14:tracePt t="44840" x="4724400" y="4024313"/>
          <p14:tracePt t="44842" x="4729163" y="4019550"/>
          <p14:tracePt t="44844" x="4732338" y="4019550"/>
          <p14:tracePt t="44845" x="4737100" y="4019550"/>
          <p14:tracePt t="44847" x="4740275" y="4019550"/>
          <p14:tracePt t="44847" x="4745038" y="4019550"/>
          <p14:tracePt t="44848" x="4748213" y="4019550"/>
          <p14:tracePt t="44849" x="4752975" y="4019550"/>
          <p14:tracePt t="44850" x="4756150" y="4019550"/>
          <p14:tracePt t="44851" x="4760913" y="4014788"/>
          <p14:tracePt t="44852" x="4764088" y="4014788"/>
          <p14:tracePt t="44854" x="4768850" y="4014788"/>
          <p14:tracePt t="44855" x="4772025" y="4014788"/>
          <p14:tracePt t="44856" x="4776788" y="4014788"/>
          <p14:tracePt t="44858" x="4779963" y="4014788"/>
          <p14:tracePt t="44859" x="4784725" y="4011613"/>
          <p14:tracePt t="44859" x="4789488" y="4011613"/>
          <p14:tracePt t="44860" x="4792663" y="4011613"/>
          <p14:tracePt t="44861" x="4797425" y="4011613"/>
          <p14:tracePt t="44862" x="4800600" y="4011613"/>
          <p14:tracePt t="44863" x="4805363" y="4011613"/>
          <p14:tracePt t="44864" x="4808538" y="4011613"/>
          <p14:tracePt t="44866" x="4813300" y="4006850"/>
          <p14:tracePt t="44867" x="4816475" y="4006850"/>
          <p14:tracePt t="44868" x="4821238" y="4006850"/>
          <p14:tracePt t="44869" x="4824413" y="4006850"/>
          <p14:tracePt t="44871" x="4829175" y="4006850"/>
          <p14:tracePt t="44872" x="4832350" y="4006850"/>
          <p14:tracePt t="44872" x="4840288" y="4006850"/>
          <p14:tracePt t="44874" x="4845050" y="4006850"/>
          <p14:tracePt t="44875" x="4848225" y="4006850"/>
          <p14:tracePt t="44875" x="4852988" y="4003675"/>
          <p14:tracePt t="44878" x="4860925" y="4003675"/>
          <p14:tracePt t="44881" x="4864100" y="4003675"/>
          <p14:tracePt t="44882" x="4868863" y="3998913"/>
          <p14:tracePt t="44882" x="4872038" y="3998913"/>
          <p14:tracePt t="44883" x="4876800" y="3998913"/>
          <p14:tracePt t="44884" x="4881563" y="3998913"/>
          <p14:tracePt t="44885" x="4884738" y="3998913"/>
          <p14:tracePt t="44888" x="4897438" y="3995738"/>
          <p14:tracePt t="44890" x="4900613" y="3995738"/>
          <p14:tracePt t="44891" x="4905375" y="3995738"/>
          <p14:tracePt t="44892" x="4908550" y="3995738"/>
          <p14:tracePt t="44893" x="4913313" y="3990975"/>
          <p14:tracePt t="44894" x="4916488" y="3990975"/>
          <p14:tracePt t="44895" x="4921250" y="3990975"/>
          <p14:tracePt t="44896" x="4924425" y="3990975"/>
          <p14:tracePt t="44897" x="4929188" y="3990975"/>
          <p14:tracePt t="44898" x="4932363" y="3990975"/>
          <p14:tracePt t="44899" x="4937125" y="3990975"/>
          <p14:tracePt t="44900" x="4940300" y="3990975"/>
          <p14:tracePt t="44902" x="4945063" y="3987800"/>
          <p14:tracePt t="44903" x="4948238" y="3987800"/>
          <p14:tracePt t="44905" x="4953000" y="3987800"/>
          <p14:tracePt t="44906" x="4956175" y="3983038"/>
          <p14:tracePt t="44907" x="4960938" y="3983038"/>
          <p14:tracePt t="44907" x="4968875" y="3979863"/>
          <p14:tracePt t="44908" x="4973638" y="3979863"/>
          <p14:tracePt t="44909" x="4976813" y="3975100"/>
          <p14:tracePt t="44910" x="4981575" y="3975100"/>
          <p14:tracePt t="44911" x="4984750" y="3975100"/>
          <p14:tracePt t="44912" x="4992688" y="3971925"/>
          <p14:tracePt t="44914" x="4997450" y="3971925"/>
          <p14:tracePt t="44914" x="5000625" y="3967163"/>
          <p14:tracePt t="44916" x="5005388" y="3963988"/>
          <p14:tracePt t="44917" x="5008563" y="3959225"/>
          <p14:tracePt t="44918" x="5013325" y="3959225"/>
          <p14:tracePt t="44920" x="5021263" y="3959225"/>
          <p14:tracePt t="44922" x="5029200" y="3956050"/>
          <p14:tracePt t="44923" x="5037138" y="3951288"/>
          <p14:tracePt t="44923" x="5040313" y="3951288"/>
          <p14:tracePt t="44924" x="5045075" y="3948113"/>
          <p14:tracePt t="44925" x="5048250" y="3943350"/>
          <p14:tracePt t="44926" x="5053013" y="3943350"/>
          <p14:tracePt t="44927" x="5060950" y="3940175"/>
          <p14:tracePt t="44928" x="5060950" y="3935413"/>
          <p14:tracePt t="44929" x="5068888" y="3935413"/>
          <p14:tracePt t="44930" x="5073650" y="3935413"/>
          <p14:tracePt t="44931" x="5076825" y="3935413"/>
          <p14:tracePt t="44933" x="5084763" y="3930650"/>
          <p14:tracePt t="44933" x="5089525" y="3927475"/>
          <p14:tracePt t="44934" x="5092700" y="3927475"/>
          <p14:tracePt t="44935" x="5100638" y="3922713"/>
          <p14:tracePt t="44936" x="5105400" y="3922713"/>
          <p14:tracePt t="44938" x="5108575" y="3919538"/>
          <p14:tracePt t="44939" x="5116513" y="3914775"/>
          <p14:tracePt t="44940" x="5121275" y="3914775"/>
          <p14:tracePt t="44940" x="5124450" y="3911600"/>
          <p14:tracePt t="44941" x="5132388" y="3911600"/>
          <p14:tracePt t="44942" x="5137150" y="3906838"/>
          <p14:tracePt t="44943" x="5140325" y="3906838"/>
          <p14:tracePt t="44944" x="5145088" y="3903663"/>
          <p14:tracePt t="44945" x="5149850" y="3903663"/>
          <p14:tracePt t="44946" x="5153025" y="3898900"/>
          <p14:tracePt t="44947" x="5160963" y="3895725"/>
          <p14:tracePt t="44948" x="5165725" y="3895725"/>
          <p14:tracePt t="44949" x="5173663" y="3890963"/>
          <p14:tracePt t="44950" x="5176838" y="3890963"/>
          <p14:tracePt t="44952" x="5181600" y="3887788"/>
          <p14:tracePt t="44952" x="5189538" y="3887788"/>
          <p14:tracePt t="44953" x="5192713" y="3883025"/>
          <p14:tracePt t="44954" x="5197475" y="3883025"/>
          <p14:tracePt t="44955" x="5200650" y="3879850"/>
          <p14:tracePt t="44957" x="5205413" y="3879850"/>
          <p14:tracePt t="44957" x="5213350" y="3875088"/>
          <p14:tracePt t="44958" x="5213350" y="3871913"/>
          <p14:tracePt t="44959" x="5216525" y="3871913"/>
          <p14:tracePt t="44961" x="5224463" y="3867150"/>
          <p14:tracePt t="44961" x="5229225" y="3867150"/>
          <p14:tracePt t="44962" x="5237163" y="3863975"/>
          <p14:tracePt t="44963" x="5241925" y="3863975"/>
          <p14:tracePt t="44964" x="5245100" y="3863975"/>
          <p14:tracePt t="44965" x="5253038" y="3863975"/>
          <p14:tracePt t="44966" x="5257800" y="3859213"/>
          <p14:tracePt t="44967" x="5260975" y="3859213"/>
          <p14:tracePt t="44968" x="5268913" y="3856038"/>
          <p14:tracePt t="44969" x="5273675" y="3851275"/>
          <p14:tracePt t="44971" x="5284788" y="3848100"/>
          <p14:tracePt t="44973" x="5292725" y="3843338"/>
          <p14:tracePt t="44974" x="5297488" y="3843338"/>
          <p14:tracePt t="44975" x="5300663" y="3838575"/>
          <p14:tracePt t="44976" x="5308600" y="3838575"/>
          <p14:tracePt t="44977" x="5313363" y="3835400"/>
          <p14:tracePt t="44978" x="5321300" y="3835400"/>
          <p14:tracePt t="44980" x="5324475" y="3830638"/>
          <p14:tracePt t="44980" x="5329238" y="3830638"/>
          <p14:tracePt t="44981" x="5337175" y="3827463"/>
          <p14:tracePt t="44983" x="5341938" y="3827463"/>
          <p14:tracePt t="44983" x="5349875" y="3822700"/>
          <p14:tracePt t="44984" x="5353050" y="3819525"/>
          <p14:tracePt t="44985" x="5357813" y="3819525"/>
          <p14:tracePt t="44986" x="5365750" y="3814763"/>
          <p14:tracePt t="44988" x="5368925" y="3814763"/>
          <p14:tracePt t="44989" x="5376863" y="3811588"/>
          <p14:tracePt t="44990" x="5384800" y="3811588"/>
          <p14:tracePt t="44990" x="5389563" y="3811588"/>
          <p14:tracePt t="44991" x="5397500" y="3806825"/>
          <p14:tracePt t="44994" x="5405438" y="3803650"/>
          <p14:tracePt t="44995" x="5408613" y="3803650"/>
          <p14:tracePt t="44995" x="5413375" y="3798888"/>
          <p14:tracePt t="44996" x="5416550" y="3798888"/>
          <p14:tracePt t="44997" x="5426075" y="3795713"/>
          <p14:tracePt t="44999" x="5429250" y="3795713"/>
          <p14:tracePt t="44999" x="5437188" y="3795713"/>
          <p14:tracePt t="45000" x="5441950" y="3790950"/>
          <p14:tracePt t="45001" x="5445125" y="3790950"/>
          <p14:tracePt t="45002" x="5453063" y="3787775"/>
          <p14:tracePt t="45003" x="5457825" y="3787775"/>
          <p14:tracePt t="45004" x="5461000" y="3787775"/>
          <p14:tracePt t="45006" x="5465763" y="3783013"/>
          <p14:tracePt t="45007" x="5468938" y="3783013"/>
          <p14:tracePt t="45008" x="5473700" y="3783013"/>
          <p14:tracePt t="45009" x="5476875" y="3783013"/>
          <p14:tracePt t="45010" x="5481638" y="3779838"/>
          <p14:tracePt t="45011" x="5484813" y="3779838"/>
          <p14:tracePt t="45012" x="5489575" y="3779838"/>
          <p14:tracePt t="45013" x="5492750" y="3779838"/>
          <p14:tracePt t="45014" x="5497513" y="3779838"/>
          <p14:tracePt t="45016" x="5500688" y="3779838"/>
          <p14:tracePt t="45017" x="5505450" y="3779838"/>
          <p14:tracePt t="45021" x="5510213" y="3779838"/>
          <p14:tracePt t="45022" x="5510213" y="3775075"/>
          <p14:tracePt t="45024" x="5513388" y="3775075"/>
          <p14:tracePt t="45029" x="5518150" y="3775075"/>
          <p14:tracePt t="45034" x="5521325" y="3775075"/>
          <p14:tracePt t="45038" x="5521325" y="3771900"/>
          <p14:tracePt t="45041" x="5526088" y="3771900"/>
          <p14:tracePt t="45069" x="5526088" y="3767138"/>
          <p14:tracePt t="45130" x="5526088" y="3763963"/>
          <p14:tracePt t="45145" x="5526088" y="3759200"/>
          <p14:tracePt t="45150" x="5526088" y="3756025"/>
          <p14:tracePt t="45155" x="5526088" y="3751263"/>
          <p14:tracePt t="45158" x="5526088" y="3746500"/>
          <p14:tracePt t="45162" x="5526088" y="3743325"/>
          <p14:tracePt t="45166" x="5526088" y="3738563"/>
          <p14:tracePt t="45177" x="5526088" y="3735388"/>
          <p14:tracePt t="45180" x="5521325" y="3735388"/>
          <p14:tracePt t="45181" x="5521325" y="3730625"/>
          <p14:tracePt t="45184" x="5518150" y="3727450"/>
          <p14:tracePt t="45187" x="5513388" y="3722688"/>
          <p14:tracePt t="45190" x="5510213" y="3719513"/>
          <p14:tracePt t="45192" x="5510213" y="3714750"/>
          <p14:tracePt t="45194" x="5510213" y="3711575"/>
          <p14:tracePt t="45195" x="5505450" y="3711575"/>
          <p14:tracePt t="45195" x="5505450" y="3706813"/>
          <p14:tracePt t="45197" x="5500688" y="3706813"/>
          <p14:tracePt t="45197" x="5500688" y="3703638"/>
          <p14:tracePt t="45199" x="5497513" y="3703638"/>
          <p14:tracePt t="45200" x="5497513" y="3698875"/>
          <p14:tracePt t="45203" x="5492750" y="3698875"/>
          <p14:tracePt t="45204" x="5489575" y="3695700"/>
          <p14:tracePt t="45205" x="5484813" y="3695700"/>
          <p14:tracePt t="45207" x="5484813" y="3690938"/>
          <p14:tracePt t="45207" x="5481638" y="3690938"/>
          <p14:tracePt t="45208" x="5476875" y="3687763"/>
          <p14:tracePt t="45210" x="5476875" y="3683000"/>
          <p14:tracePt t="45211" x="5473700" y="3683000"/>
          <p14:tracePt t="45212" x="5468938" y="3679825"/>
          <p14:tracePt t="45214" x="5468938" y="3675063"/>
          <p14:tracePt t="45215" x="5465763" y="3675063"/>
          <p14:tracePt t="45216" x="5461000" y="3671888"/>
          <p14:tracePt t="45218" x="5461000" y="3667125"/>
          <p14:tracePt t="45219" x="5457825" y="3663950"/>
          <p14:tracePt t="45221" x="5453063" y="3663950"/>
          <p14:tracePt t="45222" x="5449888" y="3663950"/>
          <p14:tracePt t="45223" x="5445125" y="3659188"/>
          <p14:tracePt t="45224" x="5441950" y="3659188"/>
          <p14:tracePt t="45226" x="5437188" y="3654425"/>
          <p14:tracePt t="45227" x="5434013" y="3654425"/>
          <p14:tracePt t="45228" x="5434013" y="3651250"/>
          <p14:tracePt t="45229" x="5429250" y="3651250"/>
          <p14:tracePt t="45230" x="5429250" y="3646488"/>
          <p14:tracePt t="45232" x="5426075" y="3646488"/>
          <p14:tracePt t="45234" x="5421313" y="3643313"/>
          <p14:tracePt t="45236" x="5416550" y="3643313"/>
          <p14:tracePt t="45238" x="5416550" y="3638550"/>
          <p14:tracePt t="45239" x="5413375" y="3638550"/>
          <p14:tracePt t="45240" x="5413375" y="3635375"/>
          <p14:tracePt t="45240" x="5408613" y="3635375"/>
          <p14:tracePt t="45243" x="5405438" y="3630613"/>
          <p14:tracePt t="45244" x="5400675" y="3630613"/>
          <p14:tracePt t="45245" x="5400675" y="3627438"/>
          <p14:tracePt t="45247" x="5397500" y="3627438"/>
          <p14:tracePt t="45248" x="5392738" y="3627438"/>
          <p14:tracePt t="45249" x="5392738" y="3622675"/>
          <p14:tracePt t="45250" x="5389563" y="3622675"/>
          <p14:tracePt t="45254" x="5384800" y="3622675"/>
          <p14:tracePt t="45256" x="5384800" y="3619500"/>
          <p14:tracePt t="45258" x="5381625" y="3619500"/>
          <p14:tracePt t="45260" x="5376863" y="3619500"/>
          <p14:tracePt t="45263" x="5373688" y="3619500"/>
          <p14:tracePt t="45264" x="5373688" y="3614738"/>
          <p14:tracePt t="45266" x="5368925" y="3611563"/>
          <p14:tracePt t="45269" x="5365750" y="3611563"/>
          <p14:tracePt t="45273" x="5360988" y="3611563"/>
          <p14:tracePt t="45276" x="5357813" y="3611563"/>
          <p14:tracePt t="45276" x="5357813" y="3606800"/>
          <p14:tracePt t="45278" x="5353050" y="3606800"/>
          <p14:tracePt t="45282" x="5349875" y="3606800"/>
          <p14:tracePt t="45283" x="5349875" y="3603625"/>
          <p14:tracePt t="45288" x="5345113" y="3603625"/>
          <p14:tracePt t="45292" x="5341938" y="3603625"/>
          <p14:tracePt t="45293" x="5341938" y="3598863"/>
          <p14:tracePt t="45295" x="5337175" y="3598863"/>
          <p14:tracePt t="45297" x="5337175" y="3595688"/>
          <p14:tracePt t="45299" x="5334000" y="3595688"/>
          <p14:tracePt t="45302" x="5334000" y="3590925"/>
          <p14:tracePt t="45302" x="5329238" y="3590925"/>
          <p14:tracePt t="45305" x="5324475" y="3590925"/>
          <p14:tracePt t="45306" x="5321300" y="3590925"/>
          <p14:tracePt t="45310" x="5316538" y="3590925"/>
          <p14:tracePt t="45312" x="5313363" y="3587750"/>
          <p14:tracePt t="45313" x="5308600" y="3587750"/>
          <p14:tracePt t="45317" x="5305425" y="3587750"/>
          <p14:tracePt t="45320" x="5300663" y="3587750"/>
          <p14:tracePt t="45321" x="5297488" y="3582988"/>
          <p14:tracePt t="45323" x="5292725" y="3582988"/>
          <p14:tracePt t="45324" x="5289550" y="3582988"/>
          <p14:tracePt t="45325" x="5284788" y="3582988"/>
          <p14:tracePt t="45326" x="5281613" y="3582988"/>
          <p14:tracePt t="45328" x="5276850" y="3582988"/>
          <p14:tracePt t="45329" x="5273675" y="3582988"/>
          <p14:tracePt t="45329" x="5268913" y="3582988"/>
          <p14:tracePt t="45330" x="5268913" y="3579813"/>
          <p14:tracePt t="45332" x="5265738" y="3579813"/>
          <p14:tracePt t="45334" x="5260975" y="3579813"/>
          <p14:tracePt t="45334" x="5257800" y="3579813"/>
          <p14:tracePt t="45335" x="5253038" y="3579813"/>
          <p14:tracePt t="45336" x="5249863" y="3579813"/>
          <p14:tracePt t="45338" x="5245100" y="3579813"/>
          <p14:tracePt t="45339" x="5241925" y="3579813"/>
          <p14:tracePt t="45339" x="5237163" y="3575050"/>
          <p14:tracePt t="45340" x="5232400" y="3575050"/>
          <p14:tracePt t="45341" x="5229225" y="3575050"/>
          <p14:tracePt t="45343" x="5224463" y="3575050"/>
          <p14:tracePt t="45343" x="5221288" y="3575050"/>
          <p14:tracePt t="45344" x="5216525" y="3575050"/>
          <p14:tracePt t="45345" x="5208588" y="3575050"/>
          <p14:tracePt t="45346" x="5205413" y="3575050"/>
          <p14:tracePt t="45347" x="5200650" y="3575050"/>
          <p14:tracePt t="45348" x="5197475" y="3571875"/>
          <p14:tracePt t="45349" x="5189538" y="3571875"/>
          <p14:tracePt t="45350" x="5181600" y="3571875"/>
          <p14:tracePt t="45351" x="5176838" y="3571875"/>
          <p14:tracePt t="45352" x="5168900" y="3571875"/>
          <p14:tracePt t="45353" x="5165725" y="3567113"/>
          <p14:tracePt t="45354" x="5157788" y="3567113"/>
          <p14:tracePt t="45356" x="5149850" y="3567113"/>
          <p14:tracePt t="45357" x="5145088" y="3567113"/>
          <p14:tracePt t="45357" x="5137150" y="3567113"/>
          <p14:tracePt t="45359" x="5129213" y="3562350"/>
          <p14:tracePt t="45360" x="5116513" y="3562350"/>
          <p14:tracePt t="45361" x="5108575" y="3562350"/>
          <p14:tracePt t="45362" x="5100638" y="3562350"/>
          <p14:tracePt t="45363" x="5097463" y="3562350"/>
          <p14:tracePt t="45364" x="5092700" y="3562350"/>
          <p14:tracePt t="45365" x="5081588" y="3562350"/>
          <p14:tracePt t="45366" x="5073650" y="3562350"/>
          <p14:tracePt t="45367" x="5065713" y="3562350"/>
          <p14:tracePt t="45368" x="5060950" y="3559175"/>
          <p14:tracePt t="45369" x="5056188" y="3559175"/>
          <p14:tracePt t="45371" x="5045075" y="3559175"/>
          <p14:tracePt t="45372" x="5037138" y="3559175"/>
          <p14:tracePt t="45373" x="5021263" y="3559175"/>
          <p14:tracePt t="45375" x="5013325" y="3559175"/>
          <p14:tracePt t="45375" x="5005388" y="3559175"/>
          <p14:tracePt t="45376" x="5000625" y="3559175"/>
          <p14:tracePt t="45378" x="4992688" y="3559175"/>
          <p14:tracePt t="45378" x="4984750" y="3559175"/>
          <p14:tracePt t="45379" x="4976813" y="3559175"/>
          <p14:tracePt t="45380" x="4968875" y="3559175"/>
          <p14:tracePt t="45381" x="4960938" y="3559175"/>
          <p14:tracePt t="45382" x="4956175" y="3559175"/>
          <p14:tracePt t="45383" x="4948238" y="3559175"/>
          <p14:tracePt t="45384" x="4940300" y="3559175"/>
          <p14:tracePt t="45385" x="4932363" y="3559175"/>
          <p14:tracePt t="45386" x="4924425" y="3559175"/>
          <p14:tracePt t="45388" x="4921250" y="3559175"/>
          <p14:tracePt t="45390" x="4908550" y="3559175"/>
          <p14:tracePt t="45391" x="4905375" y="3559175"/>
          <p14:tracePt t="45392" x="4900613" y="3559175"/>
          <p14:tracePt t="45392" x="4897438" y="3559175"/>
          <p14:tracePt t="45393" x="4889500" y="3559175"/>
          <p14:tracePt t="45394" x="4884738" y="3559175"/>
          <p14:tracePt t="45395" x="4876800" y="3559175"/>
          <p14:tracePt t="45396" x="4872038" y="3559175"/>
          <p14:tracePt t="45397" x="4868863" y="3559175"/>
          <p14:tracePt t="45398" x="4864100" y="3559175"/>
          <p14:tracePt t="45399" x="4860925" y="3559175"/>
          <p14:tracePt t="45401" x="4852988" y="3559175"/>
          <p14:tracePt t="45401" x="4848225" y="3559175"/>
          <p14:tracePt t="45403" x="4845050" y="3559175"/>
          <p14:tracePt t="45405" x="4840288" y="3559175"/>
          <p14:tracePt t="45405" x="4837113" y="3559175"/>
          <p14:tracePt t="45406" x="4832350" y="3559175"/>
          <p14:tracePt t="45408" x="4829175" y="3559175"/>
          <p14:tracePt t="45409" x="4829175" y="3562350"/>
          <p14:tracePt t="45410" x="4824413" y="3562350"/>
          <p14:tracePt t="45411" x="4821238" y="3562350"/>
          <p14:tracePt t="45411" x="4816475" y="3562350"/>
          <p14:tracePt t="45414" x="4813300" y="3562350"/>
          <p14:tracePt t="45414" x="4808538" y="3562350"/>
          <p14:tracePt t="45416" x="4808538" y="3567113"/>
          <p14:tracePt t="45417" x="4805363" y="3567113"/>
          <p14:tracePt t="45420" x="4800600" y="3567113"/>
          <p14:tracePt t="45421" x="4800600" y="3571875"/>
          <p14:tracePt t="45422" x="4797425" y="3571875"/>
          <p14:tracePt t="45424" x="4792663" y="3571875"/>
          <p14:tracePt t="45427" x="4789488" y="3571875"/>
          <p14:tracePt t="45431" x="4784725" y="3571875"/>
          <p14:tracePt t="45435" x="4779963" y="3571875"/>
          <p14:tracePt t="45436" x="4776788" y="3575050"/>
          <p14:tracePt t="45441" x="4776788" y="3579813"/>
          <p14:tracePt t="45441" x="4772025" y="3579813"/>
          <p14:tracePt t="45446" x="4768850" y="3582988"/>
          <p14:tracePt t="45452" x="4768850" y="3587750"/>
          <p14:tracePt t="45456" x="4768850" y="3590925"/>
          <p14:tracePt t="45461" x="4768850" y="3595688"/>
          <p14:tracePt t="45463" x="4768850" y="3598863"/>
          <p14:tracePt t="45465" x="4764088" y="3598863"/>
          <p14:tracePt t="45466" x="4764088" y="3603625"/>
          <p14:tracePt t="45470" x="4764088" y="3606800"/>
          <p14:tracePt t="45473" x="4764088" y="3611563"/>
          <p14:tracePt t="45477" x="4764088" y="3614738"/>
          <p14:tracePt t="45479" x="4764088" y="3619500"/>
          <p14:tracePt t="45482" x="4764088" y="3622675"/>
          <p14:tracePt t="45484" x="4764088" y="3627438"/>
          <p14:tracePt t="45484" x="4764088" y="3630613"/>
          <p14:tracePt t="45486" x="4764088" y="3635375"/>
          <p14:tracePt t="45488" x="4764088" y="3638550"/>
          <p14:tracePt t="45491" x="4764088" y="3643313"/>
          <p14:tracePt t="45493" x="4764088" y="3646488"/>
          <p14:tracePt t="45495" x="4764088" y="3651250"/>
          <p14:tracePt t="45498" x="4764088" y="3654425"/>
          <p14:tracePt t="45499" x="4764088" y="3659188"/>
          <p14:tracePt t="45500" x="4768850" y="3663950"/>
          <p14:tracePt t="45502" x="4772025" y="3667125"/>
          <p14:tracePt t="45504" x="4772025" y="3671888"/>
          <p14:tracePt t="45505" x="4772025" y="3675063"/>
          <p14:tracePt t="45506" x="4776788" y="3675063"/>
          <p14:tracePt t="45507" x="4776788" y="3679825"/>
          <p14:tracePt t="45510" x="4779963" y="3683000"/>
          <p14:tracePt t="45510" x="4779963" y="3687763"/>
          <p14:tracePt t="45511" x="4784725" y="3690938"/>
          <p14:tracePt t="45513" x="4789488" y="3690938"/>
          <p14:tracePt t="45514" x="4789488" y="3695700"/>
          <p14:tracePt t="45515" x="4792663" y="3698875"/>
          <p14:tracePt t="45518" x="4797425" y="3703638"/>
          <p14:tracePt t="45518" x="4800600" y="3706813"/>
          <p14:tracePt t="45521" x="4805363" y="3711575"/>
          <p14:tracePt t="45523" x="4805363" y="3719513"/>
          <p14:tracePt t="45524" x="4808538" y="3719513"/>
          <p14:tracePt t="45525" x="4813300" y="3722688"/>
          <p14:tracePt t="45525" x="4816475" y="3727450"/>
          <p14:tracePt t="45526" x="4816475" y="3730625"/>
          <p14:tracePt t="45527" x="4821238" y="3730625"/>
          <p14:tracePt t="45528" x="4824413" y="3735388"/>
          <p14:tracePt t="45529" x="4829175" y="3735388"/>
          <p14:tracePt t="45530" x="4832350" y="3738563"/>
          <p14:tracePt t="45531" x="4837113" y="3743325"/>
          <p14:tracePt t="45532" x="4840288" y="3746500"/>
          <p14:tracePt t="45533" x="4845050" y="3751263"/>
          <p14:tracePt t="45534" x="4845050" y="3756025"/>
          <p14:tracePt t="45535" x="4848225" y="3756025"/>
          <p14:tracePt t="45536" x="4852988" y="3759200"/>
          <p14:tracePt t="45538" x="4856163" y="3763963"/>
          <p14:tracePt t="45538" x="4860925" y="3767138"/>
          <p14:tracePt t="45540" x="4868863" y="3767138"/>
          <p14:tracePt t="45541" x="4872038" y="3771900"/>
          <p14:tracePt t="45541" x="4876800" y="3771900"/>
          <p14:tracePt t="45543" x="4884738" y="3775075"/>
          <p14:tracePt t="45543" x="4889500" y="3775075"/>
          <p14:tracePt t="45544" x="4892675" y="3779838"/>
          <p14:tracePt t="45546" x="4905375" y="3787775"/>
          <p14:tracePt t="45547" x="4908550" y="3787775"/>
          <p14:tracePt t="45548" x="4908550" y="3790950"/>
          <p14:tracePt t="45549" x="4916488" y="3790950"/>
          <p14:tracePt t="45550" x="4929188" y="3795713"/>
          <p14:tracePt t="45551" x="4929188" y="3798888"/>
          <p14:tracePt t="45552" x="4932363" y="3798888"/>
          <p14:tracePt t="45553" x="4940300" y="3803650"/>
          <p14:tracePt t="45554" x="4945063" y="3806825"/>
          <p14:tracePt t="45556" x="4953000" y="3806825"/>
          <p14:tracePt t="45557" x="4956175" y="3811588"/>
          <p14:tracePt t="45558" x="4960938" y="3811588"/>
          <p14:tracePt t="45559" x="4968875" y="3814763"/>
          <p14:tracePt t="45559" x="4976813" y="3814763"/>
          <p14:tracePt t="45561" x="4984750" y="3819525"/>
          <p14:tracePt t="45562" x="4989513" y="3822700"/>
          <p14:tracePt t="45562" x="4992688" y="3822700"/>
          <p14:tracePt t="45563" x="5000625" y="3827463"/>
          <p14:tracePt t="45564" x="5005388" y="3827463"/>
          <p14:tracePt t="45565" x="5013325" y="3830638"/>
          <p14:tracePt t="45566" x="5021263" y="3830638"/>
          <p14:tracePt t="45568" x="5024438" y="3835400"/>
          <p14:tracePt t="45568" x="5032375" y="3835400"/>
          <p14:tracePt t="45569" x="5037138" y="3838575"/>
          <p14:tracePt t="45571" x="5045075" y="3838575"/>
          <p14:tracePt t="45572" x="5053013" y="3843338"/>
          <p14:tracePt t="45574" x="5068888" y="3843338"/>
          <p14:tracePt t="45575" x="5073650" y="3848100"/>
          <p14:tracePt t="45575" x="5081588" y="3848100"/>
          <p14:tracePt t="45577" x="5089525" y="3851275"/>
          <p14:tracePt t="45577" x="5092700" y="3851275"/>
          <p14:tracePt t="45578" x="5100638" y="3851275"/>
          <p14:tracePt t="45579" x="5108575" y="3856038"/>
          <p14:tracePt t="45580" x="5116513" y="3859213"/>
          <p14:tracePt t="45581" x="5121275" y="3859213"/>
          <p14:tracePt t="45582" x="5129213" y="3859213"/>
          <p14:tracePt t="45583" x="5137150" y="3863975"/>
          <p14:tracePt t="45584" x="5145088" y="3863975"/>
          <p14:tracePt t="45585" x="5153025" y="3863975"/>
          <p14:tracePt t="45586" x="5165725" y="3867150"/>
          <p14:tracePt t="45588" x="5173663" y="3867150"/>
          <p14:tracePt t="45590" x="5184775" y="3871913"/>
          <p14:tracePt t="45590" x="5192713" y="3871913"/>
          <p14:tracePt t="45591" x="5200650" y="3879850"/>
          <p14:tracePt t="45592" x="5208588" y="3879850"/>
          <p14:tracePt t="45593" x="5216525" y="3879850"/>
          <p14:tracePt t="45594" x="5221288" y="3879850"/>
          <p14:tracePt t="45596" x="5229225" y="3879850"/>
          <p14:tracePt t="45596" x="5241925" y="3879850"/>
          <p14:tracePt t="45598" x="5249863" y="3887788"/>
          <p14:tracePt t="45598" x="5253038" y="3887788"/>
          <p14:tracePt t="45599" x="5260975" y="3887788"/>
          <p14:tracePt t="45600" x="5276850" y="3890963"/>
          <p14:tracePt t="45601" x="5284788" y="3890963"/>
          <p14:tracePt t="45602" x="5289550" y="3890963"/>
          <p14:tracePt t="45603" x="5297488" y="3890963"/>
          <p14:tracePt t="45604" x="5305425" y="3895725"/>
          <p14:tracePt t="45606" x="5313363" y="3895725"/>
          <p14:tracePt t="45607" x="5321300" y="3895725"/>
          <p14:tracePt t="45608" x="5329238" y="3895725"/>
          <p14:tracePt t="45608" x="5334000" y="3898900"/>
          <p14:tracePt t="45610" x="5341938" y="3898900"/>
          <p14:tracePt t="45610" x="5349875" y="3898900"/>
          <p14:tracePt t="45611" x="5357813" y="3898900"/>
          <p14:tracePt t="45612" x="5360988" y="3898900"/>
          <p14:tracePt t="45613" x="5368925" y="3898900"/>
          <p14:tracePt t="45614" x="5373688" y="3898900"/>
          <p14:tracePt t="45615" x="5381625" y="3898900"/>
          <p14:tracePt t="45616" x="5389563" y="3898900"/>
          <p14:tracePt t="45617" x="5392738" y="3898900"/>
          <p14:tracePt t="45618" x="5397500" y="3898900"/>
          <p14:tracePt t="45619" x="5400675" y="3898900"/>
          <p14:tracePt t="45621" x="5413375" y="3898900"/>
          <p14:tracePt t="45623" x="5421313" y="3898900"/>
          <p14:tracePt t="45623" x="5426075" y="3898900"/>
          <p14:tracePt t="45625" x="5429250" y="3898900"/>
          <p14:tracePt t="45625" x="5434013" y="3898900"/>
          <p14:tracePt t="45626" x="5441950" y="3898900"/>
          <p14:tracePt t="45627" x="5445125" y="3898900"/>
          <p14:tracePt t="45628" x="5449888" y="3898900"/>
          <p14:tracePt t="45629" x="5453063" y="3898900"/>
          <p14:tracePt t="45630" x="5457825" y="3898900"/>
          <p14:tracePt t="45631" x="5461000" y="3898900"/>
          <p14:tracePt t="45632" x="5465763" y="3898900"/>
          <p14:tracePt t="45633" x="5468938" y="3898900"/>
          <p14:tracePt t="45634" x="5473700" y="3898900"/>
          <p14:tracePt t="45635" x="5481638" y="3898900"/>
          <p14:tracePt t="45636" x="5484813" y="3898900"/>
          <p14:tracePt t="45638" x="5489575" y="3898900"/>
          <p14:tracePt t="45639" x="5492750" y="3895725"/>
          <p14:tracePt t="45640" x="5497513" y="3895725"/>
          <p14:tracePt t="45640" x="5505450" y="3895725"/>
          <p14:tracePt t="45641" x="5510213" y="3890963"/>
          <p14:tracePt t="45644" x="5518150" y="3890963"/>
          <p14:tracePt t="45645" x="5521325" y="3890963"/>
          <p14:tracePt t="45646" x="5526088" y="3887788"/>
          <p14:tracePt t="45647" x="5529263" y="3887788"/>
          <p14:tracePt t="45648" x="5534025" y="3887788"/>
          <p14:tracePt t="45649" x="5537200" y="3883025"/>
          <p14:tracePt t="45650" x="5541963" y="3883025"/>
          <p14:tracePt t="45651" x="5545138" y="3879850"/>
          <p14:tracePt t="45652" x="5549900" y="3879850"/>
          <p14:tracePt t="45653" x="5553075" y="3879850"/>
          <p14:tracePt t="45655" x="5553075" y="3875088"/>
          <p14:tracePt t="45656" x="5557838" y="3875088"/>
          <p14:tracePt t="45658" x="5561013" y="3875088"/>
          <p14:tracePt t="45658" x="5565775" y="3871913"/>
          <p14:tracePt t="45659" x="5568950" y="3871913"/>
          <p14:tracePt t="45661" x="5573713" y="3871913"/>
          <p14:tracePt t="45663" x="5576888" y="3871913"/>
          <p14:tracePt t="45663" x="5581650" y="3867150"/>
          <p14:tracePt t="45665" x="5584825" y="3863975"/>
          <p14:tracePt t="45666" x="5589588" y="3863975"/>
          <p14:tracePt t="45667" x="5589588" y="3859213"/>
          <p14:tracePt t="45670" x="5592763" y="3856038"/>
          <p14:tracePt t="45673" x="5597525" y="3851275"/>
          <p14:tracePt t="45676" x="5602288" y="3848100"/>
          <p14:tracePt t="45677" x="5602288" y="3843338"/>
          <p14:tracePt t="45678" x="5605463" y="3838575"/>
          <p14:tracePt t="45680" x="5605463" y="3835400"/>
          <p14:tracePt t="45682" x="5610225" y="3830638"/>
          <p14:tracePt t="45685" x="5610225" y="3827463"/>
          <p14:tracePt t="45686" x="5613400" y="3827463"/>
          <p14:tracePt t="45688" x="5613400" y="3822700"/>
          <p14:tracePt t="45690" x="5618163" y="3819525"/>
          <p14:tracePt t="45690" x="5618163" y="3814763"/>
          <p14:tracePt t="45692" x="5621338" y="3814763"/>
          <p14:tracePt t="45693" x="5621338" y="3811588"/>
          <p14:tracePt t="45693" x="5621338" y="3806825"/>
          <p14:tracePt t="45694" x="5626100" y="3806825"/>
          <p14:tracePt t="45695" x="5626100" y="3803650"/>
          <p14:tracePt t="45696" x="5626100" y="3798888"/>
          <p14:tracePt t="45697" x="5626100" y="3795713"/>
          <p14:tracePt t="45698" x="5629275" y="3795713"/>
          <p14:tracePt t="45699" x="5629275" y="3790950"/>
          <p14:tracePt t="45702" x="5629275" y="3787775"/>
          <p14:tracePt t="45703" x="5634038" y="3787775"/>
          <p14:tracePt t="45704" x="5634038" y="3783013"/>
          <p14:tracePt t="45705" x="5634038" y="3779838"/>
          <p14:tracePt t="45708" x="5634038" y="3775075"/>
          <p14:tracePt t="45709" x="5637213" y="3771900"/>
          <p14:tracePt t="45710" x="5637213" y="3767138"/>
          <p14:tracePt t="45712" x="5637213" y="3763963"/>
          <p14:tracePt t="45714" x="5637213" y="3759200"/>
          <p14:tracePt t="45716" x="5637213" y="3756025"/>
          <p14:tracePt t="45717" x="5637213" y="3751263"/>
          <p14:tracePt t="45718" x="5637213" y="3746500"/>
          <p14:tracePt t="45722" x="5637213" y="3743325"/>
          <p14:tracePt t="45725" x="5637213" y="3738563"/>
          <p14:tracePt t="45726" x="5637213" y="3735388"/>
          <p14:tracePt t="45727" x="5637213" y="3730625"/>
          <p14:tracePt t="45731" x="5637213" y="3727450"/>
          <p14:tracePt t="45732" x="5637213" y="3722688"/>
          <p14:tracePt t="45734" x="5637213" y="3719513"/>
          <p14:tracePt t="45736" x="5637213" y="3714750"/>
          <p14:tracePt t="45738" x="5637213" y="3711575"/>
          <p14:tracePt t="45740" x="5634038" y="3706813"/>
          <p14:tracePt t="45745" x="5629275" y="3703638"/>
          <p14:tracePt t="45745" x="5629275" y="3698875"/>
          <p14:tracePt t="45747" x="5626100" y="3695700"/>
          <p14:tracePt t="45748" x="5626100" y="3690938"/>
          <p14:tracePt t="45749" x="5621338" y="3690938"/>
          <p14:tracePt t="45750" x="5618163" y="3690938"/>
          <p14:tracePt t="45751" x="5618163" y="3687763"/>
          <p14:tracePt t="45752" x="5613400" y="3687763"/>
          <p14:tracePt t="45753" x="5613400" y="3683000"/>
          <p14:tracePt t="45754" x="5610225" y="3679825"/>
          <p14:tracePt t="45757" x="5605463" y="3675063"/>
          <p14:tracePt t="45758" x="5602288" y="3671888"/>
          <p14:tracePt t="45761" x="5597525" y="3667125"/>
          <p14:tracePt t="45762" x="5592763" y="3667125"/>
          <p14:tracePt t="45763" x="5589588" y="3667125"/>
          <p14:tracePt t="45765" x="5581650" y="3663950"/>
          <p14:tracePt t="45765" x="5576888" y="3659188"/>
          <p14:tracePt t="45766" x="5573713" y="3659188"/>
          <p14:tracePt t="45767" x="5573713" y="3654425"/>
          <p14:tracePt t="45768" x="5568950" y="3654425"/>
          <p14:tracePt t="45769" x="5565775" y="3651250"/>
          <p14:tracePt t="45771" x="5553075" y="3646488"/>
          <p14:tracePt t="45773" x="5549900" y="3643313"/>
          <p14:tracePt t="45774" x="5545138" y="3643313"/>
          <p14:tracePt t="45776" x="5537200" y="3638550"/>
          <p14:tracePt t="45777" x="5534025" y="3638550"/>
          <p14:tracePt t="45777" x="5529263" y="3635375"/>
          <p14:tracePt t="45778" x="5526088" y="3635375"/>
          <p14:tracePt t="45780" x="5518150" y="3630613"/>
          <p14:tracePt t="45780" x="5513388" y="3630613"/>
          <p14:tracePt t="45781" x="5505450" y="3627438"/>
          <p14:tracePt t="45782" x="5500688" y="3627438"/>
          <p14:tracePt t="45783" x="5492750" y="3627438"/>
          <p14:tracePt t="45784" x="5489575" y="3622675"/>
          <p14:tracePt t="45785" x="5484813" y="3622675"/>
          <p14:tracePt t="45786" x="5484813" y="3619500"/>
          <p14:tracePt t="45788" x="5476875" y="3619500"/>
          <p14:tracePt t="45788" x="5473700" y="3614738"/>
          <p14:tracePt t="45790" x="5468938" y="3614738"/>
          <p14:tracePt t="45791" x="5461000" y="3614738"/>
          <p14:tracePt t="45791" x="5457825" y="3614738"/>
          <p14:tracePt t="45792" x="5449888" y="3614738"/>
          <p14:tracePt t="45793" x="5445125" y="3614738"/>
          <p14:tracePt t="45794" x="5441950" y="3614738"/>
          <p14:tracePt t="45795" x="5434013" y="3611563"/>
          <p14:tracePt t="45796" x="5429250" y="3611563"/>
          <p14:tracePt t="45797" x="5421313" y="3611563"/>
          <p14:tracePt t="45798" x="5416550" y="3611563"/>
          <p14:tracePt t="45799" x="5413375" y="3611563"/>
          <p14:tracePt t="45800" x="5408613" y="3611563"/>
          <p14:tracePt t="45801" x="5405438" y="3611563"/>
          <p14:tracePt t="45802" x="5397500" y="3606800"/>
          <p14:tracePt t="45803" x="5392738" y="3606800"/>
          <p14:tracePt t="45804" x="5389563" y="3606800"/>
          <p14:tracePt t="45806" x="5381625" y="3606800"/>
          <p14:tracePt t="45806" x="5376863" y="3606800"/>
          <p14:tracePt t="45807" x="5368925" y="3606800"/>
          <p14:tracePt t="45808" x="5365750" y="3606800"/>
          <p14:tracePt t="45809" x="5360988" y="3606800"/>
          <p14:tracePt t="45810" x="5353050" y="3606800"/>
          <p14:tracePt t="45811" x="5345113" y="3606800"/>
          <p14:tracePt t="45812" x="5341938" y="3606800"/>
          <p14:tracePt t="45813" x="5337175" y="3606800"/>
          <p14:tracePt t="45814" x="5329238" y="3606800"/>
          <p14:tracePt t="45817" x="5321300" y="3606800"/>
          <p14:tracePt t="45818" x="5313363" y="3606800"/>
          <p14:tracePt t="45818" x="5308600" y="3606800"/>
          <p14:tracePt t="45819" x="5300663" y="3606800"/>
          <p14:tracePt t="45820" x="5297488" y="3606800"/>
          <p14:tracePt t="45821" x="5289550" y="3606800"/>
          <p14:tracePt t="45823" x="5281613" y="3606800"/>
          <p14:tracePt t="45823" x="5276850" y="3606800"/>
          <p14:tracePt t="45824" x="5268913" y="3606800"/>
          <p14:tracePt t="45825" x="5265738" y="3606800"/>
          <p14:tracePt t="45827" x="5253038" y="3606800"/>
          <p14:tracePt t="45827" x="5249863" y="3606800"/>
          <p14:tracePt t="45828" x="5241925" y="3606800"/>
          <p14:tracePt t="45829" x="5237163" y="3606800"/>
          <p14:tracePt t="45830" x="5229225" y="3606800"/>
          <p14:tracePt t="45831" x="5224463" y="3606800"/>
          <p14:tracePt t="45832" x="5216525" y="3606800"/>
          <p14:tracePt t="45833" x="5208588" y="3606800"/>
          <p14:tracePt t="45834" x="5205413" y="3611563"/>
          <p14:tracePt t="45835" x="5200650" y="3611563"/>
          <p14:tracePt t="45836" x="5189538" y="3611563"/>
          <p14:tracePt t="45838" x="5189538" y="3614738"/>
          <p14:tracePt t="45838" x="5181600" y="3614738"/>
          <p14:tracePt t="45839" x="5176838" y="3614738"/>
          <p14:tracePt t="45840" x="5168900" y="3619500"/>
          <p14:tracePt t="45841" x="5165725" y="3619500"/>
          <p14:tracePt t="45842" x="5157788" y="3622675"/>
          <p14:tracePt t="45843" x="5149850" y="3622675"/>
          <p14:tracePt t="45844" x="5140325" y="3627438"/>
          <p14:tracePt t="45845" x="5137150" y="3627438"/>
          <p14:tracePt t="45846" x="5129213" y="3630613"/>
          <p14:tracePt t="45847" x="5124450" y="3630613"/>
          <p14:tracePt t="45848" x="5116513" y="3635375"/>
          <p14:tracePt t="45849" x="5113338" y="3635375"/>
          <p14:tracePt t="45850" x="5108575" y="3638550"/>
          <p14:tracePt t="45851" x="5100638" y="3638550"/>
          <p14:tracePt t="45852" x="5097463" y="3643313"/>
          <p14:tracePt t="45853" x="5092700" y="3643313"/>
          <p14:tracePt t="45854" x="5089525" y="3646488"/>
          <p14:tracePt t="45856" x="5081588" y="3646488"/>
          <p14:tracePt t="45856" x="5076825" y="3651250"/>
          <p14:tracePt t="45858" x="5076825" y="3654425"/>
          <p14:tracePt t="45858" x="5073650" y="3654425"/>
          <p14:tracePt t="45859" x="5068888" y="3659188"/>
          <p14:tracePt t="45860" x="5065713" y="3659188"/>
          <p14:tracePt t="45861" x="5060950" y="3663950"/>
          <p14:tracePt t="45862" x="5056188" y="3667125"/>
          <p14:tracePt t="45863" x="5053013" y="3667125"/>
          <p14:tracePt t="45864" x="5048250" y="3671888"/>
          <p14:tracePt t="45865" x="5045075" y="3671888"/>
          <p14:tracePt t="45866" x="5040313" y="3671888"/>
          <p14:tracePt t="45867" x="5037138" y="3675063"/>
          <p14:tracePt t="45868" x="5037138" y="3679825"/>
          <p14:tracePt t="45869" x="5032375" y="3679825"/>
          <p14:tracePt t="45870" x="5032375" y="3683000"/>
          <p14:tracePt t="45872" x="5029200" y="3683000"/>
          <p14:tracePt t="45873" x="5021263" y="3690938"/>
          <p14:tracePt t="45875" x="5016500" y="3695700"/>
          <p14:tracePt t="45876" x="5013325" y="3698875"/>
          <p14:tracePt t="45878" x="5013325" y="3703638"/>
          <p14:tracePt t="45880" x="5008563" y="3706813"/>
          <p14:tracePt t="45881" x="5005388" y="3711575"/>
          <p14:tracePt t="45884" x="5000625" y="3714750"/>
          <p14:tracePt t="45886" x="5000625" y="3719513"/>
          <p14:tracePt t="45887" x="4997450" y="3719513"/>
          <p14:tracePt t="45888" x="4997450" y="3722688"/>
          <p14:tracePt t="45890" x="4997450" y="3730625"/>
          <p14:tracePt t="45892" x="4997450" y="3735388"/>
          <p14:tracePt t="45893" x="4997450" y="3738563"/>
          <p14:tracePt t="45894" x="4992688" y="3746500"/>
          <p14:tracePt t="45897" x="4992688" y="3751263"/>
          <p14:tracePt t="45898" x="4992688" y="3756025"/>
          <p14:tracePt t="45899" x="4992688" y="3759200"/>
          <p14:tracePt t="45901" x="4992688" y="3763963"/>
          <p14:tracePt t="45903" x="4992688" y="3767138"/>
          <p14:tracePt t="45904" x="4992688" y="3771900"/>
          <p14:tracePt t="45905" x="4992688" y="3775075"/>
          <p14:tracePt t="45906" x="4992688" y="3783013"/>
          <p14:tracePt t="45909" x="4992688" y="3787775"/>
          <p14:tracePt t="45909" x="4992688" y="3790950"/>
          <p14:tracePt t="45912" x="4992688" y="3795713"/>
          <p14:tracePt t="45914" x="4992688" y="3798888"/>
          <p14:tracePt t="45915" x="4992688" y="3803650"/>
          <p14:tracePt t="45915" x="4992688" y="3806825"/>
          <p14:tracePt t="45916" x="4992688" y="3811588"/>
          <p14:tracePt t="45917" x="4992688" y="3814763"/>
          <p14:tracePt t="45919" x="4992688" y="3819525"/>
          <p14:tracePt t="45921" x="4992688" y="3822700"/>
          <p14:tracePt t="45922" x="4997450" y="3827463"/>
          <p14:tracePt t="45924" x="4997450" y="3830638"/>
          <p14:tracePt t="45924" x="4997450" y="3835400"/>
          <p14:tracePt t="45926" x="5000625" y="3835400"/>
          <p14:tracePt t="45928" x="5005388" y="3838575"/>
          <p14:tracePt t="45929" x="5008563" y="3843338"/>
          <p14:tracePt t="45931" x="5008563" y="3848100"/>
          <p14:tracePt t="45931" x="5013325" y="3848100"/>
          <p14:tracePt t="45932" x="5016500" y="3851275"/>
          <p14:tracePt t="45933" x="5016500" y="3856038"/>
          <p14:tracePt t="45934" x="5021263" y="3856038"/>
          <p14:tracePt t="45936" x="5024438" y="3859213"/>
          <p14:tracePt t="45936" x="5029200" y="3863975"/>
          <p14:tracePt t="45938" x="5032375" y="3863975"/>
          <p14:tracePt t="45939" x="5032375" y="3867150"/>
          <p14:tracePt t="45939" x="5037138" y="3871913"/>
          <p14:tracePt t="45940" x="5040313" y="3871913"/>
          <p14:tracePt t="45941" x="5045075" y="3875088"/>
          <p14:tracePt t="45943" x="5048250" y="3875088"/>
          <p14:tracePt t="45943" x="5053013" y="3879850"/>
          <p14:tracePt t="45944" x="5056188" y="3879850"/>
          <p14:tracePt t="45945" x="5060950" y="3883025"/>
          <p14:tracePt t="45946" x="5068888" y="3887788"/>
          <p14:tracePt t="45947" x="5073650" y="3887788"/>
          <p14:tracePt t="45949" x="5081588" y="3890963"/>
          <p14:tracePt t="45949" x="5084763" y="3895725"/>
          <p14:tracePt t="45951" x="5097463" y="3898900"/>
          <p14:tracePt t="45952" x="5105400" y="3903663"/>
          <p14:tracePt t="45953" x="5108575" y="3903663"/>
          <p14:tracePt t="45954" x="5116513" y="3906838"/>
          <p14:tracePt t="45956" x="5121275" y="3906838"/>
          <p14:tracePt t="45957" x="5129213" y="3911600"/>
          <p14:tracePt t="45957" x="5137150" y="3911600"/>
          <p14:tracePt t="45958" x="5140325" y="3914775"/>
          <p14:tracePt t="45959" x="5145088" y="3914775"/>
          <p14:tracePt t="45960" x="5149850" y="3919538"/>
          <p14:tracePt t="45961" x="5157788" y="3919538"/>
          <p14:tracePt t="45962" x="5173663" y="3922713"/>
          <p14:tracePt t="45963" x="5176838" y="3922713"/>
          <p14:tracePt t="45965" x="5184775" y="3927475"/>
          <p14:tracePt t="45965" x="5192713" y="3927475"/>
          <p14:tracePt t="45966" x="5200650" y="3930650"/>
          <p14:tracePt t="45967" x="5208588" y="3930650"/>
          <p14:tracePt t="45968" x="5216525" y="3935413"/>
          <p14:tracePt t="45969" x="5224463" y="3935413"/>
          <p14:tracePt t="45971" x="5232400" y="3935413"/>
          <p14:tracePt t="45972" x="5237163" y="3940175"/>
          <p14:tracePt t="45973" x="5245100" y="3940175"/>
          <p14:tracePt t="45973" x="5253038" y="3940175"/>
          <p14:tracePt t="45974" x="5260975" y="3943350"/>
          <p14:tracePt t="45976" x="5268913" y="3943350"/>
          <p14:tracePt t="45976" x="5276850" y="3943350"/>
          <p14:tracePt t="45978" x="5292725" y="3943350"/>
          <p14:tracePt t="45979" x="5300663" y="3943350"/>
          <p14:tracePt t="45979" x="5305425" y="3948113"/>
          <p14:tracePt t="45980" x="5313363" y="3948113"/>
          <p14:tracePt t="45981" x="5321300" y="3948113"/>
          <p14:tracePt t="45983" x="5329238" y="3948113"/>
          <p14:tracePt t="45983" x="5337175" y="3948113"/>
          <p14:tracePt t="45984" x="5345113" y="3948113"/>
          <p14:tracePt t="45985" x="5349875" y="3948113"/>
          <p14:tracePt t="45986" x="5357813" y="3948113"/>
          <p14:tracePt t="45988" x="5365750" y="3948113"/>
          <p14:tracePt t="45989" x="5373688" y="3948113"/>
          <p14:tracePt t="45989" x="5381625" y="3948113"/>
          <p14:tracePt t="45991" x="5384800" y="3948113"/>
          <p14:tracePt t="45992" x="5389563" y="3948113"/>
          <p14:tracePt t="45993" x="5397500" y="3948113"/>
          <p14:tracePt t="45993" x="5405438" y="3948113"/>
          <p14:tracePt t="45994" x="5408613" y="3948113"/>
          <p14:tracePt t="45996" x="5416550" y="3948113"/>
          <p14:tracePt t="45997" x="5421313" y="3948113"/>
          <p14:tracePt t="45998" x="5429250" y="3948113"/>
          <p14:tracePt t="46000" x="5434013" y="3948113"/>
          <p14:tracePt t="46001" x="5437188" y="3948113"/>
          <p14:tracePt t="46002" x="5445125" y="3943350"/>
          <p14:tracePt t="46004" x="5449888" y="3943350"/>
          <p14:tracePt t="46005" x="5453063" y="3943350"/>
          <p14:tracePt t="46006" x="5457825" y="3943350"/>
          <p14:tracePt t="46006" x="5457825" y="3940175"/>
          <p14:tracePt t="46008" x="5461000" y="3940175"/>
          <p14:tracePt t="46008" x="5465763" y="3935413"/>
          <p14:tracePt t="46010" x="5468938" y="3935413"/>
          <p14:tracePt t="46010" x="5468938" y="3930650"/>
          <p14:tracePt t="46012" x="5473700" y="3930650"/>
          <p14:tracePt t="46013" x="5473700" y="3927475"/>
          <p14:tracePt t="46014" x="5476875" y="3927475"/>
          <p14:tracePt t="46014" x="5476875" y="3922713"/>
          <p14:tracePt t="46015" x="5481638" y="3919538"/>
          <p14:tracePt t="46018" x="5484813" y="3914775"/>
          <p14:tracePt t="46018" x="5484813" y="3911600"/>
          <p14:tracePt t="46019" x="5489575" y="3911600"/>
          <p14:tracePt t="46021" x="5492750" y="3903663"/>
          <p14:tracePt t="46025" x="5497513" y="3898900"/>
          <p14:tracePt t="46026" x="5497513" y="3895725"/>
          <p14:tracePt t="46028" x="5500688" y="3890963"/>
          <p14:tracePt t="46029" x="5500688" y="3887788"/>
          <p14:tracePt t="46031" x="5505450" y="3883025"/>
          <p14:tracePt t="46032" x="5505450" y="3879850"/>
          <p14:tracePt t="46032" x="5505450" y="3875088"/>
          <p14:tracePt t="46033" x="5505450" y="3871913"/>
          <p14:tracePt t="46034" x="5505450" y="3867150"/>
          <p14:tracePt t="46036" x="5505450" y="3863975"/>
          <p14:tracePt t="46039" x="5505450" y="3859213"/>
          <p14:tracePt t="46040" x="5505450" y="3856038"/>
          <p14:tracePt t="46042" x="5505450" y="3851275"/>
          <p14:tracePt t="46043" x="5505450" y="3848100"/>
          <p14:tracePt t="46043" x="5505450" y="3843338"/>
          <p14:tracePt t="46045" x="5505450" y="3838575"/>
          <p14:tracePt t="46046" x="5505450" y="3835400"/>
          <p14:tracePt t="46047" x="5505450" y="3830638"/>
          <p14:tracePt t="46048" x="5505450" y="3827463"/>
          <p14:tracePt t="46050" x="5505450" y="3822700"/>
          <p14:tracePt t="46050" x="5505450" y="3819525"/>
          <p14:tracePt t="46052" x="5505450" y="3814763"/>
          <p14:tracePt t="46053" x="5500688" y="3811588"/>
          <p14:tracePt t="46055" x="5500688" y="3806825"/>
          <p14:tracePt t="46055" x="5500688" y="3803650"/>
          <p14:tracePt t="46057" x="5500688" y="3798888"/>
          <p14:tracePt t="46058" x="5497513" y="3795713"/>
          <p14:tracePt t="46058" x="5497513" y="3790950"/>
          <p14:tracePt t="46059" x="5492750" y="3787775"/>
          <p14:tracePt t="46060" x="5492750" y="3783013"/>
          <p14:tracePt t="46062" x="5489575" y="3783013"/>
          <p14:tracePt t="46062" x="5489575" y="3779838"/>
          <p14:tracePt t="46063" x="5484813" y="3779838"/>
          <p14:tracePt t="46064" x="5481638" y="3775075"/>
          <p14:tracePt t="46065" x="5481638" y="3771900"/>
          <p14:tracePt t="46066" x="5476875" y="3771900"/>
          <p14:tracePt t="46068" x="5476875" y="3767138"/>
          <p14:tracePt t="46069" x="5473700" y="3763963"/>
          <p14:tracePt t="46069" x="5473700" y="3759200"/>
          <p14:tracePt t="46071" x="5465763" y="3751263"/>
          <p14:tracePt t="46072" x="5461000" y="3746500"/>
          <p14:tracePt t="46073" x="5457825" y="3746500"/>
          <p14:tracePt t="46074" x="5453063" y="3743325"/>
          <p14:tracePt t="46076" x="5449888" y="3738563"/>
          <p14:tracePt t="46078" x="5441950" y="3738563"/>
          <p14:tracePt t="46078" x="5434013" y="3735388"/>
          <p14:tracePt t="46079" x="5429250" y="3730625"/>
          <p14:tracePt t="46080" x="5429250" y="3727450"/>
          <p14:tracePt t="46081" x="5426075" y="3727450"/>
          <p14:tracePt t="46082" x="5416550" y="3722688"/>
          <p14:tracePt t="46083" x="5413375" y="3719513"/>
          <p14:tracePt t="46084" x="5405438" y="3714750"/>
          <p14:tracePt t="46085" x="5400675" y="3714750"/>
          <p14:tracePt t="46086" x="5397500" y="3711575"/>
          <p14:tracePt t="46088" x="5389563" y="3706813"/>
          <p14:tracePt t="46088" x="5384800" y="3706813"/>
          <p14:tracePt t="46090" x="5376863" y="3703638"/>
          <p14:tracePt t="46091" x="5373688" y="3698875"/>
          <p14:tracePt t="46091" x="5365750" y="3698875"/>
          <p14:tracePt t="46092" x="5357813" y="3695700"/>
          <p14:tracePt t="46093" x="5349875" y="3690938"/>
          <p14:tracePt t="46094" x="5345113" y="3690938"/>
          <p14:tracePt t="46095" x="5337175" y="3690938"/>
          <p14:tracePt t="46096" x="5329238" y="3687763"/>
          <p14:tracePt t="46097" x="5324475" y="3687763"/>
          <p14:tracePt t="46098" x="5316538" y="3687763"/>
          <p14:tracePt t="46099" x="5308600" y="3683000"/>
          <p14:tracePt t="46100" x="5300663" y="3683000"/>
          <p14:tracePt t="46101" x="5297488" y="3679825"/>
          <p14:tracePt t="46102" x="5289550" y="3679825"/>
          <p14:tracePt t="46103" x="5281613" y="3679825"/>
          <p14:tracePt t="46105" x="5273675" y="3675063"/>
          <p14:tracePt t="46105" x="5268913" y="3675063"/>
          <p14:tracePt t="46107" x="5265738" y="3675063"/>
          <p14:tracePt t="46108" x="5257800" y="3675063"/>
          <p14:tracePt t="46108" x="5249863" y="3671888"/>
          <p14:tracePt t="46109" x="5245100" y="3671888"/>
          <p14:tracePt t="46110" x="5237163" y="3671888"/>
          <p14:tracePt t="46111" x="5229225" y="3671888"/>
          <p14:tracePt t="46112" x="5224463" y="3671888"/>
          <p14:tracePt t="46113" x="5216525" y="3671888"/>
          <p14:tracePt t="46114" x="5213350" y="3671888"/>
          <p14:tracePt t="46115" x="5208588" y="3671888"/>
          <p14:tracePt t="46116" x="5200650" y="3671888"/>
          <p14:tracePt t="46117" x="5197475" y="3671888"/>
          <p14:tracePt t="46118" x="5192713" y="3671888"/>
          <p14:tracePt t="46119" x="5189538" y="3671888"/>
          <p14:tracePt t="46121" x="5181600" y="3671888"/>
          <p14:tracePt t="46122" x="5176838" y="3671888"/>
          <p14:tracePt t="46124" x="5173663" y="3671888"/>
          <p14:tracePt t="46124" x="5168900" y="3671888"/>
          <p14:tracePt t="46125" x="5165725" y="3671888"/>
          <p14:tracePt t="46126" x="5160963" y="3671888"/>
          <p14:tracePt t="46127" x="5157788" y="3671888"/>
          <p14:tracePt t="46128" x="5153025" y="3671888"/>
          <p14:tracePt t="46129" x="5149850" y="3671888"/>
          <p14:tracePt t="46130" x="5145088" y="3671888"/>
          <p14:tracePt t="46131" x="5140325" y="3671888"/>
          <p14:tracePt t="46133" x="5137150" y="3671888"/>
          <p14:tracePt t="46134" x="5137150" y="3675063"/>
          <p14:tracePt t="46135" x="5132388" y="3675063"/>
          <p14:tracePt t="46136" x="5129213" y="3675063"/>
          <p14:tracePt t="46138" x="5129213" y="3679825"/>
          <p14:tracePt t="46139" x="5124450" y="3679825"/>
          <p14:tracePt t="46139" x="5121275" y="3679825"/>
          <p14:tracePt t="46140" x="5116513" y="3683000"/>
          <p14:tracePt t="46141" x="5116513" y="3687763"/>
          <p14:tracePt t="46142" x="5113338" y="3687763"/>
          <p14:tracePt t="46143" x="5108575" y="3690938"/>
          <p14:tracePt t="46144" x="5105400" y="3690938"/>
          <p14:tracePt t="46145" x="5100638" y="3695700"/>
          <p14:tracePt t="46147" x="5100638" y="3698875"/>
          <p14:tracePt t="46148" x="5097463" y="3703638"/>
          <p14:tracePt t="46150" x="5097463" y="3706813"/>
          <p14:tracePt t="46151" x="5092700" y="3706813"/>
          <p14:tracePt t="46153" x="5089525" y="3711575"/>
          <p14:tracePt t="46155" x="5089525" y="3714750"/>
          <p14:tracePt t="46156" x="5089525" y="3719513"/>
          <p14:tracePt t="46158" x="5084763" y="3722688"/>
          <p14:tracePt t="46159" x="5084763" y="3727450"/>
          <p14:tracePt t="46160" x="5084763" y="3730625"/>
          <p14:tracePt t="46162" x="5084763" y="3735388"/>
          <p14:tracePt t="46163" x="5084763" y="3738563"/>
          <p14:tracePt t="46164" x="5084763" y="3743325"/>
          <p14:tracePt t="46165" x="5084763" y="3746500"/>
          <p14:tracePt t="46167" x="5084763" y="3751263"/>
          <p14:tracePt t="46168" x="5084763" y="3756025"/>
          <p14:tracePt t="46169" x="5084763" y="3759200"/>
          <p14:tracePt t="46170" x="5084763" y="3763963"/>
          <p14:tracePt t="46171" x="5084763" y="3767138"/>
          <p14:tracePt t="46172" x="5084763" y="3771900"/>
          <p14:tracePt t="46173" x="5084763" y="3775075"/>
          <p14:tracePt t="46174" x="5089525" y="3779838"/>
          <p14:tracePt t="46175" x="5089525" y="3783013"/>
          <p14:tracePt t="46176" x="5092700" y="3787775"/>
          <p14:tracePt t="46178" x="5097463" y="3795713"/>
          <p14:tracePt t="46179" x="5100638" y="3798888"/>
          <p14:tracePt t="46180" x="5100638" y="3803650"/>
          <p14:tracePt t="46181" x="5100638" y="3806825"/>
          <p14:tracePt t="46182" x="5105400" y="3811588"/>
          <p14:tracePt t="46183" x="5108575" y="3814763"/>
          <p14:tracePt t="46184" x="5113338" y="3822700"/>
          <p14:tracePt t="46185" x="5116513" y="3827463"/>
          <p14:tracePt t="46187" x="5121275" y="3830638"/>
          <p14:tracePt t="46188" x="5124450" y="3835400"/>
          <p14:tracePt t="46189" x="5132388" y="3838575"/>
          <p14:tracePt t="46190" x="5137150" y="3843338"/>
          <p14:tracePt t="46191" x="5140325" y="3848100"/>
          <p14:tracePt t="46191" x="5145088" y="3848100"/>
          <p14:tracePt t="46192" x="5153025" y="3851275"/>
          <p14:tracePt t="46194" x="5157788" y="3856038"/>
          <p14:tracePt t="46194" x="5160963" y="3859213"/>
          <p14:tracePt t="46195" x="5168900" y="3863975"/>
          <p14:tracePt t="46196" x="5168900" y="3867150"/>
          <p14:tracePt t="46197" x="5176838" y="3871913"/>
          <p14:tracePt t="46198" x="5189538" y="3875088"/>
          <p14:tracePt t="46199" x="5192713" y="3879850"/>
          <p14:tracePt t="46200" x="5200650" y="3883025"/>
          <p14:tracePt t="46202" x="5200650" y="3887788"/>
          <p14:tracePt t="46202" x="5208588" y="3887788"/>
          <p14:tracePt t="46203" x="5213350" y="3890963"/>
          <p14:tracePt t="46204" x="5224463" y="3895725"/>
          <p14:tracePt t="46205" x="5229225" y="3898900"/>
          <p14:tracePt t="46207" x="5237163" y="3898900"/>
          <p14:tracePt t="46207" x="5245100" y="3903663"/>
          <p14:tracePt t="46208" x="5257800" y="3906838"/>
          <p14:tracePt t="46209" x="5265738" y="3906838"/>
          <p14:tracePt t="46211" x="5268913" y="3911600"/>
          <p14:tracePt t="46211" x="5276850" y="3914775"/>
          <p14:tracePt t="46212" x="5284788" y="3914775"/>
          <p14:tracePt t="46213" x="5292725" y="3919538"/>
          <p14:tracePt t="46214" x="5300663" y="3919538"/>
          <p14:tracePt t="46215" x="5313363" y="3922713"/>
          <p14:tracePt t="46216" x="5321300" y="3922713"/>
          <p14:tracePt t="46217" x="5324475" y="3927475"/>
          <p14:tracePt t="46218" x="5334000" y="3927475"/>
          <p14:tracePt t="46219" x="5349875" y="3930650"/>
          <p14:tracePt t="46221" x="5365750" y="3940175"/>
          <p14:tracePt t="46223" x="5373688" y="3940175"/>
          <p14:tracePt t="46224" x="5397500" y="3943350"/>
          <p14:tracePt t="46225" x="5405438" y="3948113"/>
          <p14:tracePt t="46226" x="5413375" y="3948113"/>
          <p14:tracePt t="46227" x="5421313" y="3948113"/>
          <p14:tracePt t="46228" x="5429250" y="3951288"/>
          <p14:tracePt t="46229" x="5445125" y="3951288"/>
          <p14:tracePt t="46230" x="5453063" y="3951288"/>
          <p14:tracePt t="46231" x="5461000" y="3951288"/>
          <p14:tracePt t="46232" x="5473700" y="3951288"/>
          <p14:tracePt t="46233" x="5481638" y="3956050"/>
          <p14:tracePt t="46234" x="5489575" y="3956050"/>
          <p14:tracePt t="46235" x="5497513" y="3956050"/>
          <p14:tracePt t="46236" x="5505450" y="3956050"/>
          <p14:tracePt t="46238" x="5513388" y="3956050"/>
          <p14:tracePt t="46238" x="5526088" y="3956050"/>
          <p14:tracePt t="46240" x="5537200" y="3956050"/>
          <p14:tracePt t="46240" x="5545138" y="3956050"/>
          <p14:tracePt t="46241" x="5549900" y="3956050"/>
          <p14:tracePt t="46242" x="5557838" y="3956050"/>
          <p14:tracePt t="46243" x="5565775" y="3956050"/>
          <p14:tracePt t="46244" x="5573713" y="3956050"/>
          <p14:tracePt t="46245" x="5581650" y="3956050"/>
          <p14:tracePt t="46246" x="5589588" y="3956050"/>
          <p14:tracePt t="46247" x="5592763" y="3956050"/>
          <p14:tracePt t="46248" x="5602288" y="3956050"/>
          <p14:tracePt t="46249" x="5605463" y="3956050"/>
          <p14:tracePt t="46250" x="5613400" y="3956050"/>
          <p14:tracePt t="46251" x="5618163" y="3956050"/>
          <p14:tracePt t="46252" x="5621338" y="3956050"/>
          <p14:tracePt t="46253" x="5626100" y="3956050"/>
          <p14:tracePt t="46254" x="5634038" y="3951288"/>
          <p14:tracePt t="46256" x="5637213" y="3948113"/>
          <p14:tracePt t="46257" x="5641975" y="3948113"/>
          <p14:tracePt t="46258" x="5645150" y="3948113"/>
          <p14:tracePt t="46259" x="5649913" y="3943350"/>
          <p14:tracePt t="46260" x="5653088" y="3943350"/>
          <p14:tracePt t="46261" x="5657850" y="3940175"/>
          <p14:tracePt t="46263" x="5661025" y="3935413"/>
          <p14:tracePt t="46265" x="5665788" y="3935413"/>
          <p14:tracePt t="46265" x="5665788" y="3930650"/>
          <p14:tracePt t="46266" x="5668963" y="3930650"/>
          <p14:tracePt t="46267" x="5668963" y="3927475"/>
          <p14:tracePt t="46268" x="5673725" y="3927475"/>
          <p14:tracePt t="46270" x="5673725" y="3922713"/>
          <p14:tracePt t="46271" x="5673725" y="3919538"/>
          <p14:tracePt t="46273" x="5676900" y="3914775"/>
          <p14:tracePt t="46275" x="5676900" y="3911600"/>
          <p14:tracePt t="46275" x="5681663" y="3911600"/>
          <p14:tracePt t="46276" x="5681663" y="3906838"/>
          <p14:tracePt t="46278" x="5681663" y="3903663"/>
          <p14:tracePt t="46280" x="5681663" y="3898900"/>
          <p14:tracePt t="46280" x="5684838" y="3895725"/>
          <p14:tracePt t="46281" x="5684838" y="3890963"/>
          <p14:tracePt t="46282" x="5684838" y="3887788"/>
          <p14:tracePt t="46284" x="5684838" y="3883025"/>
          <p14:tracePt t="46286" x="5684838" y="3879850"/>
          <p14:tracePt t="46288" x="5684838" y="3875088"/>
          <p14:tracePt t="46289" x="5684838" y="3871913"/>
          <p14:tracePt t="46289" x="5684838" y="3867150"/>
          <p14:tracePt t="46290" x="5684838" y="3863975"/>
          <p14:tracePt t="46291" x="5684838" y="3859213"/>
          <p14:tracePt t="46293" x="5684838" y="3856038"/>
          <p14:tracePt t="46293" x="5684838" y="3851275"/>
          <p14:tracePt t="46294" x="5684838" y="3848100"/>
          <p14:tracePt t="46296" x="5684838" y="3838575"/>
          <p14:tracePt t="46298" x="5684838" y="3835400"/>
          <p14:tracePt t="46299" x="5684838" y="3830638"/>
          <p14:tracePt t="46300" x="5681663" y="3822700"/>
          <p14:tracePt t="46301" x="5681663" y="3819525"/>
          <p14:tracePt t="46302" x="5676900" y="3814763"/>
          <p14:tracePt t="46303" x="5676900" y="3811588"/>
          <p14:tracePt t="46305" x="5673725" y="3803650"/>
          <p14:tracePt t="46305" x="5673725" y="3798888"/>
          <p14:tracePt t="46306" x="5668963" y="3795713"/>
          <p14:tracePt t="46307" x="5668963" y="3790950"/>
          <p14:tracePt t="46309" x="5668963" y="3787775"/>
          <p14:tracePt t="46309" x="5665788" y="3783013"/>
          <p14:tracePt t="46311" x="5661025" y="3775075"/>
          <p14:tracePt t="46311" x="5657850" y="3775075"/>
          <p14:tracePt t="46312" x="5657850" y="3771900"/>
          <p14:tracePt t="46313" x="5653088" y="3767138"/>
          <p14:tracePt t="46314" x="5649913" y="3763963"/>
          <p14:tracePt t="46315" x="5645150" y="3759200"/>
          <p14:tracePt t="46316" x="5641975" y="3751263"/>
          <p14:tracePt t="46317" x="5637213" y="3746500"/>
          <p14:tracePt t="46318" x="5634038" y="3743325"/>
          <p14:tracePt t="46319" x="5634038" y="3738563"/>
          <p14:tracePt t="46321" x="5621338" y="3727450"/>
          <p14:tracePt t="46323" x="5618163" y="3722688"/>
          <p14:tracePt t="46323" x="5613400" y="3719513"/>
          <p14:tracePt t="46324" x="5610225" y="3714750"/>
          <p14:tracePt t="46326" x="5605463" y="3711575"/>
          <p14:tracePt t="46327" x="5597525" y="3706813"/>
          <p14:tracePt t="46327" x="5592763" y="3703638"/>
          <p14:tracePt t="46329" x="5584825" y="3698875"/>
          <p14:tracePt t="46330" x="5581650" y="3695700"/>
          <p14:tracePt t="46331" x="5573713" y="3690938"/>
          <p14:tracePt t="46332" x="5568950" y="3690938"/>
          <p14:tracePt t="46333" x="5565775" y="3687763"/>
          <p14:tracePt t="46334" x="5557838" y="3683000"/>
          <p14:tracePt t="46335" x="5549900" y="3679825"/>
          <p14:tracePt t="46337" x="5545138" y="3679825"/>
          <p14:tracePt t="46338" x="5541963" y="3675063"/>
          <p14:tracePt t="46338" x="5534025" y="3671888"/>
          <p14:tracePt t="46340" x="5526088" y="3667125"/>
          <p14:tracePt t="46342" x="5518150" y="3663950"/>
          <p14:tracePt t="46342" x="5510213" y="3663950"/>
          <p14:tracePt t="46343" x="5505450" y="3659188"/>
          <p14:tracePt t="46344" x="5497513" y="3654425"/>
          <p14:tracePt t="46345" x="5492750" y="3654425"/>
          <p14:tracePt t="46346" x="5484813" y="3651250"/>
          <p14:tracePt t="46347" x="5481638" y="3651250"/>
          <p14:tracePt t="46348" x="5473700" y="3646488"/>
          <p14:tracePt t="46349" x="5465763" y="3646488"/>
          <p14:tracePt t="46350" x="5461000" y="3643313"/>
          <p14:tracePt t="46351" x="5453063" y="3643313"/>
          <p14:tracePt t="46352" x="5449888" y="3638550"/>
          <p14:tracePt t="46354" x="5445125" y="3638550"/>
          <p14:tracePt t="46355" x="5437188" y="3635375"/>
          <p14:tracePt t="46358" x="5429250" y="3635375"/>
          <p14:tracePt t="46359" x="5416550" y="3635375"/>
          <p14:tracePt t="46360" x="5413375" y="3635375"/>
          <p14:tracePt t="46361" x="5408613" y="3630613"/>
          <p14:tracePt t="46362" x="5405438" y="3630613"/>
          <p14:tracePt t="46363" x="5400675" y="3630613"/>
          <p14:tracePt t="46364" x="5397500" y="3630613"/>
          <p14:tracePt t="46365" x="5389563" y="3630613"/>
          <p14:tracePt t="46366" x="5384800" y="3630613"/>
          <p14:tracePt t="46368" x="5381625" y="3630613"/>
          <p14:tracePt t="46369" x="5376863" y="3630613"/>
          <p14:tracePt t="46371" x="5373688" y="3630613"/>
          <p14:tracePt t="46372" x="5368925" y="3630613"/>
          <p14:tracePt t="46373" x="5365750" y="3630613"/>
          <p14:tracePt t="46375" x="5360988" y="3630613"/>
          <p14:tracePt t="46376" x="5357813" y="3630613"/>
          <p14:tracePt t="46376" x="5353050" y="3630613"/>
          <p14:tracePt t="46377" x="5349875" y="3630613"/>
          <p14:tracePt t="46378" x="5345113" y="3635375"/>
          <p14:tracePt t="46380" x="5341938" y="3635375"/>
          <p14:tracePt t="46381" x="5337175" y="3638550"/>
          <p14:tracePt t="46382" x="5334000" y="3638550"/>
          <p14:tracePt t="46383" x="5329238" y="3643313"/>
          <p14:tracePt t="46384" x="5324475" y="3643313"/>
          <p14:tracePt t="46385" x="5321300" y="3643313"/>
          <p14:tracePt t="46386" x="5316538" y="3646488"/>
          <p14:tracePt t="46389" x="5313363" y="3651250"/>
          <p14:tracePt t="46390" x="5308600" y="3651250"/>
          <p14:tracePt t="46390" x="5305425" y="3651250"/>
          <p14:tracePt t="46391" x="5305425" y="3654425"/>
          <p14:tracePt t="46392" x="5305425" y="3659188"/>
          <p14:tracePt t="46393" x="5300663" y="3659188"/>
          <p14:tracePt t="46394" x="5297488" y="3663950"/>
          <p14:tracePt t="46395" x="5292725" y="3667125"/>
          <p14:tracePt t="46396" x="5292725" y="3671888"/>
          <p14:tracePt t="46397" x="5289550" y="3675063"/>
          <p14:tracePt t="46398" x="5289550" y="3679825"/>
          <p14:tracePt t="46399" x="5284788" y="3679825"/>
          <p14:tracePt t="46400" x="5284788" y="3683000"/>
          <p14:tracePt t="46401" x="5281613" y="3687763"/>
          <p14:tracePt t="46402" x="5281613" y="3690938"/>
          <p14:tracePt t="46404" x="5276850" y="3690938"/>
          <p14:tracePt t="46405" x="5273675" y="3698875"/>
          <p14:tracePt t="46407" x="5273675" y="3703638"/>
          <p14:tracePt t="46407" x="5273675" y="3706813"/>
          <p14:tracePt t="46408" x="5273675" y="3711575"/>
          <p14:tracePt t="46409" x="5273675" y="3714750"/>
          <p14:tracePt t="46410" x="5273675" y="3722688"/>
          <p14:tracePt t="46411" x="5268913" y="3727450"/>
          <p14:tracePt t="46412" x="5268913" y="3730625"/>
          <p14:tracePt t="46413" x="5268913" y="3735388"/>
          <p14:tracePt t="46415" x="5268913" y="3743325"/>
          <p14:tracePt t="46416" x="5268913" y="3746500"/>
          <p14:tracePt t="46417" x="5268913" y="3751263"/>
          <p14:tracePt t="46418" x="5268913" y="3756025"/>
          <p14:tracePt t="46420" x="5268913" y="3759200"/>
          <p14:tracePt t="46422" x="5268913" y="3771900"/>
          <p14:tracePt t="46423" x="5268913" y="3775075"/>
          <p14:tracePt t="46423" x="5268913" y="3779838"/>
          <p14:tracePt t="46424" x="5268913" y="3783013"/>
          <p14:tracePt t="46426" x="5268913" y="3790950"/>
          <p14:tracePt t="46427" x="5268913" y="3795713"/>
          <p14:tracePt t="46428" x="5268913" y="3798888"/>
          <p14:tracePt t="46429" x="5268913" y="3803650"/>
          <p14:tracePt t="46431" x="5273675" y="3806825"/>
          <p14:tracePt t="46431" x="5273675" y="3814763"/>
          <p14:tracePt t="46432" x="5276850" y="3819525"/>
          <p14:tracePt t="46433" x="5276850" y="3822700"/>
          <p14:tracePt t="46434" x="5281613" y="3827463"/>
          <p14:tracePt t="46435" x="5281613" y="3830638"/>
          <p14:tracePt t="46437" x="5284788" y="3835400"/>
          <p14:tracePt t="46438" x="5289550" y="3838575"/>
          <p14:tracePt t="46439" x="5292725" y="3838575"/>
          <p14:tracePt t="46440" x="5292725" y="3843338"/>
          <p14:tracePt t="46440" x="5297488" y="3851275"/>
          <p14:tracePt t="46441" x="5300663" y="3856038"/>
          <p14:tracePt t="46442" x="5305425" y="3859213"/>
          <p14:tracePt t="46443" x="5305425" y="3863975"/>
          <p14:tracePt t="46444" x="5308600" y="3863975"/>
          <p14:tracePt t="46445" x="5313363" y="3871913"/>
          <p14:tracePt t="46446" x="5316538" y="3871913"/>
          <p14:tracePt t="46447" x="5321300" y="3875088"/>
          <p14:tracePt t="46448" x="5324475" y="3879850"/>
          <p14:tracePt t="46449" x="5329238" y="3883025"/>
          <p14:tracePt t="46450" x="5334000" y="3887788"/>
          <p14:tracePt t="46452" x="5337175" y="3890963"/>
          <p14:tracePt t="46452" x="5341938" y="3890963"/>
          <p14:tracePt t="46453" x="5345113" y="3895725"/>
          <p14:tracePt t="46455" x="5349875" y="3895725"/>
          <p14:tracePt t="46456" x="5357813" y="3898900"/>
          <p14:tracePt t="46457" x="5360988" y="3903663"/>
          <p14:tracePt t="46458" x="5365750" y="3903663"/>
          <p14:tracePt t="46459" x="5373688" y="3903663"/>
          <p14:tracePt t="46460" x="5376863" y="3906838"/>
          <p14:tracePt t="46461" x="5384800" y="3906838"/>
          <p14:tracePt t="46462" x="5389563" y="3911600"/>
          <p14:tracePt t="46463" x="5392738" y="3911600"/>
          <p14:tracePt t="46464" x="5397500" y="3911600"/>
          <p14:tracePt t="46465" x="5405438" y="3914775"/>
          <p14:tracePt t="46467" x="5413375" y="3919538"/>
          <p14:tracePt t="46467" x="5416550" y="3919538"/>
          <p14:tracePt t="46468" x="5421313" y="3919538"/>
          <p14:tracePt t="46469" x="5429250" y="3922713"/>
          <p14:tracePt t="46471" x="5434013" y="3922713"/>
          <p14:tracePt t="46472" x="5441950" y="3922713"/>
          <p14:tracePt t="46473" x="5445125" y="3922713"/>
          <p14:tracePt t="46474" x="5449888" y="3922713"/>
          <p14:tracePt t="46476" x="5457825" y="3927475"/>
          <p14:tracePt t="46476" x="5461000" y="3927475"/>
          <p14:tracePt t="46478" x="5468938" y="3927475"/>
          <p14:tracePt t="46478" x="5473700" y="3927475"/>
          <p14:tracePt t="46479" x="5476875" y="3927475"/>
          <p14:tracePt t="46480" x="5481638" y="3927475"/>
          <p14:tracePt t="46481" x="5489575" y="3927475"/>
          <p14:tracePt t="46483" x="5492750" y="3927475"/>
          <p14:tracePt t="46483" x="5497513" y="3927475"/>
          <p14:tracePt t="46484" x="5500688" y="3927475"/>
          <p14:tracePt t="46485" x="5505450" y="3927475"/>
          <p14:tracePt t="46486" x="5510213" y="3927475"/>
          <p14:tracePt t="46488" x="5513388" y="3927475"/>
          <p14:tracePt t="46489" x="5518150" y="3927475"/>
          <p14:tracePt t="46489" x="5521325" y="3927475"/>
          <p14:tracePt t="46490" x="5526088" y="3927475"/>
          <p14:tracePt t="46491" x="5529263" y="3927475"/>
          <p14:tracePt t="46492" x="5534025" y="3927475"/>
          <p14:tracePt t="46493" x="5537200" y="3927475"/>
          <p14:tracePt t="46494" x="5537200" y="3922713"/>
          <p14:tracePt t="46495" x="5541963" y="3922713"/>
          <p14:tracePt t="46496" x="5545138" y="3922713"/>
          <p14:tracePt t="46497" x="5549900" y="3922713"/>
          <p14:tracePt t="46499" x="5553075" y="3919538"/>
          <p14:tracePt t="46500" x="5561013" y="3919538"/>
          <p14:tracePt t="46501" x="5561013" y="3914775"/>
          <p14:tracePt t="46502" x="5565775" y="3914775"/>
          <p14:tracePt t="46503" x="5568950" y="3911600"/>
          <p14:tracePt t="46505" x="5573713" y="3906838"/>
          <p14:tracePt t="46506" x="5576888" y="3903663"/>
          <p14:tracePt t="46507" x="5581650" y="3903663"/>
          <p14:tracePt t="46508" x="5581650" y="3898900"/>
          <p14:tracePt t="46509" x="5584825" y="3898900"/>
          <p14:tracePt t="46511" x="5589588" y="3895725"/>
          <p14:tracePt t="46511" x="5589588" y="3890963"/>
          <p14:tracePt t="46512" x="5592763" y="3890963"/>
          <p14:tracePt t="46513" x="5592763" y="3887788"/>
          <p14:tracePt t="46515" x="5597525" y="3887788"/>
          <p14:tracePt t="46515" x="5597525" y="3883025"/>
          <p14:tracePt t="46517" x="5597525" y="3879850"/>
          <p14:tracePt t="46518" x="5602288" y="3879850"/>
          <p14:tracePt t="46519" x="5602288" y="3875088"/>
          <p14:tracePt t="46521" x="5602288" y="3871913"/>
          <p14:tracePt t="46522" x="5605463" y="3871913"/>
          <p14:tracePt t="46523" x="5605463" y="3867150"/>
          <p14:tracePt t="46524" x="5605463" y="3863975"/>
          <p14:tracePt t="46526" x="5610225" y="3859213"/>
          <p14:tracePt t="46527" x="5610225" y="3856038"/>
          <p14:tracePt t="46529" x="5610225" y="3851275"/>
          <p14:tracePt t="46531" x="5610225" y="3848100"/>
          <p14:tracePt t="46532" x="5610225" y="3843338"/>
          <p14:tracePt t="46536" x="5610225" y="3838575"/>
          <p14:tracePt t="46540" x="5610225" y="3835400"/>
          <p14:tracePt t="46541" x="5610225" y="3830638"/>
          <p14:tracePt t="46541" x="5610225" y="3827463"/>
          <p14:tracePt t="46543" x="5610225" y="3822700"/>
          <p14:tracePt t="46544" x="5610225" y="3819525"/>
          <p14:tracePt t="46546" x="5610225" y="3814763"/>
          <p14:tracePt t="46548" x="5610225" y="3811588"/>
          <p14:tracePt t="46550" x="5610225" y="3806825"/>
          <p14:tracePt t="46552" x="5605463" y="3803650"/>
          <p14:tracePt t="46554" x="5602288" y="3798888"/>
          <p14:tracePt t="46557" x="5602288" y="3795713"/>
          <p14:tracePt t="46558" x="5597525" y="3795713"/>
          <p14:tracePt t="46559" x="5597525" y="3790950"/>
          <p14:tracePt t="46561" x="5592763" y="3787775"/>
          <p14:tracePt t="46562" x="5589588" y="3783013"/>
          <p14:tracePt t="46563" x="5584825" y="3783013"/>
          <p14:tracePt t="46564" x="5581650" y="3779838"/>
          <p14:tracePt t="46566" x="5576888" y="3779838"/>
          <p14:tracePt t="46567" x="5573713" y="3775075"/>
          <p14:tracePt t="46568" x="5568950" y="3775075"/>
          <p14:tracePt t="46569" x="5568950" y="3771900"/>
          <p14:tracePt t="46570" x="5565775" y="3771900"/>
          <p14:tracePt t="46572" x="5561013" y="3767138"/>
          <p14:tracePt t="46574" x="5557838" y="3767138"/>
          <p14:tracePt t="46574" x="5553075" y="3767138"/>
          <p14:tracePt t="46576" x="5553075" y="3763963"/>
          <p14:tracePt t="46577" x="5549900" y="3763963"/>
          <p14:tracePt t="46578" x="5545138" y="3763963"/>
          <p14:tracePt t="46578" x="5541963" y="3763963"/>
          <p14:tracePt t="46579" x="5537200" y="3763963"/>
          <p14:tracePt t="46580" x="5534025" y="3759200"/>
          <p14:tracePt t="46581" x="5529263" y="3759200"/>
          <p14:tracePt t="46583" x="5526088" y="3759200"/>
          <p14:tracePt t="46584" x="5521325" y="3759200"/>
          <p14:tracePt t="46585" x="5518150" y="3759200"/>
          <p14:tracePt t="46589" x="5513388" y="3759200"/>
          <p14:tracePt t="46589" x="5510213" y="3759200"/>
          <p14:tracePt t="46592" x="5500688" y="3759200"/>
          <p14:tracePt t="46593" x="5497513" y="3759200"/>
          <p14:tracePt t="46595" x="5492750" y="3759200"/>
          <p14:tracePt t="46596" x="5489575" y="3759200"/>
          <p14:tracePt t="46597" x="5484813" y="3759200"/>
          <p14:tracePt t="46599" x="5481638" y="3759200"/>
          <p14:tracePt t="46600" x="5476875" y="3759200"/>
          <p14:tracePt t="46601" x="5473700" y="3759200"/>
          <p14:tracePt t="46605" x="5468938" y="3759200"/>
          <p14:tracePt t="46605" x="5465763" y="3759200"/>
          <p14:tracePt t="46607" x="5461000" y="3759200"/>
          <p14:tracePt t="46608" x="5457825" y="3759200"/>
          <p14:tracePt t="46610" x="5453063" y="3759200"/>
          <p14:tracePt t="46611" x="5449888" y="3759200"/>
          <p14:tracePt t="46612" x="5445125" y="3759200"/>
          <p14:tracePt t="46614" x="5441950" y="3759200"/>
          <p14:tracePt t="46616" x="5437188" y="3759200"/>
          <p14:tracePt t="46619" x="5434013" y="3759200"/>
          <p14:tracePt t="46621" x="5434013" y="3763963"/>
          <p14:tracePt t="46622" x="5429250" y="3763963"/>
          <p14:tracePt t="46623" x="5426075" y="3763963"/>
          <p14:tracePt t="46627" x="5421313" y="3767138"/>
          <p14:tracePt t="46628" x="5416550" y="3767138"/>
          <p14:tracePt t="46629" x="5416550" y="3771900"/>
          <p14:tracePt t="46631" x="5413375" y="3771900"/>
          <p14:tracePt t="46634" x="5413375" y="3775075"/>
          <p14:tracePt t="46638" x="5408613" y="3775075"/>
          <p14:tracePt t="46655" x="5408613" y="3779838"/>
          <p14:tracePt t="46665" x="5408613" y="3783013"/>
          <p14:tracePt t="46669" x="5413375" y="3783013"/>
          <p14:tracePt t="46673" x="5416550" y="3783013"/>
          <p14:tracePt t="46674" x="5416550" y="3787775"/>
          <p14:tracePt t="46675" x="5421313" y="3787775"/>
          <p14:tracePt t="46677" x="5426075" y="3787775"/>
          <p14:tracePt t="46678" x="5426075" y="3790950"/>
          <p14:tracePt t="46679" x="5429250" y="3790950"/>
          <p14:tracePt t="46683" x="5434013" y="3790950"/>
          <p14:tracePt t="46684" x="5437188" y="3795713"/>
          <p14:tracePt t="46686" x="5441950" y="3795713"/>
          <p14:tracePt t="46688" x="5445125" y="3795713"/>
          <p14:tracePt t="46689" x="5449888" y="3795713"/>
          <p14:tracePt t="46691" x="5453063" y="3795713"/>
          <p14:tracePt t="46693" x="5457825" y="3795713"/>
          <p14:tracePt t="46694" x="5461000" y="3795713"/>
          <p14:tracePt t="46696" x="5465763" y="3795713"/>
          <p14:tracePt t="46697" x="5468938" y="3795713"/>
          <p14:tracePt t="46701" x="5473700" y="3795713"/>
          <p14:tracePt t="46703" x="5476875" y="3795713"/>
          <p14:tracePt t="46705" x="5481638" y="3795713"/>
          <p14:tracePt t="46707" x="5484813" y="3795713"/>
          <p14:tracePt t="46707" x="5489575" y="3795713"/>
          <p14:tracePt t="46711" x="5492750" y="3795713"/>
          <p14:tracePt t="46712" x="5497513" y="3795713"/>
          <p14:tracePt t="46714" x="5500688" y="3795713"/>
          <p14:tracePt t="46716" x="5505450" y="3795713"/>
          <p14:tracePt t="46719" x="5510213" y="3795713"/>
          <p14:tracePt t="46729" x="5513388" y="3795713"/>
          <p14:tracePt t="47059" x="5518150" y="3795713"/>
          <p14:tracePt t="47064" x="5521325" y="3795713"/>
          <p14:tracePt t="47065" x="5521325" y="3790950"/>
          <p14:tracePt t="47065" x="5526088" y="3790950"/>
          <p14:tracePt t="47067" x="5529263" y="3790950"/>
          <p14:tracePt t="47068" x="5529263" y="3787775"/>
          <p14:tracePt t="47069" x="5534025" y="3787775"/>
          <p14:tracePt t="47071" x="5541963" y="3783013"/>
          <p14:tracePt t="47073" x="5545138" y="3783013"/>
          <p14:tracePt t="47074" x="5549900" y="3783013"/>
          <p14:tracePt t="47077" x="5553075" y="3779838"/>
          <p14:tracePt t="47078" x="5557838" y="3779838"/>
          <p14:tracePt t="47079" x="5561013" y="3779838"/>
          <p14:tracePt t="47080" x="5565775" y="3779838"/>
          <p14:tracePt t="47082" x="5568950" y="3775075"/>
          <p14:tracePt t="47083" x="5573713" y="3775075"/>
          <p14:tracePt t="47084" x="5581650" y="3775075"/>
          <p14:tracePt t="47087" x="5584825" y="3771900"/>
          <p14:tracePt t="47089" x="5589588" y="3771900"/>
          <p14:tracePt t="47091" x="5592763" y="3767138"/>
          <p14:tracePt t="47092" x="5597525" y="3767138"/>
          <p14:tracePt t="47094" x="5602288" y="3767138"/>
          <p14:tracePt t="47094" x="5605463" y="3767138"/>
          <p14:tracePt t="47095" x="5605463" y="3763963"/>
          <p14:tracePt t="47096" x="5610225" y="3763963"/>
          <p14:tracePt t="47097" x="5613400" y="3763963"/>
          <p14:tracePt t="47099" x="5618163" y="3763963"/>
          <p14:tracePt t="47100" x="5621338" y="3763963"/>
          <p14:tracePt t="47103" x="5626100" y="3763963"/>
          <p14:tracePt t="47104" x="5629275" y="3759200"/>
          <p14:tracePt t="47105" x="5634038" y="3759200"/>
          <p14:tracePt t="47110" x="5637213" y="3759200"/>
          <p14:tracePt t="47111" x="5641975" y="3759200"/>
          <p14:tracePt t="47113" x="5645150" y="3759200"/>
          <p14:tracePt t="47113" x="5649913" y="3759200"/>
          <p14:tracePt t="47115" x="5653088" y="3759200"/>
          <p14:tracePt t="47117" x="5657850" y="3759200"/>
          <p14:tracePt t="47119" x="5661025" y="3759200"/>
          <p14:tracePt t="47122" x="5665788" y="3759200"/>
          <p14:tracePt t="47125" x="5668963" y="3756025"/>
          <p14:tracePt t="47128" x="5673725" y="3756025"/>
          <p14:tracePt t="47135" x="5676900" y="3756025"/>
          <p14:tracePt t="47143" x="5676900" y="3751263"/>
          <p14:tracePt t="47157" x="5681663" y="3751263"/>
          <p14:tracePt t="47207" x="5684838" y="3751263"/>
          <p14:tracePt t="47213" x="5689600" y="3751263"/>
          <p14:tracePt t="47215" x="5694363" y="3751263"/>
          <p14:tracePt t="47217" x="5694363" y="3746500"/>
          <p14:tracePt t="47220" x="5697538" y="3746500"/>
          <p14:tracePt t="47224" x="5702300" y="3743325"/>
          <p14:tracePt t="47226" x="5705475" y="3743325"/>
          <p14:tracePt t="47230" x="5710238" y="3743325"/>
          <p14:tracePt t="47231" x="5710238" y="3738563"/>
          <p14:tracePt t="47234" x="5713413" y="3738563"/>
          <p14:tracePt t="47238" x="5718175" y="3738563"/>
          <p14:tracePt t="47240" x="5718175" y="3735388"/>
          <p14:tracePt t="47242" x="5721350" y="3735388"/>
          <p14:tracePt t="47245" x="5726113" y="3735388"/>
          <p14:tracePt t="47246" x="5726113" y="3730625"/>
          <p14:tracePt t="47246" x="5729288" y="3730625"/>
          <p14:tracePt t="47249" x="5734050" y="3730625"/>
          <p14:tracePt t="47251" x="5734050" y="3727450"/>
          <p14:tracePt t="47252" x="5737225" y="3727450"/>
          <p14:tracePt t="47255" x="5737225" y="3722688"/>
          <p14:tracePt t="47257" x="5741988" y="3722688"/>
          <p14:tracePt t="47260" x="5741988" y="3719513"/>
          <p14:tracePt t="47264" x="5745163" y="3719513"/>
          <p14:tracePt t="47275" x="5749925" y="3719513"/>
          <p14:tracePt t="47283" x="5749925" y="3714750"/>
          <p14:tracePt t="47444" x="5745163" y="3714750"/>
          <p14:tracePt t="48059" x="5745163" y="3719513"/>
          <p14:tracePt t="48061" x="5745163" y="3722688"/>
          <p14:tracePt t="48065" x="5745163" y="3727450"/>
          <p14:tracePt t="48068" x="5749925" y="3730625"/>
          <p14:tracePt t="48070" x="5749925" y="3738563"/>
          <p14:tracePt t="48071" x="5753100" y="3743325"/>
          <p14:tracePt t="48073" x="5753100" y="3746500"/>
          <p14:tracePt t="48075" x="5753100" y="3751263"/>
          <p14:tracePt t="48078" x="5757863" y="3756025"/>
          <p14:tracePt t="48079" x="5761038" y="3759200"/>
          <p14:tracePt t="48080" x="5765800" y="3763963"/>
          <p14:tracePt t="48081" x="5765800" y="3767138"/>
          <p14:tracePt t="48082" x="5768975" y="3767138"/>
          <p14:tracePt t="48083" x="5773738" y="3771900"/>
          <p14:tracePt t="48084" x="5773738" y="3775075"/>
          <p14:tracePt t="48085" x="5776913" y="3775075"/>
          <p14:tracePt t="48087" x="5776913" y="3779838"/>
          <p14:tracePt t="48089" x="5786438" y="3787775"/>
          <p14:tracePt t="48091" x="5789613" y="3790950"/>
          <p14:tracePt t="48093" x="5794375" y="3795713"/>
          <p14:tracePt t="48094" x="5797550" y="3795713"/>
          <p14:tracePt t="48095" x="5797550" y="3798888"/>
          <p14:tracePt t="48096" x="5802313" y="3798888"/>
          <p14:tracePt t="48097" x="5805488" y="3803650"/>
          <p14:tracePt t="48097" x="5810250" y="3803650"/>
          <p14:tracePt t="48098" x="5813425" y="3806825"/>
          <p14:tracePt t="48099" x="5818188" y="3811588"/>
          <p14:tracePt t="48101" x="5821363" y="3814763"/>
          <p14:tracePt t="48102" x="5826125" y="3819525"/>
          <p14:tracePt t="48103" x="5829300" y="3819525"/>
          <p14:tracePt t="48105" x="5834063" y="3822700"/>
          <p14:tracePt t="48107" x="5834063" y="3827463"/>
          <p14:tracePt t="48108" x="5837238" y="3830638"/>
          <p14:tracePt t="48108" x="5842000" y="3835400"/>
          <p14:tracePt t="48109" x="5845175" y="3838575"/>
          <p14:tracePt t="48110" x="5849938" y="3838575"/>
          <p14:tracePt t="48111" x="5853113" y="3838575"/>
          <p14:tracePt t="48112" x="5857875" y="3838575"/>
          <p14:tracePt t="48113" x="5861050" y="3843338"/>
          <p14:tracePt t="48114" x="5865813" y="3848100"/>
          <p14:tracePt t="48115" x="5873750" y="3848100"/>
          <p14:tracePt t="48116" x="5878513" y="3851275"/>
          <p14:tracePt t="48117" x="5881688" y="3856038"/>
          <p14:tracePt t="48119" x="5886450" y="3859213"/>
          <p14:tracePt t="48120" x="5889625" y="3859213"/>
          <p14:tracePt t="48122" x="5894388" y="3863975"/>
          <p14:tracePt t="48124" x="5905500" y="3867150"/>
          <p14:tracePt t="48126" x="5913438" y="3871913"/>
          <p14:tracePt t="48127" x="5918200" y="3875088"/>
          <p14:tracePt t="48127" x="5926138" y="3875088"/>
          <p14:tracePt t="48128" x="5929313" y="3879850"/>
          <p14:tracePt t="48130" x="5937250" y="3883025"/>
          <p14:tracePt t="48131" x="5942013" y="3883025"/>
          <p14:tracePt t="48132" x="5949950" y="3883025"/>
          <p14:tracePt t="48133" x="5953125" y="3887788"/>
          <p14:tracePt t="48134" x="5957888" y="3887788"/>
          <p14:tracePt t="48135" x="5965825" y="3890963"/>
          <p14:tracePt t="48136" x="5970588" y="3890963"/>
          <p14:tracePt t="48138" x="5973763" y="3895725"/>
          <p14:tracePt t="48139" x="5981700" y="3895725"/>
          <p14:tracePt t="48140" x="5989638" y="3895725"/>
          <p14:tracePt t="48141" x="5994400" y="3898900"/>
          <p14:tracePt t="48141" x="6002338" y="3898900"/>
          <p14:tracePt t="48142" x="6010275" y="3903663"/>
          <p14:tracePt t="48143" x="6013450" y="3906838"/>
          <p14:tracePt t="48144" x="6021388" y="3906838"/>
          <p14:tracePt t="48145" x="6026150" y="3911600"/>
          <p14:tracePt t="48146" x="6034088" y="3911600"/>
          <p14:tracePt t="48147" x="6042025" y="3911600"/>
          <p14:tracePt t="48148" x="6049963" y="3914775"/>
          <p14:tracePt t="48149" x="6054725" y="3914775"/>
          <p14:tracePt t="48150" x="6062663" y="3914775"/>
          <p14:tracePt t="48151" x="6065838" y="3919538"/>
          <p14:tracePt t="48152" x="6078538" y="3919538"/>
          <p14:tracePt t="48153" x="6081713" y="3919538"/>
          <p14:tracePt t="48155" x="6089650" y="3922713"/>
          <p14:tracePt t="48156" x="6097588" y="3922713"/>
          <p14:tracePt t="48158" x="6113463" y="3927475"/>
          <p14:tracePt t="48158" x="6121400" y="3927475"/>
          <p14:tracePt t="48159" x="6129338" y="3930650"/>
          <p14:tracePt t="48160" x="6137275" y="3930650"/>
          <p14:tracePt t="48161" x="6142038" y="3930650"/>
          <p14:tracePt t="48162" x="6154738" y="3935413"/>
          <p14:tracePt t="48163" x="6162675" y="3935413"/>
          <p14:tracePt t="48164" x="6170613" y="3935413"/>
          <p14:tracePt t="48165" x="6178550" y="3935413"/>
          <p14:tracePt t="48166" x="6189663" y="3940175"/>
          <p14:tracePt t="48167" x="6197600" y="3940175"/>
          <p14:tracePt t="48168" x="6205538" y="3940175"/>
          <p14:tracePt t="48169" x="6213475" y="3940175"/>
          <p14:tracePt t="48170" x="6221413" y="3943350"/>
          <p14:tracePt t="48172" x="6234113" y="3943350"/>
          <p14:tracePt t="48172" x="6249988" y="3943350"/>
          <p14:tracePt t="48174" x="6265863" y="3943350"/>
          <p14:tracePt t="48175" x="6273800" y="3943350"/>
          <p14:tracePt t="48176" x="6286500" y="3951288"/>
          <p14:tracePt t="48177" x="6294438" y="3951288"/>
          <p14:tracePt t="48178" x="6313488" y="3951288"/>
          <p14:tracePt t="48179" x="6323013" y="3951288"/>
          <p14:tracePt t="48180" x="6338888" y="3951288"/>
          <p14:tracePt t="48181" x="6346825" y="3956050"/>
          <p14:tracePt t="48182" x="6357938" y="3956050"/>
          <p14:tracePt t="48183" x="6373813" y="3956050"/>
          <p14:tracePt t="48184" x="6386513" y="3956050"/>
          <p14:tracePt t="48185" x="6402388" y="3956050"/>
          <p14:tracePt t="48186" x="6415088" y="3959225"/>
          <p14:tracePt t="48188" x="6426200" y="3959225"/>
          <p14:tracePt t="48189" x="6446838" y="3959225"/>
          <p14:tracePt t="48191" x="6473825" y="3959225"/>
          <p14:tracePt t="48192" x="6489700" y="3959225"/>
          <p14:tracePt t="48192" x="6507163" y="3963988"/>
          <p14:tracePt t="48193" x="6526213" y="3963988"/>
          <p14:tracePt t="48194" x="6542088" y="3963988"/>
          <p14:tracePt t="48195" x="6554788" y="3963988"/>
          <p14:tracePt t="48196" x="6565900" y="3963988"/>
          <p14:tracePt t="48197" x="6594475" y="3963988"/>
          <p14:tracePt t="48198" x="6607175" y="3963988"/>
          <p14:tracePt t="48199" x="6626225" y="3963988"/>
          <p14:tracePt t="48200" x="6638925" y="3963988"/>
          <p14:tracePt t="48201" x="6654800" y="3963988"/>
          <p14:tracePt t="48202" x="6678613" y="3963988"/>
          <p14:tracePt t="48203" x="6699250" y="3963988"/>
          <p14:tracePt t="48205" x="6715125" y="3967163"/>
          <p14:tracePt t="48206" x="6726238" y="3967163"/>
          <p14:tracePt t="48206" x="6746875" y="3967163"/>
          <p14:tracePt t="48207" x="6757988" y="3967163"/>
          <p14:tracePt t="48208" x="6778625" y="3967163"/>
          <p14:tracePt t="48209" x="6799263" y="3967163"/>
          <p14:tracePt t="48210" x="6810375" y="3967163"/>
          <p14:tracePt t="48211" x="6826250" y="3967163"/>
          <p14:tracePt t="48212" x="6842125" y="3967163"/>
          <p14:tracePt t="48213" x="6862763" y="3967163"/>
          <p14:tracePt t="48214" x="6878638" y="3967163"/>
          <p14:tracePt t="48215" x="6891338" y="3967163"/>
          <p14:tracePt t="48216" x="6902450" y="3967163"/>
          <p14:tracePt t="48217" x="6918325" y="3967163"/>
          <p14:tracePt t="48218" x="6938963" y="3967163"/>
          <p14:tracePt t="48219" x="6950075" y="3967163"/>
          <p14:tracePt t="48220" x="6959600" y="3967163"/>
          <p14:tracePt t="48221" x="6970713" y="3967163"/>
          <p14:tracePt t="48222" x="6991350" y="3967163"/>
          <p14:tracePt t="48223" x="6999288" y="3967163"/>
          <p14:tracePt t="48224" x="7015163" y="3975100"/>
          <p14:tracePt t="48225" x="7026275" y="3975100"/>
          <p14:tracePt t="48226" x="7034213" y="3975100"/>
          <p14:tracePt t="48227" x="7051675" y="3975100"/>
          <p14:tracePt t="48228" x="7062788" y="3975100"/>
          <p14:tracePt t="48229" x="7078663" y="3975100"/>
          <p14:tracePt t="48230" x="7086600" y="3975100"/>
          <p14:tracePt t="48231" x="7094538" y="3975100"/>
          <p14:tracePt t="48232" x="7110413" y="3975100"/>
          <p14:tracePt t="48233" x="7118350" y="3975100"/>
          <p14:tracePt t="48234" x="7131050" y="3975100"/>
          <p14:tracePt t="48235" x="7138988" y="3975100"/>
          <p14:tracePt t="48236" x="7146925" y="3975100"/>
          <p14:tracePt t="48238" x="7154863" y="3975100"/>
          <p14:tracePt t="48239" x="7167563" y="3975100"/>
          <p14:tracePt t="48239" x="7175500" y="3979863"/>
          <p14:tracePt t="48240" x="7183438" y="3979863"/>
          <p14:tracePt t="48241" x="7191375" y="3979863"/>
          <p14:tracePt t="48242" x="7207250" y="3979863"/>
          <p14:tracePt t="48243" x="7210425" y="3979863"/>
          <p14:tracePt t="48244" x="7218363" y="3979863"/>
          <p14:tracePt t="48245" x="7227888" y="3979863"/>
          <p14:tracePt t="48246" x="7235825" y="3979863"/>
          <p14:tracePt t="48247" x="7239000" y="3979863"/>
          <p14:tracePt t="48248" x="7251700" y="3979863"/>
          <p14:tracePt t="48249" x="7254875" y="3979863"/>
          <p14:tracePt t="48250" x="7262813" y="3979863"/>
          <p14:tracePt t="48252" x="7270750" y="3979863"/>
          <p14:tracePt t="48253" x="7275513" y="3979863"/>
          <p14:tracePt t="48255" x="7283450" y="3979863"/>
          <p14:tracePt t="48255" x="7286625" y="3979863"/>
          <p14:tracePt t="48256" x="7291388" y="3979863"/>
          <p14:tracePt t="48257" x="7294563" y="3979863"/>
          <p14:tracePt t="48258" x="7302500" y="3979863"/>
          <p14:tracePt t="48259" x="7307263" y="3979863"/>
          <p14:tracePt t="48260" x="7310438" y="3979863"/>
          <p14:tracePt t="48261" x="7315200" y="3979863"/>
          <p14:tracePt t="48262" x="7319963" y="3979863"/>
          <p14:tracePt t="48264" x="7323138" y="3983038"/>
          <p14:tracePt t="48266" x="7327900" y="3983038"/>
          <p14:tracePt t="48267" x="7331075" y="3983038"/>
          <p14:tracePt t="48269" x="7335838" y="3983038"/>
          <p14:tracePt t="48270" x="7339013" y="3983038"/>
          <p14:tracePt t="48272" x="7343775" y="3983038"/>
          <p14:tracePt t="48275" x="7346950" y="3983038"/>
          <p14:tracePt t="48279" x="7351713" y="3983038"/>
          <p14:tracePt t="48295" x="7354888" y="3983038"/>
          <p14:tracePt t="48305" x="7359650" y="3983038"/>
          <p14:tracePt t="48309" x="7362825" y="3983038"/>
          <p14:tracePt t="48311" x="7367588" y="3983038"/>
          <p14:tracePt t="48312" x="7370763" y="3983038"/>
          <p14:tracePt t="48314" x="7375525" y="3983038"/>
          <p14:tracePt t="48314" x="7378700" y="3983038"/>
          <p14:tracePt t="48315" x="7383463" y="3983038"/>
          <p14:tracePt t="48316" x="7386638" y="3983038"/>
          <p14:tracePt t="48317" x="7391400" y="3987800"/>
          <p14:tracePt t="48318" x="7394575" y="3987800"/>
          <p14:tracePt t="48319" x="7399338" y="3987800"/>
          <p14:tracePt t="48321" x="7407275" y="3987800"/>
          <p14:tracePt t="48322" x="7415213" y="3987800"/>
          <p14:tracePt t="48323" x="7419975" y="3987800"/>
          <p14:tracePt t="48325" x="7423150" y="3987800"/>
          <p14:tracePt t="48326" x="7431088" y="3987800"/>
          <p14:tracePt t="48328" x="7443788" y="3987800"/>
          <p14:tracePt t="48328" x="7451725" y="3990975"/>
          <p14:tracePt t="48329" x="7454900" y="3990975"/>
          <p14:tracePt t="48330" x="7462838" y="3990975"/>
          <p14:tracePt t="48331" x="7470775" y="3990975"/>
          <p14:tracePt t="48332" x="7478713" y="3990975"/>
          <p14:tracePt t="48333" x="7486650" y="3990975"/>
          <p14:tracePt t="48334" x="7494588" y="3990975"/>
          <p14:tracePt t="48335" x="7504113" y="3990975"/>
          <p14:tracePt t="48336" x="7512050" y="3990975"/>
          <p14:tracePt t="48338" x="7519988" y="3990975"/>
          <p14:tracePt t="48339" x="7527925" y="3990975"/>
          <p14:tracePt t="48340" x="7535863" y="3990975"/>
          <p14:tracePt t="48340" x="7543800" y="3990975"/>
          <p14:tracePt t="48342" x="7554913" y="3990975"/>
          <p14:tracePt t="48344" x="7578725" y="3998913"/>
          <p14:tracePt t="48344" x="7588250" y="3998913"/>
          <p14:tracePt t="48345" x="7599363" y="3998913"/>
          <p14:tracePt t="48346" x="7607300" y="3998913"/>
          <p14:tracePt t="48347" x="7620000" y="3998913"/>
          <p14:tracePt t="48348" x="7631113" y="3998913"/>
          <p14:tracePt t="48349" x="7639050" y="3998913"/>
          <p14:tracePt t="48350" x="7654925" y="3998913"/>
          <p14:tracePt t="48351" x="7662863" y="3998913"/>
          <p14:tracePt t="48352" x="7675563" y="3998913"/>
          <p14:tracePt t="48354" x="7691438" y="4003675"/>
          <p14:tracePt t="48355" x="7699375" y="4003675"/>
          <p14:tracePt t="48355" x="7712075" y="4003675"/>
          <p14:tracePt t="48356" x="7720013" y="4003675"/>
          <p14:tracePt t="48359" x="7747000" y="4003675"/>
          <p14:tracePt t="48359" x="7754938" y="4003675"/>
          <p14:tracePt t="48360" x="7772400" y="4003675"/>
          <p14:tracePt t="48361" x="7780338" y="4003675"/>
          <p14:tracePt t="48362" x="7799388" y="4003675"/>
          <p14:tracePt t="48363" x="7807325" y="4003675"/>
          <p14:tracePt t="48364" x="7820025" y="4003675"/>
          <p14:tracePt t="48365" x="7831138" y="4003675"/>
          <p14:tracePt t="48366" x="7839075" y="4003675"/>
          <p14:tracePt t="48367" x="7854950" y="4003675"/>
          <p14:tracePt t="48368" x="7867650" y="4006850"/>
          <p14:tracePt t="48369" x="7883525" y="4006850"/>
          <p14:tracePt t="48371" x="7891463" y="4006850"/>
          <p14:tracePt t="48372" x="7904163" y="4006850"/>
          <p14:tracePt t="48373" x="7920038" y="4006850"/>
          <p14:tracePt t="48375" x="7948613" y="4006850"/>
          <p14:tracePt t="48376" x="7956550" y="4006850"/>
          <p14:tracePt t="48376" x="7967663" y="4006850"/>
          <p14:tracePt t="48377" x="7975600" y="4006850"/>
          <p14:tracePt t="48378" x="7996238" y="4006850"/>
          <p14:tracePt t="48379" x="8004175" y="4006850"/>
          <p14:tracePt t="48380" x="8015288" y="4006850"/>
          <p14:tracePt t="48381" x="8023225" y="4006850"/>
          <p14:tracePt t="48382" x="8031163" y="4006850"/>
          <p14:tracePt t="48383" x="8048625" y="4006850"/>
          <p14:tracePt t="48384" x="8056563" y="4006850"/>
          <p14:tracePt t="48385" x="8067675" y="4006850"/>
          <p14:tracePt t="48387" x="8075613" y="4006850"/>
          <p14:tracePt t="48388" x="8099425" y="4006850"/>
          <p14:tracePt t="48390" x="8107363" y="4006850"/>
          <p14:tracePt t="48391" x="8115300" y="4006850"/>
          <p14:tracePt t="48392" x="8123238" y="4006850"/>
          <p14:tracePt t="48392" x="8132763" y="4006850"/>
          <p14:tracePt t="48393" x="8140700" y="4006850"/>
          <p14:tracePt t="48394" x="8148638" y="4006850"/>
          <p14:tracePt t="48395" x="8156575" y="4006850"/>
          <p14:tracePt t="48396" x="8159750" y="4006850"/>
          <p14:tracePt t="48397" x="8167688" y="4006850"/>
          <p14:tracePt t="48398" x="8175625" y="4006850"/>
          <p14:tracePt t="48399" x="8183563" y="4006850"/>
          <p14:tracePt t="48400" x="8188325" y="4006850"/>
          <p14:tracePt t="48401" x="8196263" y="4006850"/>
          <p14:tracePt t="48402" x="8199438" y="4006850"/>
          <p14:tracePt t="48403" x="8207375" y="4006850"/>
          <p14:tracePt t="48405" x="8212138" y="4006850"/>
          <p14:tracePt t="48406" x="8215313" y="4006850"/>
          <p14:tracePt t="48407" x="8220075" y="4006850"/>
          <p14:tracePt t="48408" x="8224838" y="4006850"/>
          <p14:tracePt t="48408" x="8228013" y="4006850"/>
          <p14:tracePt t="48409" x="8235950" y="4006850"/>
          <p14:tracePt t="48411" x="8240713" y="4006850"/>
          <p14:tracePt t="48412" x="8243888" y="4006850"/>
          <p14:tracePt t="48412" x="8248650" y="4006850"/>
          <p14:tracePt t="48413" x="8256588" y="4006850"/>
          <p14:tracePt t="48414" x="8259763" y="4006850"/>
          <p14:tracePt t="48416" x="8264525" y="4006850"/>
          <p14:tracePt t="48416" x="8267700" y="4006850"/>
          <p14:tracePt t="48417" x="8272463" y="4006850"/>
          <p14:tracePt t="48419" x="8275638" y="4006850"/>
          <p14:tracePt t="48422" x="8283575" y="4006850"/>
          <p14:tracePt t="48423" x="8288338" y="4006850"/>
          <p14:tracePt t="48423" x="8291513" y="4006850"/>
          <p14:tracePt t="48424" x="8296275" y="4006850"/>
          <p14:tracePt t="48426" x="8299450" y="4006850"/>
          <p14:tracePt t="48426" x="8304213" y="4006850"/>
          <p14:tracePt t="48428" x="8307388" y="4006850"/>
          <p14:tracePt t="48428" x="8312150" y="4006850"/>
          <p14:tracePt t="48431" x="8316913" y="4006850"/>
          <p14:tracePt t="48432" x="8320088" y="4006850"/>
          <p14:tracePt t="48433" x="8324850" y="4006850"/>
          <p14:tracePt t="48434" x="8328025" y="4006850"/>
          <p14:tracePt t="48436" x="8332788" y="4006850"/>
          <p14:tracePt t="48436" x="8335963" y="4006850"/>
          <p14:tracePt t="48438" x="8343900" y="4006850"/>
          <p14:tracePt t="48439" x="8348663" y="4006850"/>
          <p14:tracePt t="48441" x="8351838" y="4006850"/>
          <p14:tracePt t="48441" x="8356600" y="4006850"/>
          <p14:tracePt t="48443" x="8359775" y="4006850"/>
          <p14:tracePt t="48444" x="8364538" y="4006850"/>
          <p14:tracePt t="48445" x="8367713" y="4006850"/>
          <p14:tracePt t="48447" x="8372475" y="4006850"/>
          <p14:tracePt t="48448" x="8380413" y="4006850"/>
          <p14:tracePt t="48450" x="8388350" y="4006850"/>
          <p14:tracePt t="48451" x="8391525" y="4006850"/>
          <p14:tracePt t="48452" x="8396288" y="4006850"/>
          <p14:tracePt t="48453" x="8401050" y="4006850"/>
          <p14:tracePt t="48455" x="8404225" y="4006850"/>
          <p14:tracePt t="48455" x="8408988" y="4003675"/>
          <p14:tracePt t="48456" x="8412163" y="4003675"/>
          <p14:tracePt t="48458" x="8416925" y="4003675"/>
          <p14:tracePt t="48460" x="8420100" y="4003675"/>
          <p14:tracePt t="48460" x="8424863" y="4003675"/>
          <p14:tracePt t="48461" x="8428038" y="4003675"/>
          <p14:tracePt t="48462" x="8432800" y="4003675"/>
          <p14:tracePt t="48464" x="8440738" y="4003675"/>
          <p14:tracePt t="48464" x="8443913" y="4003675"/>
          <p14:tracePt t="48465" x="8448675" y="4003675"/>
          <p14:tracePt t="48466" x="8451850" y="4003675"/>
          <p14:tracePt t="48468" x="8456613" y="4003675"/>
          <p14:tracePt t="48468" x="8464550" y="4003675"/>
          <p14:tracePt t="48469" x="8464550" y="3998913"/>
          <p14:tracePt t="48470" x="8467725" y="3998913"/>
          <p14:tracePt t="48471" x="8472488" y="3998913"/>
          <p14:tracePt t="48472" x="8475663" y="3998913"/>
          <p14:tracePt t="48473" x="8483600" y="3998913"/>
          <p14:tracePt t="48474" x="8488363" y="3998913"/>
          <p14:tracePt t="48475" x="8493125" y="3998913"/>
          <p14:tracePt t="48476" x="8496300" y="3998913"/>
          <p14:tracePt t="48477" x="8501063" y="3998913"/>
          <p14:tracePt t="48478" x="8509000" y="3998913"/>
          <p14:tracePt t="48479" x="8512175" y="3998913"/>
          <p14:tracePt t="48480" x="8520113" y="3998913"/>
          <p14:tracePt t="48482" x="8528050" y="3998913"/>
          <p14:tracePt t="48484" x="8535988" y="3998913"/>
          <p14:tracePt t="48484" x="8540750" y="3998913"/>
          <p14:tracePt t="48485" x="8543925" y="3998913"/>
          <p14:tracePt t="48486" x="8551863" y="3998913"/>
          <p14:tracePt t="48488" x="8556625" y="3998913"/>
          <p14:tracePt t="48489" x="8564563" y="3998913"/>
          <p14:tracePt t="48489" x="8567738" y="3998913"/>
          <p14:tracePt t="48490" x="8575675" y="3998913"/>
          <p14:tracePt t="48491" x="8580438" y="3998913"/>
          <p14:tracePt t="48492" x="8588375" y="3998913"/>
          <p14:tracePt t="48493" x="8593138" y="3998913"/>
          <p14:tracePt t="48494" x="8601075" y="3998913"/>
          <p14:tracePt t="48495" x="8609013" y="3998913"/>
          <p14:tracePt t="48496" x="8612188" y="3998913"/>
          <p14:tracePt t="48497" x="8616950" y="3998913"/>
          <p14:tracePt t="48499" x="8628063" y="3998913"/>
          <p14:tracePt t="48500" x="8632825" y="3998913"/>
          <p14:tracePt t="48501" x="8640763" y="3998913"/>
          <p14:tracePt t="48502" x="8643938" y="3998913"/>
          <p14:tracePt t="48503" x="8651875" y="3998913"/>
          <p14:tracePt t="48505" x="8659813" y="3998913"/>
          <p14:tracePt t="48505" x="8667750" y="3998913"/>
          <p14:tracePt t="48506" x="8672513" y="3998913"/>
          <p14:tracePt t="48507" x="8680450" y="3998913"/>
          <p14:tracePt t="48508" x="8688388" y="3998913"/>
          <p14:tracePt t="48509" x="8693150" y="3998913"/>
          <p14:tracePt t="48510" x="8701088" y="3998913"/>
          <p14:tracePt t="48511" x="8704263" y="3998913"/>
          <p14:tracePt t="48512" x="8712200" y="3998913"/>
          <p14:tracePt t="48513" x="8716963" y="3998913"/>
          <p14:tracePt t="48515" x="8724900" y="3998913"/>
          <p14:tracePt t="48515" x="8732838" y="3998913"/>
          <p14:tracePt t="48516" x="8736013" y="3998913"/>
          <p14:tracePt t="48517" x="8740775" y="3998913"/>
          <p14:tracePt t="48518" x="8743950" y="3998913"/>
          <p14:tracePt t="48519" x="8756650" y="3998913"/>
          <p14:tracePt t="48521" x="8761413" y="3998913"/>
          <p14:tracePt t="48522" x="8769350" y="3998913"/>
          <p14:tracePt t="48523" x="8772525" y="3998913"/>
          <p14:tracePt t="48524" x="8777288" y="3998913"/>
          <p14:tracePt t="48526" x="8785225" y="3998913"/>
          <p14:tracePt t="48526" x="8788400" y="3998913"/>
          <p14:tracePt t="48527" x="8793163" y="3998913"/>
          <p14:tracePt t="48528" x="8801100" y="3998913"/>
          <p14:tracePt t="48530" x="8804275" y="3998913"/>
          <p14:tracePt t="48530" x="8812213" y="3998913"/>
          <p14:tracePt t="48531" x="8816975" y="3998913"/>
          <p14:tracePt t="48532" x="8820150" y="3998913"/>
          <p14:tracePt t="48533" x="8824913" y="3998913"/>
          <p14:tracePt t="48534" x="8832850" y="3998913"/>
          <p14:tracePt t="48535" x="8836025" y="3998913"/>
          <p14:tracePt t="48536" x="8840788" y="3998913"/>
          <p14:tracePt t="48538" x="8843963" y="3998913"/>
          <p14:tracePt t="48539" x="8853488" y="3998913"/>
          <p14:tracePt t="48539" x="8856663" y="3998913"/>
          <p14:tracePt t="48540" x="8864600" y="3998913"/>
          <p14:tracePt t="48541" x="8869363" y="3998913"/>
          <p14:tracePt t="48542" x="8872538" y="3998913"/>
          <p14:tracePt t="48543" x="8877300" y="3998913"/>
          <p14:tracePt t="48544" x="8885238" y="3998913"/>
          <p14:tracePt t="48545" x="8893175" y="3998913"/>
          <p14:tracePt t="48547" x="8896350" y="3998913"/>
          <p14:tracePt t="48548" x="8904288" y="3998913"/>
          <p14:tracePt t="48549" x="8909050" y="3998913"/>
          <p14:tracePt t="48550" x="8916988" y="3998913"/>
          <p14:tracePt t="48551" x="8920163" y="3998913"/>
          <p14:tracePt t="48552" x="8928100" y="3998913"/>
          <p14:tracePt t="48553" x="8932863" y="3998913"/>
          <p14:tracePt t="48555" x="8936038" y="3998913"/>
          <p14:tracePt t="48555" x="8945563" y="3998913"/>
          <p14:tracePt t="48556" x="8948738" y="3998913"/>
          <p14:tracePt t="48558" x="8953500" y="3998913"/>
          <p14:tracePt t="48559" x="8961438" y="3998913"/>
          <p14:tracePt t="48560" x="8969375" y="3998913"/>
          <p14:tracePt t="48561" x="8972550" y="3998913"/>
          <p14:tracePt t="48562" x="8977313" y="3998913"/>
          <p14:tracePt t="48563" x="8985250" y="3998913"/>
          <p14:tracePt t="48564" x="8993188" y="3998913"/>
          <p14:tracePt t="48565" x="8996363" y="3998913"/>
          <p14:tracePt t="48566" x="9001125" y="3998913"/>
          <p14:tracePt t="48567" x="9009063" y="3998913"/>
          <p14:tracePt t="48568" x="9017000" y="3998913"/>
          <p14:tracePt t="48569" x="9020175" y="3998913"/>
          <p14:tracePt t="48570" x="9028113" y="3998913"/>
          <p14:tracePt t="48571" x="9032875" y="3998913"/>
          <p14:tracePt t="48572" x="9037638" y="3998913"/>
          <p14:tracePt t="48573" x="9045575" y="3998913"/>
          <p14:tracePt t="48575" x="9053513" y="3998913"/>
          <p14:tracePt t="48575" x="9056688" y="3998913"/>
          <p14:tracePt t="48577" x="9064625" y="3998913"/>
          <p14:tracePt t="48578" x="9072563" y="3998913"/>
          <p14:tracePt t="48579" x="9080500" y="3998913"/>
          <p14:tracePt t="48580" x="9085263" y="3995738"/>
          <p14:tracePt t="48581" x="9093200" y="3995738"/>
          <p14:tracePt t="48582" x="9096375" y="3995738"/>
          <p14:tracePt t="48583" x="9104313" y="3995738"/>
          <p14:tracePt t="48584" x="9112250" y="3995738"/>
          <p14:tracePt t="48585" x="9117013" y="3995738"/>
          <p14:tracePt t="48586" x="9124950" y="3990975"/>
          <p14:tracePt t="48588" x="9129713" y="3990975"/>
          <p14:tracePt t="48589" x="9137650" y="3990975"/>
          <p14:tracePt t="48589" x="9145588" y="3990975"/>
          <p14:tracePt t="48591" x="9153525" y="3990975"/>
          <p14:tracePt t="48592" x="9156700" y="3990975"/>
          <p14:tracePt t="48594" x="9169400" y="3987800"/>
          <p14:tracePt t="48594" x="9177338" y="3987800"/>
          <p14:tracePt t="48595" x="9185275" y="3987800"/>
          <p14:tracePt t="48596" x="9193213" y="3987800"/>
          <p14:tracePt t="48597" x="9196388" y="3983038"/>
          <p14:tracePt t="48598" x="9209088" y="3983038"/>
          <p14:tracePt t="48599" x="9213850" y="3983038"/>
          <p14:tracePt t="48600" x="9221788" y="3983038"/>
          <p14:tracePt t="48601" x="9229725" y="3983038"/>
          <p14:tracePt t="48602" x="9232900" y="3983038"/>
          <p14:tracePt t="48603" x="9240838" y="3983038"/>
          <p14:tracePt t="48605" x="9248775" y="3983038"/>
          <p14:tracePt t="48605" x="9256713" y="3983038"/>
          <p14:tracePt t="48608" x="9264650" y="3979863"/>
          <p14:tracePt t="48608" x="9272588" y="3979863"/>
          <p14:tracePt t="48609" x="9285288" y="3975100"/>
          <p14:tracePt t="48611" x="9288463" y="3975100"/>
          <p14:tracePt t="48611" x="9296400" y="3975100"/>
          <p14:tracePt t="48613" x="9305925" y="3975100"/>
          <p14:tracePt t="48614" x="9317038" y="3967163"/>
          <p14:tracePt t="48616" x="9321800" y="3967163"/>
          <p14:tracePt t="48617" x="9329738" y="3963988"/>
          <p14:tracePt t="48618" x="9337675" y="3963988"/>
          <p14:tracePt t="48619" x="9340850" y="3963988"/>
          <p14:tracePt t="48621" x="9348788" y="3959225"/>
          <p14:tracePt t="48622" x="9353550" y="3959225"/>
          <p14:tracePt t="48624" x="9364663" y="3959225"/>
          <p14:tracePt t="48625" x="9372600" y="3956050"/>
          <p14:tracePt t="48626" x="9377363" y="3956050"/>
          <p14:tracePt t="48626" x="9385300" y="3956050"/>
          <p14:tracePt t="48627" x="9388475" y="3956050"/>
          <p14:tracePt t="48628" x="9398000" y="3956050"/>
          <p14:tracePt t="48629" x="9401175" y="3956050"/>
          <p14:tracePt t="48630" x="9409113" y="3956050"/>
          <p14:tracePt t="48631" x="9413875" y="3956050"/>
          <p14:tracePt t="48632" x="9421813" y="3951288"/>
          <p14:tracePt t="48634" x="9429750" y="3951288"/>
          <p14:tracePt t="48635" x="9432925" y="3948113"/>
          <p14:tracePt t="48636" x="9437688" y="3948113"/>
          <p14:tracePt t="48638" x="9440863" y="3948113"/>
          <p14:tracePt t="48640" x="9453563" y="3943350"/>
          <p14:tracePt t="48641" x="9456738" y="3940175"/>
          <p14:tracePt t="48642" x="9461500" y="3940175"/>
          <p14:tracePt t="48643" x="9464675" y="3940175"/>
          <p14:tracePt t="48643" x="9469438" y="3940175"/>
          <p14:tracePt t="48645" x="9477375" y="3935413"/>
          <p14:tracePt t="48645" x="9480550" y="3935413"/>
          <p14:tracePt t="48647" x="9485313" y="3935413"/>
          <p14:tracePt t="48648" x="9490075" y="3935413"/>
          <p14:tracePt t="48649" x="9493250" y="3930650"/>
          <p14:tracePt t="48650" x="9498013" y="3930650"/>
          <p14:tracePt t="48651" x="9505950" y="3930650"/>
          <p14:tracePt t="48652" x="9509125" y="3930650"/>
          <p14:tracePt t="48653" x="9509125" y="3927475"/>
          <p14:tracePt t="48655" x="9517063" y="3927475"/>
          <p14:tracePt t="48657" x="9521825" y="3922713"/>
          <p14:tracePt t="48657" x="9525000" y="3922713"/>
          <p14:tracePt t="48658" x="9529763" y="3922713"/>
          <p14:tracePt t="48660" x="9532938" y="3922713"/>
          <p14:tracePt t="48661" x="9537700" y="3922713"/>
          <p14:tracePt t="48662" x="9540875" y="3919538"/>
          <p14:tracePt t="48664" x="9545638" y="3919538"/>
          <p14:tracePt t="48665" x="9548813" y="3919538"/>
          <p14:tracePt t="48666" x="9553575" y="3914775"/>
          <p14:tracePt t="48667" x="9556750" y="3914775"/>
          <p14:tracePt t="48669" x="9561513" y="3914775"/>
          <p14:tracePt t="48671" x="9569450" y="3911600"/>
          <p14:tracePt t="48675" x="9574213" y="3911600"/>
          <p14:tracePt t="48676" x="9574213" y="3906838"/>
          <p14:tracePt t="48677" x="9577388" y="3906838"/>
          <p14:tracePt t="48678" x="9582150" y="3906838"/>
          <p14:tracePt t="48678" x="9585325" y="3906838"/>
          <p14:tracePt t="48679" x="9590088" y="3906838"/>
          <p14:tracePt t="48682" x="9593263" y="3906838"/>
          <p14:tracePt t="48682" x="9598025" y="3906838"/>
          <p14:tracePt t="48684" x="9601200" y="3906838"/>
          <p14:tracePt t="48686" x="9605963" y="3906838"/>
          <p14:tracePt t="48688" x="9609138" y="3906838"/>
          <p14:tracePt t="48689" x="9613900" y="3903663"/>
          <p14:tracePt t="48692" x="9617075" y="3898900"/>
          <p14:tracePt t="48693" x="9621838" y="3898900"/>
          <p14:tracePt t="48695" x="9625013" y="3898900"/>
          <p14:tracePt t="48696" x="9629775" y="3898900"/>
          <p14:tracePt t="48697" x="9629775" y="3895725"/>
          <p14:tracePt t="48698" x="9632950" y="3895725"/>
          <p14:tracePt t="48700" x="9637713" y="3895725"/>
          <p14:tracePt t="48702" x="9640888" y="3890963"/>
          <p14:tracePt t="48703" x="9645650" y="3890963"/>
          <p14:tracePt t="48705" x="9648825" y="3890963"/>
          <p14:tracePt t="48706" x="9653588" y="3890963"/>
          <p14:tracePt t="48709" x="9653588" y="3887788"/>
          <p14:tracePt t="48711" x="9656763" y="3887788"/>
          <p14:tracePt t="48714" x="9661525" y="3887788"/>
          <p14:tracePt t="48716" x="9666288" y="3887788"/>
          <p14:tracePt t="48717" x="9669463" y="3883025"/>
          <p14:tracePt t="48721" x="9674225" y="3883025"/>
          <p14:tracePt t="48725" x="9677400" y="3883025"/>
          <p14:tracePt t="48727" x="9677400" y="3879850"/>
          <p14:tracePt t="48732" x="9682163" y="3879850"/>
          <p14:tracePt t="48749" x="9685338" y="3879850"/>
          <p14:tracePt t="48751" x="9685338" y="3875088"/>
          <p14:tracePt t="48831" x="9685338" y="3871913"/>
          <p14:tracePt t="48844" x="9685338" y="3867150"/>
          <p14:tracePt t="48858" x="9682163" y="3867150"/>
          <p14:tracePt t="48861" x="9682163" y="3863975"/>
          <p14:tracePt t="48864" x="9674225" y="3859213"/>
          <p14:tracePt t="48867" x="9669463" y="3856038"/>
          <p14:tracePt t="48868" x="9666288" y="3856038"/>
          <p14:tracePt t="48869" x="9666288" y="3851275"/>
          <p14:tracePt t="48871" x="9661525" y="3851275"/>
          <p14:tracePt t="48873" x="9656763" y="3848100"/>
          <p14:tracePt t="48876" x="9648825" y="3843338"/>
          <p14:tracePt t="48878" x="9645650" y="3838575"/>
          <p14:tracePt t="48880" x="9640888" y="3835400"/>
          <p14:tracePt t="48882" x="9632950" y="3835400"/>
          <p14:tracePt t="48889" x="9617075" y="3827463"/>
          <p14:tracePt t="48892" x="9609138" y="3827463"/>
          <p14:tracePt t="48893" x="9605963" y="3822700"/>
          <p14:tracePt t="48894" x="9601200" y="3819525"/>
          <p14:tracePt t="48895" x="9598025" y="3819525"/>
          <p14:tracePt t="48896" x="9593263" y="3819525"/>
          <p14:tracePt t="48897" x="9590088" y="3814763"/>
          <p14:tracePt t="48900" x="9585325" y="3814763"/>
          <p14:tracePt t="48900" x="9582150" y="3814763"/>
          <p14:tracePt t="48901" x="9577388" y="3811588"/>
          <p14:tracePt t="48902" x="9574213" y="3811588"/>
          <p14:tracePt t="48905" x="9564688" y="3806825"/>
          <p14:tracePt t="48907" x="9561513" y="3803650"/>
          <p14:tracePt t="48909" x="9556750" y="3798888"/>
          <p14:tracePt t="48909" x="9553575" y="3798888"/>
          <p14:tracePt t="48910" x="9548813" y="3798888"/>
          <p14:tracePt t="48912" x="9545638" y="3795713"/>
          <p14:tracePt t="48912" x="9540875" y="3795713"/>
          <p14:tracePt t="48913" x="9537700" y="3795713"/>
          <p14:tracePt t="48914" x="9532938" y="3790950"/>
          <p14:tracePt t="48916" x="9529763" y="3790950"/>
          <p14:tracePt t="48917" x="9529763" y="3787775"/>
          <p14:tracePt t="48918" x="9525000" y="3787775"/>
          <p14:tracePt t="48919" x="9521825" y="3787775"/>
          <p14:tracePt t="48921" x="9513888" y="3783013"/>
          <p14:tracePt t="48922" x="9505950" y="3783013"/>
          <p14:tracePt t="48925" x="9498013" y="3779838"/>
          <p14:tracePt t="48925" x="9493250" y="3779838"/>
          <p14:tracePt t="48927" x="9490075" y="3779838"/>
          <p14:tracePt t="48927" x="9485313" y="3779838"/>
          <p14:tracePt t="48929" x="9480550" y="3775075"/>
          <p14:tracePt t="48931" x="9477375" y="3775075"/>
          <p14:tracePt t="48931" x="9472613" y="3775075"/>
          <p14:tracePt t="48933" x="9469438" y="3771900"/>
          <p14:tracePt t="48933" x="9464675" y="3771900"/>
          <p14:tracePt t="48934" x="9461500" y="3771900"/>
          <p14:tracePt t="48936" x="9456738" y="3767138"/>
          <p14:tracePt t="48936" x="9453563" y="3767138"/>
          <p14:tracePt t="48937" x="9448800" y="3763963"/>
          <p14:tracePt t="48939" x="9445625" y="3763963"/>
          <p14:tracePt t="48940" x="9445625" y="3759200"/>
          <p14:tracePt t="48941" x="9437688" y="3759200"/>
          <p14:tracePt t="48942" x="9432925" y="3756025"/>
          <p14:tracePt t="48942" x="9429750" y="3756025"/>
          <p14:tracePt t="48943" x="9424988" y="3756025"/>
          <p14:tracePt t="48944" x="9421813" y="3756025"/>
          <p14:tracePt t="48945" x="9417050" y="3751263"/>
          <p14:tracePt t="48946" x="9413875" y="3751263"/>
          <p14:tracePt t="48947" x="9409113" y="3751263"/>
          <p14:tracePt t="48948" x="9401175" y="3746500"/>
          <p14:tracePt t="48949" x="9398000" y="3746500"/>
          <p14:tracePt t="48950" x="9388475" y="3743325"/>
          <p14:tracePt t="48952" x="9385300" y="3743325"/>
          <p14:tracePt t="48953" x="9385300" y="3738563"/>
          <p14:tracePt t="48953" x="9377363" y="3738563"/>
          <p14:tracePt t="48955" x="9372600" y="3735388"/>
          <p14:tracePt t="48956" x="9369425" y="3735388"/>
          <p14:tracePt t="48957" x="9361488" y="3730625"/>
          <p14:tracePt t="48958" x="9356725" y="3730625"/>
          <p14:tracePt t="48958" x="9348788" y="3730625"/>
          <p14:tracePt t="48959" x="9345613" y="3727450"/>
          <p14:tracePt t="48960" x="9337675" y="3727450"/>
          <p14:tracePt t="48962" x="9329738" y="3722688"/>
          <p14:tracePt t="48962" x="9324975" y="3722688"/>
          <p14:tracePt t="48963" x="9321800" y="3719513"/>
          <p14:tracePt t="48964" x="9313863" y="3719513"/>
          <p14:tracePt t="48965" x="9305925" y="3714750"/>
          <p14:tracePt t="48966" x="9301163" y="3714750"/>
          <p14:tracePt t="48967" x="9293225" y="3714750"/>
          <p14:tracePt t="48968" x="9285288" y="3711575"/>
          <p14:tracePt t="48969" x="9277350" y="3711575"/>
          <p14:tracePt t="48970" x="9269413" y="3711575"/>
          <p14:tracePt t="48972" x="9261475" y="3706813"/>
          <p14:tracePt t="48973" x="9253538" y="3706813"/>
          <p14:tracePt t="48974" x="9248775" y="3703638"/>
          <p14:tracePt t="48975" x="9240838" y="3703638"/>
          <p14:tracePt t="48976" x="9224963" y="3698875"/>
          <p14:tracePt t="48976" x="9221788" y="3698875"/>
          <p14:tracePt t="48977" x="9213850" y="3698875"/>
          <p14:tracePt t="48978" x="9204325" y="3695700"/>
          <p14:tracePt t="48979" x="9196388" y="3695700"/>
          <p14:tracePt t="48980" x="9185275" y="3690938"/>
          <p14:tracePt t="48981" x="9177338" y="3690938"/>
          <p14:tracePt t="48983" x="9164638" y="3687763"/>
          <p14:tracePt t="48983" x="9156700" y="3687763"/>
          <p14:tracePt t="48984" x="9148763" y="3687763"/>
          <p14:tracePt t="48985" x="9137650" y="3683000"/>
          <p14:tracePt t="48986" x="9129713" y="3683000"/>
          <p14:tracePt t="48988" x="9104313" y="3683000"/>
          <p14:tracePt t="48991" x="9085263" y="3675063"/>
          <p14:tracePt t="48991" x="9069388" y="3675063"/>
          <p14:tracePt t="48992" x="9061450" y="3671888"/>
          <p14:tracePt t="48993" x="9048750" y="3671888"/>
          <p14:tracePt t="48994" x="9040813" y="3671888"/>
          <p14:tracePt t="48995" x="9024938" y="3667125"/>
          <p14:tracePt t="48996" x="9012238" y="3667125"/>
          <p14:tracePt t="48998" x="9004300" y="3667125"/>
          <p14:tracePt t="48998" x="8988425" y="3663950"/>
          <p14:tracePt t="48999" x="8980488" y="3663950"/>
          <p14:tracePt t="49000" x="8961438" y="3663950"/>
          <p14:tracePt t="49001" x="8948738" y="3659188"/>
          <p14:tracePt t="49002" x="8940800" y="3659188"/>
          <p14:tracePt t="49003" x="8924925" y="3659188"/>
          <p14:tracePt t="49005" x="8912225" y="3659188"/>
          <p14:tracePt t="49005" x="8893175" y="3654425"/>
          <p14:tracePt t="49006" x="8880475" y="3654425"/>
          <p14:tracePt t="49007" x="8864600" y="3654425"/>
          <p14:tracePt t="49008" x="8856663" y="3651250"/>
          <p14:tracePt t="49009" x="8843963" y="3651250"/>
          <p14:tracePt t="49010" x="8824913" y="3651250"/>
          <p14:tracePt t="49011" x="8809038" y="3651250"/>
          <p14:tracePt t="49012" x="8796338" y="3643313"/>
          <p14:tracePt t="49014" x="8780463" y="3643313"/>
          <p14:tracePt t="49014" x="8769350" y="3643313"/>
          <p14:tracePt t="49015" x="8748713" y="3638550"/>
          <p14:tracePt t="49016" x="8736013" y="3638550"/>
          <p14:tracePt t="49017" x="8720138" y="3638550"/>
          <p14:tracePt t="49018" x="8709025" y="3638550"/>
          <p14:tracePt t="49019" x="8688388" y="3635375"/>
          <p14:tracePt t="49020" x="8667750" y="3635375"/>
          <p14:tracePt t="49021" x="8656638" y="3635375"/>
          <p14:tracePt t="49022" x="8640763" y="3635375"/>
          <p14:tracePt t="49023" x="8628063" y="3635375"/>
          <p14:tracePt t="49024" x="8609013" y="3635375"/>
          <p14:tracePt t="49025" x="8588375" y="3635375"/>
          <p14:tracePt t="49026" x="8575675" y="3630613"/>
          <p14:tracePt t="49027" x="8559800" y="3630613"/>
          <p14:tracePt t="49028" x="8548688" y="3630613"/>
          <p14:tracePt t="49030" x="8528050" y="3630613"/>
          <p14:tracePt t="49030" x="8509000" y="3630613"/>
          <p14:tracePt t="49031" x="8496300" y="3630613"/>
          <p14:tracePt t="49032" x="8483600" y="3630613"/>
          <p14:tracePt t="49033" x="8467725" y="3630613"/>
          <p14:tracePt t="49034" x="8448675" y="3630613"/>
          <p14:tracePt t="49035" x="8428038" y="3627438"/>
          <p14:tracePt t="49036" x="8416925" y="3627438"/>
          <p14:tracePt t="49038" x="8404225" y="3627438"/>
          <p14:tracePt t="49039" x="8388350" y="3627438"/>
          <p14:tracePt t="49039" x="8375650" y="3627438"/>
          <p14:tracePt t="49040" x="8356600" y="3627438"/>
          <p14:tracePt t="49041" x="8335963" y="3627438"/>
          <p14:tracePt t="49042" x="8324850" y="3627438"/>
          <p14:tracePt t="49043" x="8307388" y="3627438"/>
          <p14:tracePt t="49044" x="8296275" y="3627438"/>
          <p14:tracePt t="49046" x="8275638" y="3627438"/>
          <p14:tracePt t="49046" x="8264525" y="3627438"/>
          <p14:tracePt t="49047" x="8248650" y="3627438"/>
          <p14:tracePt t="49048" x="8235950" y="3627438"/>
          <p14:tracePt t="49049" x="8220075" y="3627438"/>
          <p14:tracePt t="49050" x="8204200" y="3627438"/>
          <p14:tracePt t="49051" x="8188325" y="3627438"/>
          <p14:tracePt t="49052" x="8175625" y="3627438"/>
          <p14:tracePt t="49053" x="8159750" y="3627438"/>
          <p14:tracePt t="49055" x="8148638" y="3627438"/>
          <p14:tracePt t="49056" x="8128000" y="3627438"/>
          <p14:tracePt t="49057" x="8115300" y="3627438"/>
          <p14:tracePt t="49058" x="8099425" y="3627438"/>
          <p14:tracePt t="49058" x="8088313" y="3627438"/>
          <p14:tracePt t="49059" x="8075613" y="3627438"/>
          <p14:tracePt t="49060" x="8056563" y="3627438"/>
          <p14:tracePt t="49061" x="8040688" y="3627438"/>
          <p14:tracePt t="49063" x="8027988" y="3627438"/>
          <p14:tracePt t="49063" x="8015288" y="3627438"/>
          <p14:tracePt t="49064" x="7999413" y="3627438"/>
          <p14:tracePt t="49065" x="7980363" y="3627438"/>
          <p14:tracePt t="49066" x="7967663" y="3627438"/>
          <p14:tracePt t="49067" x="7956550" y="3627438"/>
          <p14:tracePt t="49068" x="7939088" y="3627438"/>
          <p14:tracePt t="49069" x="7927975" y="3627438"/>
          <p14:tracePt t="49070" x="7907338" y="3627438"/>
          <p14:tracePt t="49071" x="7891463" y="3627438"/>
          <p14:tracePt t="49072" x="7880350" y="3627438"/>
          <p14:tracePt t="49073" x="7867650" y="3627438"/>
          <p14:tracePt t="49075" x="7851775" y="3627438"/>
          <p14:tracePt t="49075" x="7831138" y="3627438"/>
          <p14:tracePt t="49077" x="7820025" y="3627438"/>
          <p14:tracePt t="49077" x="7807325" y="3627438"/>
          <p14:tracePt t="49078" x="7791450" y="3627438"/>
          <p14:tracePt t="49079" x="7780338" y="3627438"/>
          <p14:tracePt t="49080" x="7759700" y="3627438"/>
          <p14:tracePt t="49081" x="7743825" y="3627438"/>
          <p14:tracePt t="49082" x="7731125" y="3627438"/>
          <p14:tracePt t="49083" x="7720013" y="3627438"/>
          <p14:tracePt t="49084" x="7704138" y="3627438"/>
          <p14:tracePt t="49085" x="7683500" y="3627438"/>
          <p14:tracePt t="49086" x="7670800" y="3627438"/>
          <p14:tracePt t="49088" x="7659688" y="3627438"/>
          <p14:tracePt t="49089" x="7643813" y="3627438"/>
          <p14:tracePt t="49089" x="7631113" y="3627438"/>
          <p14:tracePt t="49090" x="7604125" y="3627438"/>
          <p14:tracePt t="49092" x="7596188" y="3627438"/>
          <p14:tracePt t="49093" x="7578725" y="3627438"/>
          <p14:tracePt t="49094" x="7570788" y="3627438"/>
          <p14:tracePt t="49094" x="7554913" y="3627438"/>
          <p14:tracePt t="49095" x="7535863" y="3627438"/>
          <p14:tracePt t="49096" x="7523163" y="3627438"/>
          <p14:tracePt t="49097" x="7507288" y="3630613"/>
          <p14:tracePt t="49098" x="7494588" y="3630613"/>
          <p14:tracePt t="49099" x="7483475" y="3630613"/>
          <p14:tracePt t="49100" x="7462838" y="3630613"/>
          <p14:tracePt t="49101" x="7454900" y="3630613"/>
          <p14:tracePt t="49102" x="7439025" y="3630613"/>
          <p14:tracePt t="49103" x="7427913" y="3630613"/>
          <p14:tracePt t="49105" x="7412038" y="3630613"/>
          <p14:tracePt t="49105" x="7399338" y="3630613"/>
          <p14:tracePt t="49106" x="7378700" y="3630613"/>
          <p14:tracePt t="49107" x="7370763" y="3630613"/>
          <p14:tracePt t="49108" x="7359650" y="3630613"/>
          <p14:tracePt t="49109" x="7343775" y="3630613"/>
          <p14:tracePt t="49110" x="7327900" y="3630613"/>
          <p14:tracePt t="49111" x="7319963" y="3630613"/>
          <p14:tracePt t="49112" x="7302500" y="3630613"/>
          <p14:tracePt t="49113" x="7291388" y="3630613"/>
          <p14:tracePt t="49114" x="7283450" y="3630613"/>
          <p14:tracePt t="49115" x="7262813" y="3630613"/>
          <p14:tracePt t="49116" x="7246938" y="3630613"/>
          <p14:tracePt t="49117" x="7239000" y="3630613"/>
          <p14:tracePt t="49118" x="7227888" y="3630613"/>
          <p14:tracePt t="49120" x="7218363" y="3630613"/>
          <p14:tracePt t="49120" x="7199313" y="3630613"/>
          <p14:tracePt t="49121" x="7191375" y="3630613"/>
          <p14:tracePt t="49123" x="7170738" y="3630613"/>
          <p14:tracePt t="49124" x="7154863" y="3630613"/>
          <p14:tracePt t="49125" x="7143750" y="3630613"/>
          <p14:tracePt t="49126" x="7135813" y="3630613"/>
          <p14:tracePt t="49127" x="7126288" y="3630613"/>
          <p14:tracePt t="49128" x="7110413" y="3630613"/>
          <p14:tracePt t="49129" x="7102475" y="3630613"/>
          <p14:tracePt t="49130" x="7091363" y="3630613"/>
          <p14:tracePt t="49132" x="7083425" y="3630613"/>
          <p14:tracePt t="49132" x="7067550" y="3630613"/>
          <p14:tracePt t="49133" x="7059613" y="3630613"/>
          <p14:tracePt t="49134" x="7051675" y="3630613"/>
          <p14:tracePt t="49135" x="7038975" y="3630613"/>
          <p14:tracePt t="49136" x="7031038" y="3630613"/>
          <p14:tracePt t="49138" x="7007225" y="3630613"/>
          <p14:tracePt t="49140" x="6999288" y="3630613"/>
          <p14:tracePt t="49141" x="6986588" y="3630613"/>
          <p14:tracePt t="49142" x="6978650" y="3630613"/>
          <p14:tracePt t="49142" x="6970713" y="3630613"/>
          <p14:tracePt t="49143" x="6962775" y="3630613"/>
          <p14:tracePt t="49144" x="6954838" y="3630613"/>
          <p14:tracePt t="49145" x="6942138" y="3635375"/>
          <p14:tracePt t="49146" x="6934200" y="3635375"/>
          <p14:tracePt t="49147" x="6926263" y="3635375"/>
          <p14:tracePt t="49148" x="6918325" y="3635375"/>
          <p14:tracePt t="49149" x="6910388" y="3635375"/>
          <p14:tracePt t="49150" x="6899275" y="3635375"/>
          <p14:tracePt t="49151" x="6891338" y="3635375"/>
          <p14:tracePt t="49152" x="6883400" y="3635375"/>
          <p14:tracePt t="49153" x="6875463" y="3635375"/>
          <p14:tracePt t="49155" x="6867525" y="3635375"/>
          <p14:tracePt t="49155" x="6858000" y="3635375"/>
          <p14:tracePt t="49156" x="6850063" y="3635375"/>
          <p14:tracePt t="49158" x="6846888" y="3635375"/>
          <p14:tracePt t="49158" x="6838950" y="3635375"/>
          <p14:tracePt t="49160" x="6831013" y="3635375"/>
          <p14:tracePt t="49160" x="6823075" y="3635375"/>
          <p14:tracePt t="49161" x="6815138" y="3635375"/>
          <p14:tracePt t="49162" x="6810375" y="3635375"/>
          <p14:tracePt t="49163" x="6802438" y="3635375"/>
          <p14:tracePt t="49164" x="6799263" y="3635375"/>
          <p14:tracePt t="49165" x="6791325" y="3635375"/>
          <p14:tracePt t="49166" x="6783388" y="3635375"/>
          <p14:tracePt t="49167" x="6778625" y="3635375"/>
          <p14:tracePt t="49168" x="6775450" y="3635375"/>
          <p14:tracePt t="49169" x="6765925" y="3635375"/>
          <p14:tracePt t="49171" x="6754813" y="3638550"/>
          <p14:tracePt t="49173" x="6746875" y="3638550"/>
          <p14:tracePt t="49173" x="6742113" y="3638550"/>
          <p14:tracePt t="49175" x="6738938" y="3638550"/>
          <p14:tracePt t="49175" x="6734175" y="3638550"/>
          <p14:tracePt t="49176" x="6731000" y="3638550"/>
          <p14:tracePt t="49177" x="6726238" y="3638550"/>
          <p14:tracePt t="49178" x="6723063" y="3638550"/>
          <p14:tracePt t="49179" x="6715125" y="3638550"/>
          <p14:tracePt t="49180" x="6710363" y="3638550"/>
          <p14:tracePt t="49181" x="6707188" y="3638550"/>
          <p14:tracePt t="49182" x="6702425" y="3638550"/>
          <p14:tracePt t="49183" x="6699250" y="3638550"/>
          <p14:tracePt t="49184" x="6694488" y="3638550"/>
          <p14:tracePt t="49185" x="6691313" y="3638550"/>
          <p14:tracePt t="49186" x="6686550" y="3638550"/>
          <p14:tracePt t="49189" x="6681788" y="3638550"/>
          <p14:tracePt t="49189" x="6678613" y="3643313"/>
          <p14:tracePt t="49190" x="6673850" y="3643313"/>
          <p14:tracePt t="49191" x="6670675" y="3643313"/>
          <p14:tracePt t="49192" x="6665913" y="3643313"/>
          <p14:tracePt t="49193" x="6662738" y="3643313"/>
          <p14:tracePt t="49194" x="6657975" y="3643313"/>
          <p14:tracePt t="49195" x="6654800" y="3643313"/>
          <p14:tracePt t="49196" x="6650038" y="3643313"/>
          <p14:tracePt t="49198" x="6646863" y="3643313"/>
          <p14:tracePt t="49199" x="6642100" y="3643313"/>
          <p14:tracePt t="49200" x="6638925" y="3646488"/>
          <p14:tracePt t="49202" x="6634163" y="3646488"/>
          <p14:tracePt t="49203" x="6630988" y="3646488"/>
          <p14:tracePt t="49205" x="6626225" y="3646488"/>
          <p14:tracePt t="49206" x="6623050" y="3646488"/>
          <p14:tracePt t="49207" x="6618288" y="3646488"/>
          <p14:tracePt t="49208" x="6615113" y="3646488"/>
          <p14:tracePt t="49209" x="6610350" y="3646488"/>
          <p14:tracePt t="49210" x="6607175" y="3646488"/>
          <p14:tracePt t="49213" x="6602413" y="3651250"/>
          <p14:tracePt t="49214" x="6599238" y="3651250"/>
          <p14:tracePt t="49216" x="6594475" y="3651250"/>
          <p14:tracePt t="49218" x="6589713" y="3651250"/>
          <p14:tracePt t="49218" x="6586538" y="3651250"/>
          <p14:tracePt t="49220" x="6581775" y="3651250"/>
          <p14:tracePt t="49222" x="6578600" y="3651250"/>
          <p14:tracePt t="49223" x="6573838" y="3651250"/>
          <p14:tracePt t="49223" x="6573838" y="3654425"/>
          <p14:tracePt t="49224" x="6570663" y="3654425"/>
          <p14:tracePt t="49226" x="6565900" y="3654425"/>
          <p14:tracePt t="49228" x="6562725" y="3654425"/>
          <p14:tracePt t="49234" x="6557963" y="3654425"/>
          <p14:tracePt t="49241" x="6554788" y="3654425"/>
          <p14:tracePt t="49257" x="6554788" y="3659188"/>
          <p14:tracePt t="49275" x="6554788" y="3663950"/>
          <p14:tracePt t="49279" x="6554788" y="3667125"/>
          <p14:tracePt t="49283" x="6554788" y="3671888"/>
          <p14:tracePt t="49287" x="6554788" y="3675063"/>
          <p14:tracePt t="49291" x="6554788" y="3679825"/>
          <p14:tracePt t="49293" x="6554788" y="3683000"/>
          <p14:tracePt t="49296" x="6557963" y="3687763"/>
          <p14:tracePt t="49298" x="6557963" y="3690938"/>
          <p14:tracePt t="49299" x="6562725" y="3690938"/>
          <p14:tracePt t="49301" x="6562725" y="3695700"/>
          <p14:tracePt t="49302" x="6565900" y="3695700"/>
          <p14:tracePt t="49306" x="6570663" y="3695700"/>
          <p14:tracePt t="49307" x="6573838" y="3698875"/>
          <p14:tracePt t="49310" x="6578600" y="3703638"/>
          <p14:tracePt t="49314" x="6586538" y="3706813"/>
          <p14:tracePt t="49316" x="6589713" y="3711575"/>
          <p14:tracePt t="49319" x="6594475" y="3714750"/>
          <p14:tracePt t="49322" x="6599238" y="3714750"/>
          <p14:tracePt t="49324" x="6602413" y="3719513"/>
          <p14:tracePt t="49328" x="6602413" y="3722688"/>
          <p14:tracePt t="49331" x="6607175" y="3722688"/>
          <p14:tracePt t="49332" x="6610350" y="3727450"/>
          <p14:tracePt t="49335" x="6615113" y="3727450"/>
          <p14:tracePt t="49337" x="6618288" y="3730625"/>
          <p14:tracePt t="49339" x="6623050" y="3730625"/>
          <p14:tracePt t="49340" x="6626225" y="3730625"/>
          <p14:tracePt t="49342" x="6630988" y="3730625"/>
          <p14:tracePt t="49344" x="6634163" y="3735388"/>
          <p14:tracePt t="49345" x="6638925" y="3735388"/>
          <p14:tracePt t="49347" x="6642100" y="3735388"/>
          <p14:tracePt t="49348" x="6646863" y="3735388"/>
          <p14:tracePt t="49349" x="6650038" y="3738563"/>
          <p14:tracePt t="49350" x="6654800" y="3738563"/>
          <p14:tracePt t="49351" x="6662738" y="3743325"/>
          <p14:tracePt t="49352" x="6665913" y="3743325"/>
          <p14:tracePt t="49354" x="6670675" y="3743325"/>
          <p14:tracePt t="49355" x="6673850" y="3743325"/>
          <p14:tracePt t="49357" x="6686550" y="3746500"/>
          <p14:tracePt t="49360" x="6699250" y="3751263"/>
          <p14:tracePt t="49362" x="6715125" y="3751263"/>
          <p14:tracePt t="49363" x="6723063" y="3751263"/>
          <p14:tracePt t="49364" x="6726238" y="3756025"/>
          <p14:tracePt t="49365" x="6734175" y="3756025"/>
          <p14:tracePt t="49366" x="6742113" y="3756025"/>
          <p14:tracePt t="49367" x="6750050" y="3759200"/>
          <p14:tracePt t="49368" x="6757988" y="3759200"/>
          <p14:tracePt t="49369" x="6762750" y="3759200"/>
          <p14:tracePt t="49370" x="6770688" y="3759200"/>
          <p14:tracePt t="49372" x="6783388" y="3763963"/>
          <p14:tracePt t="49373" x="6794500" y="3763963"/>
          <p14:tracePt t="49374" x="6802438" y="3763963"/>
          <p14:tracePt t="49375" x="6810375" y="3763963"/>
          <p14:tracePt t="49375" x="6818313" y="3767138"/>
          <p14:tracePt t="49376" x="6834188" y="3767138"/>
          <p14:tracePt t="49377" x="6846888" y="3767138"/>
          <p14:tracePt t="49378" x="6854825" y="3767138"/>
          <p14:tracePt t="49379" x="6862763" y="3775075"/>
          <p14:tracePt t="49380" x="6870700" y="3775075"/>
          <p14:tracePt t="49381" x="6878638" y="3775075"/>
          <p14:tracePt t="49382" x="6894513" y="3775075"/>
          <p14:tracePt t="49383" x="6907213" y="3775075"/>
          <p14:tracePt t="49384" x="6915150" y="3775075"/>
          <p14:tracePt t="49385" x="6931025" y="3775075"/>
          <p14:tracePt t="49386" x="6942138" y="3775075"/>
          <p14:tracePt t="49388" x="6950075" y="3779838"/>
          <p14:tracePt t="49390" x="6975475" y="3779838"/>
          <p14:tracePt t="49390" x="6986588" y="3779838"/>
          <p14:tracePt t="49391" x="6994525" y="3779838"/>
          <p14:tracePt t="49392" x="7010400" y="3779838"/>
          <p14:tracePt t="49393" x="7023100" y="3779838"/>
          <p14:tracePt t="49394" x="7031038" y="3779838"/>
          <p14:tracePt t="49395" x="7038975" y="3779838"/>
          <p14:tracePt t="49396" x="7054850" y="3779838"/>
          <p14:tracePt t="49397" x="7067550" y="3779838"/>
          <p14:tracePt t="49398" x="7075488" y="3779838"/>
          <p14:tracePt t="49399" x="7086600" y="3779838"/>
          <p14:tracePt t="49400" x="7094538" y="3779838"/>
          <p14:tracePt t="49401" x="7110413" y="3779838"/>
          <p14:tracePt t="49402" x="7123113" y="3779838"/>
          <p14:tracePt t="49403" x="7131050" y="3779838"/>
          <p14:tracePt t="49405" x="7146925" y="3779838"/>
          <p14:tracePt t="49406" x="7154863" y="3779838"/>
          <p14:tracePt t="49406" x="7167563" y="3779838"/>
          <p14:tracePt t="49407" x="7183438" y="3779838"/>
          <p14:tracePt t="49408" x="7191375" y="3779838"/>
          <p14:tracePt t="49409" x="7202488" y="3779838"/>
          <p14:tracePt t="49410" x="7210425" y="3779838"/>
          <p14:tracePt t="49411" x="7227888" y="3779838"/>
          <p14:tracePt t="49412" x="7235825" y="3779838"/>
          <p14:tracePt t="49413" x="7246938" y="3779838"/>
          <p14:tracePt t="49414" x="7254875" y="3779838"/>
          <p14:tracePt t="49415" x="7270750" y="3779838"/>
          <p14:tracePt t="49416" x="7283450" y="3779838"/>
          <p14:tracePt t="49417" x="7291388" y="3779838"/>
          <p14:tracePt t="49418" x="7302500" y="3779838"/>
          <p14:tracePt t="49419" x="7310438" y="3779838"/>
          <p14:tracePt t="49420" x="7319963" y="3779838"/>
          <p14:tracePt t="49422" x="7331075" y="3779838"/>
          <p14:tracePt t="49422" x="7343775" y="3779838"/>
          <p14:tracePt t="49423" x="7354888" y="3779838"/>
          <p14:tracePt t="49424" x="7367588" y="3779838"/>
          <p14:tracePt t="49425" x="7375525" y="3779838"/>
          <p14:tracePt t="49426" x="7386638" y="3779838"/>
          <p14:tracePt t="49427" x="7394575" y="3779838"/>
          <p14:tracePt t="49428" x="7402513" y="3779838"/>
          <p14:tracePt t="49429" x="7412038" y="3779838"/>
          <p14:tracePt t="49431" x="7419975" y="3779838"/>
          <p14:tracePt t="49431" x="7427913" y="3779838"/>
          <p14:tracePt t="49432" x="7443788" y="3779838"/>
          <p14:tracePt t="49433" x="7451725" y="3779838"/>
          <p14:tracePt t="49435" x="7459663" y="3779838"/>
          <p14:tracePt t="49436" x="7467600" y="3779838"/>
          <p14:tracePt t="49436" x="7478713" y="3779838"/>
          <p14:tracePt t="49437" x="7483475" y="3779838"/>
          <p14:tracePt t="49439" x="7491413" y="3779838"/>
          <p14:tracePt t="49439" x="7499350" y="3779838"/>
          <p14:tracePt t="49440" x="7507288" y="3779838"/>
          <p14:tracePt t="49441" x="7515225" y="3779838"/>
          <p14:tracePt t="49442" x="7523163" y="3771900"/>
          <p14:tracePt t="49443" x="7531100" y="3771900"/>
          <p14:tracePt t="49444" x="7543800" y="3771900"/>
          <p14:tracePt t="49445" x="7551738" y="3771900"/>
          <p14:tracePt t="49446" x="7559675" y="3771900"/>
          <p14:tracePt t="49447" x="7567613" y="3771900"/>
          <p14:tracePt t="49448" x="7570788" y="3771900"/>
          <p14:tracePt t="49449" x="7578725" y="3771900"/>
          <p14:tracePt t="49453" x="7596188" y="3771900"/>
          <p14:tracePt t="49453" x="7604125" y="3771900"/>
          <p14:tracePt t="49455" x="7607300" y="3771900"/>
          <p14:tracePt t="49455" x="7612063" y="3771900"/>
          <p14:tracePt t="49456" x="7620000" y="3771900"/>
          <p14:tracePt t="49457" x="7623175" y="3771900"/>
          <p14:tracePt t="49458" x="7631113" y="3771900"/>
          <p14:tracePt t="49459" x="7635875" y="3771900"/>
          <p14:tracePt t="49460" x="7639050" y="3771900"/>
          <p14:tracePt t="49461" x="7646988" y="3771900"/>
          <p14:tracePt t="49463" x="7651750" y="3771900"/>
          <p14:tracePt t="49463" x="7654925" y="3771900"/>
          <p14:tracePt t="49464" x="7662863" y="3771900"/>
          <p14:tracePt t="49466" x="7670800" y="3771900"/>
          <p14:tracePt t="49468" x="7675563" y="3771900"/>
          <p14:tracePt t="49469" x="7680325" y="3771900"/>
          <p14:tracePt t="49469" x="7683500" y="3771900"/>
          <p14:tracePt t="49470" x="7688263" y="3771900"/>
          <p14:tracePt t="49472" x="7696200" y="3767138"/>
          <p14:tracePt t="49472" x="7699375" y="3767138"/>
          <p14:tracePt t="49473" x="7707313" y="3767138"/>
          <p14:tracePt t="49474" x="7712075" y="3767138"/>
          <p14:tracePt t="49475" x="7715250" y="3767138"/>
          <p14:tracePt t="49476" x="7723188" y="3767138"/>
          <p14:tracePt t="49477" x="7727950" y="3767138"/>
          <p14:tracePt t="49479" x="7735888" y="3767138"/>
          <p14:tracePt t="49480" x="7739063" y="3767138"/>
          <p14:tracePt t="49481" x="7747000" y="3767138"/>
          <p14:tracePt t="49482" x="7754938" y="3767138"/>
          <p14:tracePt t="49483" x="7759700" y="3767138"/>
          <p14:tracePt t="49484" x="7767638" y="3767138"/>
          <p14:tracePt t="49485" x="7775575" y="3767138"/>
          <p14:tracePt t="49486" x="7783513" y="3759200"/>
          <p14:tracePt t="49487" x="7791450" y="3759200"/>
          <p14:tracePt t="49489" x="7799388" y="3759200"/>
          <p14:tracePt t="49489" x="7812088" y="3759200"/>
          <p14:tracePt t="49490" x="7820025" y="3759200"/>
          <p14:tracePt t="49491" x="7827963" y="3759200"/>
          <p14:tracePt t="49492" x="7839075" y="3759200"/>
          <p14:tracePt t="49493" x="7847013" y="3759200"/>
          <p14:tracePt t="49494" x="7854950" y="3759200"/>
          <p14:tracePt t="49495" x="7864475" y="3759200"/>
          <p14:tracePt t="49496" x="7880350" y="3759200"/>
          <p14:tracePt t="49497" x="7888288" y="3759200"/>
          <p14:tracePt t="49499" x="7896225" y="3759200"/>
          <p14:tracePt t="49499" x="7907338" y="3759200"/>
          <p14:tracePt t="49500" x="7915275" y="3759200"/>
          <p14:tracePt t="49501" x="7923213" y="3759200"/>
          <p14:tracePt t="49502" x="7939088" y="3759200"/>
          <p14:tracePt t="49503" x="7948613" y="3759200"/>
          <p14:tracePt t="49505" x="7959725" y="3759200"/>
          <p14:tracePt t="49506" x="7967663" y="3759200"/>
          <p14:tracePt t="49506" x="7975600" y="3759200"/>
          <p14:tracePt t="49507" x="7996238" y="3759200"/>
          <p14:tracePt t="49508" x="8004175" y="3759200"/>
          <p14:tracePt t="49509" x="8015288" y="3759200"/>
          <p14:tracePt t="49510" x="8023225" y="3759200"/>
          <p14:tracePt t="49511" x="8040688" y="3759200"/>
          <p14:tracePt t="49512" x="8059738" y="3759200"/>
          <p14:tracePt t="49513" x="8067675" y="3759200"/>
          <p14:tracePt t="49514" x="8080375" y="3759200"/>
          <p14:tracePt t="49515" x="8096250" y="3759200"/>
          <p14:tracePt t="49516" x="8107363" y="3763963"/>
          <p14:tracePt t="49517" x="8128000" y="3763963"/>
          <p14:tracePt t="49518" x="8140700" y="3763963"/>
          <p14:tracePt t="49519" x="8156575" y="3763963"/>
          <p14:tracePt t="49520" x="8167688" y="3767138"/>
          <p14:tracePt t="49522" x="8183563" y="3767138"/>
          <p14:tracePt t="49522" x="8199438" y="3767138"/>
          <p14:tracePt t="49523" x="8215313" y="3771900"/>
          <p14:tracePt t="49524" x="8228013" y="3771900"/>
          <p14:tracePt t="49525" x="8243888" y="3771900"/>
          <p14:tracePt t="49526" x="8264525" y="3775075"/>
          <p14:tracePt t="49527" x="8280400" y="3775075"/>
          <p14:tracePt t="49528" x="8296275" y="3779838"/>
          <p14:tracePt t="49529" x="8307388" y="3779838"/>
          <p14:tracePt t="49530" x="8324850" y="3779838"/>
          <p14:tracePt t="49531" x="8335963" y="3787775"/>
          <p14:tracePt t="49532" x="8364538" y="3787775"/>
          <p14:tracePt t="49533" x="8375650" y="3790950"/>
          <p14:tracePt t="49534" x="8391525" y="3790950"/>
          <p14:tracePt t="49535" x="8412163" y="3795713"/>
          <p14:tracePt t="49536" x="8424863" y="3795713"/>
          <p14:tracePt t="49537" x="8443913" y="3798888"/>
          <p14:tracePt t="49539" x="8456613" y="3798888"/>
          <p14:tracePt t="49540" x="8472488" y="3803650"/>
          <p14:tracePt t="49541" x="8483600" y="3803650"/>
          <p14:tracePt t="49542" x="8501063" y="3803650"/>
          <p14:tracePt t="49542" x="8524875" y="3811588"/>
          <p14:tracePt t="49543" x="8540750" y="3811588"/>
          <p14:tracePt t="49544" x="8551863" y="3811588"/>
          <p14:tracePt t="49546" x="8580438" y="3814763"/>
          <p14:tracePt t="49547" x="8601075" y="3819525"/>
          <p14:tracePt t="49548" x="8612188" y="3819525"/>
          <p14:tracePt t="49549" x="8628063" y="3822700"/>
          <p14:tracePt t="49550" x="8640763" y="3822700"/>
          <p14:tracePt t="49551" x="8656638" y="3827463"/>
          <p14:tracePt t="49552" x="8677275" y="3827463"/>
          <p14:tracePt t="49553" x="8688388" y="3835400"/>
          <p14:tracePt t="49555" x="8701088" y="3835400"/>
          <p14:tracePt t="49555" x="8716963" y="3835400"/>
          <p14:tracePt t="49557" x="8728075" y="3838575"/>
          <p14:tracePt t="49557" x="8748713" y="3838575"/>
          <p14:tracePt t="49558" x="8764588" y="3843338"/>
          <p14:tracePt t="49559" x="8772525" y="3843338"/>
          <p14:tracePt t="49560" x="8785225" y="3843338"/>
          <p14:tracePt t="49562" x="8801100" y="3848100"/>
          <p14:tracePt t="49562" x="8816975" y="3848100"/>
          <p14:tracePt t="49563" x="8832850" y="3848100"/>
          <p14:tracePt t="49564" x="8840788" y="3851275"/>
          <p14:tracePt t="49565" x="8853488" y="3851275"/>
          <p14:tracePt t="49566" x="8869363" y="3851275"/>
          <p14:tracePt t="49567" x="8888413" y="3851275"/>
          <p14:tracePt t="49568" x="8896350" y="3856038"/>
          <p14:tracePt t="49569" x="8909050" y="3856038"/>
          <p14:tracePt t="49570" x="8924925" y="3856038"/>
          <p14:tracePt t="49572" x="8932863" y="3856038"/>
          <p14:tracePt t="49573" x="8953500" y="3863975"/>
          <p14:tracePt t="49574" x="8964613" y="3863975"/>
          <p14:tracePt t="49574" x="8972550" y="3863975"/>
          <p14:tracePt t="49575" x="8988425" y="3863975"/>
          <p14:tracePt t="49577" x="9012238" y="3867150"/>
          <p14:tracePt t="49578" x="9028113" y="3867150"/>
          <p14:tracePt t="49579" x="9040813" y="3867150"/>
          <p14:tracePt t="49580" x="9048750" y="3867150"/>
          <p14:tracePt t="49581" x="9064625" y="3867150"/>
          <p14:tracePt t="49582" x="9077325" y="3867150"/>
          <p14:tracePt t="49583" x="9093200" y="3871913"/>
          <p14:tracePt t="49584" x="9101138" y="3871913"/>
          <p14:tracePt t="49585" x="9112250" y="3871913"/>
          <p14:tracePt t="49586" x="9120188" y="3871913"/>
          <p14:tracePt t="49588" x="9145588" y="3871913"/>
          <p14:tracePt t="49589" x="9156700" y="3871913"/>
          <p14:tracePt t="49590" x="9164638" y="3871913"/>
          <p14:tracePt t="49591" x="9172575" y="3871913"/>
          <p14:tracePt t="49592" x="9188450" y="3871913"/>
          <p14:tracePt t="49593" x="9201150" y="3871913"/>
          <p14:tracePt t="49594" x="9209088" y="3871913"/>
          <p14:tracePt t="49595" x="9217025" y="3871913"/>
          <p14:tracePt t="49596" x="9224963" y="3871913"/>
          <p14:tracePt t="49597" x="9232900" y="3871913"/>
          <p14:tracePt t="49598" x="9240838" y="3871913"/>
          <p14:tracePt t="49599" x="9248775" y="3871913"/>
          <p14:tracePt t="49600" x="9256713" y="3871913"/>
          <p14:tracePt t="49601" x="9264650" y="3871913"/>
          <p14:tracePt t="49602" x="9272588" y="3871913"/>
          <p14:tracePt t="49603" x="9280525" y="3871913"/>
          <p14:tracePt t="49605" x="9293225" y="3871913"/>
          <p14:tracePt t="49606" x="9296400" y="3871913"/>
          <p14:tracePt t="49607" x="9305925" y="3871913"/>
          <p14:tracePt t="49608" x="9313863" y="3867150"/>
          <p14:tracePt t="49609" x="9321800" y="3867150"/>
          <p14:tracePt t="49610" x="9324975" y="3867150"/>
          <p14:tracePt t="49611" x="9332913" y="3867150"/>
          <p14:tracePt t="49612" x="9345613" y="3863975"/>
          <p14:tracePt t="49614" x="9348788" y="3863975"/>
          <p14:tracePt t="49615" x="9356725" y="3863975"/>
          <p14:tracePt t="49616" x="9361488" y="3859213"/>
          <p14:tracePt t="49617" x="9364663" y="3859213"/>
          <p14:tracePt t="49618" x="9369425" y="3859213"/>
          <p14:tracePt t="49619" x="9372600" y="3859213"/>
          <p14:tracePt t="49621" x="9377363" y="3856038"/>
          <p14:tracePt t="49622" x="9380538" y="3856038"/>
          <p14:tracePt t="49624" x="9388475" y="3856038"/>
          <p14:tracePt t="49625" x="9388475" y="3851275"/>
          <p14:tracePt t="49625" x="9393238" y="3851275"/>
          <p14:tracePt t="49627" x="9398000" y="3848100"/>
          <p14:tracePt t="49628" x="9401175" y="3848100"/>
          <p14:tracePt t="49629" x="9405938" y="3843338"/>
          <p14:tracePt t="49631" x="9409113" y="3843338"/>
          <p14:tracePt t="49632" x="9409113" y="3838575"/>
          <p14:tracePt t="49633" x="9413875" y="3838575"/>
          <p14:tracePt t="49634" x="9417050" y="3838575"/>
          <p14:tracePt t="49639" x="9421813" y="3835400"/>
          <p14:tracePt t="49641" x="9424988" y="3835400"/>
          <p14:tracePt t="49643" x="9424988" y="3830638"/>
          <p14:tracePt t="49643" x="9429750" y="3830638"/>
          <p14:tracePt t="49651" x="9429750" y="3827463"/>
          <p14:tracePt t="49664" x="9432925" y="3827463"/>
          <p14:tracePt t="49733" x="9437688" y="3827463"/>
          <p14:tracePt t="49738" x="9440863" y="3827463"/>
          <p14:tracePt t="49740" x="9445625" y="3827463"/>
          <p14:tracePt t="49743" x="9448800" y="3827463"/>
          <p14:tracePt t="49744" x="9453563" y="3827463"/>
          <p14:tracePt t="49747" x="9456738" y="3827463"/>
          <p14:tracePt t="49749" x="9461500" y="3827463"/>
          <p14:tracePt t="49751" x="9464675" y="3827463"/>
          <p14:tracePt t="49752" x="9469438" y="3827463"/>
          <p14:tracePt t="49756" x="9472613" y="3827463"/>
          <p14:tracePt t="49757" x="9477375" y="3827463"/>
          <p14:tracePt t="49759" x="9480550" y="3822700"/>
          <p14:tracePt t="49761" x="9485313" y="3822700"/>
          <p14:tracePt t="49762" x="9490075" y="3822700"/>
          <p14:tracePt t="49764" x="9493250" y="3822700"/>
          <p14:tracePt t="49766" x="9501188" y="3819525"/>
          <p14:tracePt t="49768" x="9505950" y="3819525"/>
          <p14:tracePt t="49769" x="9509125" y="3819525"/>
          <p14:tracePt t="49771" x="9513888" y="3819525"/>
          <p14:tracePt t="49773" x="9517063" y="3814763"/>
          <p14:tracePt t="49774" x="9521825" y="3814763"/>
          <p14:tracePt t="49775" x="9525000" y="3814763"/>
          <p14:tracePt t="49776" x="9529763" y="3814763"/>
          <p14:tracePt t="49777" x="9532938" y="3814763"/>
          <p14:tracePt t="49778" x="9537700" y="3814763"/>
          <p14:tracePt t="49779" x="9540875" y="3814763"/>
          <p14:tracePt t="49781" x="9548813" y="3811588"/>
          <p14:tracePt t="49782" x="9553575" y="3811588"/>
          <p14:tracePt t="49783" x="9556750" y="3811588"/>
          <p14:tracePt t="49784" x="9561513" y="3811588"/>
          <p14:tracePt t="49785" x="9564688" y="3811588"/>
          <p14:tracePt t="49786" x="9569450" y="3806825"/>
          <p14:tracePt t="49788" x="9574213" y="3806825"/>
          <p14:tracePt t="49789" x="9577388" y="3806825"/>
          <p14:tracePt t="49790" x="9582150" y="3806825"/>
          <p14:tracePt t="49790" x="9585325" y="3806825"/>
          <p14:tracePt t="49792" x="9590088" y="3806825"/>
          <p14:tracePt t="49793" x="9593263" y="3806825"/>
          <p14:tracePt t="49795" x="9601200" y="3803650"/>
          <p14:tracePt t="49797" x="9609138" y="3803650"/>
          <p14:tracePt t="49797" x="9613900" y="3803650"/>
          <p14:tracePt t="49798" x="9617075" y="3798888"/>
          <p14:tracePt t="49799" x="9621838" y="3798888"/>
          <p14:tracePt t="49800" x="9625013" y="3798888"/>
          <p14:tracePt t="49801" x="9629775" y="3798888"/>
          <p14:tracePt t="49802" x="9632950" y="3798888"/>
          <p14:tracePt t="49803" x="9640888" y="3795713"/>
          <p14:tracePt t="49805" x="9645650" y="3795713"/>
          <p14:tracePt t="49806" x="9648825" y="3795713"/>
          <p14:tracePt t="49807" x="9653588" y="3795713"/>
          <p14:tracePt t="49808" x="9656763" y="3795713"/>
          <p14:tracePt t="49809" x="9661525" y="3795713"/>
          <p14:tracePt t="49810" x="9666288" y="3790950"/>
          <p14:tracePt t="49811" x="9669463" y="3790950"/>
          <p14:tracePt t="49812" x="9674225" y="3790950"/>
          <p14:tracePt t="49813" x="9677400" y="3790950"/>
          <p14:tracePt t="49814" x="9682163" y="3790950"/>
          <p14:tracePt t="49815" x="9685338" y="3790950"/>
          <p14:tracePt t="49816" x="9690100" y="3790950"/>
          <p14:tracePt t="49818" x="9693275" y="3787775"/>
          <p14:tracePt t="49820" x="9698038" y="3787775"/>
          <p14:tracePt t="49823" x="9701213" y="3787775"/>
          <p14:tracePt t="49823" x="9701213" y="3783013"/>
          <p14:tracePt t="49824" x="9705975" y="3783013"/>
          <p14:tracePt t="49826" x="9709150" y="3783013"/>
          <p14:tracePt t="49828" x="9713913" y="3783013"/>
          <p14:tracePt t="49831" x="9717088" y="3783013"/>
          <p14:tracePt t="49990" x="9713913" y="3783013"/>
          <p14:tracePt t="49999" x="9709150" y="3783013"/>
          <p14:tracePt t="50001" x="9705975" y="3783013"/>
          <p14:tracePt t="50004" x="9705975" y="3787775"/>
          <p14:tracePt t="50006" x="9701213" y="3787775"/>
          <p14:tracePt t="50011" x="9698038" y="3787775"/>
          <p14:tracePt t="50015" x="9693275" y="3787775"/>
          <p14:tracePt t="50018" x="9693275" y="3790950"/>
          <p14:tracePt t="50020" x="9690100" y="3790950"/>
          <p14:tracePt t="50023" x="9690100" y="3795713"/>
          <p14:tracePt t="50024" x="9685338" y="3795713"/>
          <p14:tracePt t="50035" x="9682163" y="3795713"/>
          <p14:tracePt t="50040" x="9677400" y="3795713"/>
          <p14:tracePt t="50049" x="9677400" y="3798888"/>
          <p14:tracePt t="50051" x="9674225" y="3798888"/>
          <p14:tracePt t="50056" x="9669463" y="3798888"/>
          <p14:tracePt t="50064" x="9666288" y="3798888"/>
          <p14:tracePt t="50071" x="9661525" y="3798888"/>
          <p14:tracePt t="50076" x="9661525" y="3803650"/>
          <p14:tracePt t="50079" x="9656763" y="3803650"/>
          <p14:tracePt t="50081" x="9653588" y="3803650"/>
          <p14:tracePt t="50087" x="9648825" y="3803650"/>
          <p14:tracePt t="50092" x="9645650" y="3803650"/>
          <p14:tracePt t="50096" x="9640888" y="3803650"/>
          <p14:tracePt t="50100" x="9637713" y="3803650"/>
          <p14:tracePt t="50103" x="9632950" y="3803650"/>
          <p14:tracePt t="50106" x="9629775" y="3803650"/>
          <p14:tracePt t="50111" x="9625013" y="3803650"/>
          <p14:tracePt t="50116" x="9621838" y="3803650"/>
          <p14:tracePt t="50122" x="9617075" y="3803650"/>
          <p14:tracePt t="50128" x="9613900" y="3803650"/>
          <p14:tracePt t="50181" x="9609138" y="3803650"/>
          <p14:tracePt t="50191" x="9605963" y="3803650"/>
          <p14:tracePt t="50197" x="9601200" y="3803650"/>
          <p14:tracePt t="50202" x="9598025" y="3803650"/>
          <p14:tracePt t="50213" x="9593263" y="3803650"/>
          <p14:tracePt t="50216" x="9590088" y="3803650"/>
          <p14:tracePt t="50220" x="9585325" y="3803650"/>
          <p14:tracePt t="50223" x="9582150" y="3803650"/>
          <p14:tracePt t="50225" x="9577388" y="3803650"/>
          <p14:tracePt t="50229" x="9574213" y="3803650"/>
          <p14:tracePt t="50234" x="9569450" y="3803650"/>
          <p14:tracePt t="50237" x="9564688" y="3803650"/>
          <p14:tracePt t="50240" x="9556750" y="3803650"/>
          <p14:tracePt t="50243" x="9553575" y="3803650"/>
          <p14:tracePt t="50245" x="9548813" y="3803650"/>
          <p14:tracePt t="50246" x="9545638" y="3803650"/>
          <p14:tracePt t="50248" x="9540875" y="3803650"/>
          <p14:tracePt t="50251" x="9532938" y="3803650"/>
          <p14:tracePt t="50253" x="9529763" y="3803650"/>
          <p14:tracePt t="50256" x="9525000" y="3803650"/>
          <p14:tracePt t="50258" x="9521825" y="3798888"/>
          <p14:tracePt t="50260" x="9517063" y="3798888"/>
          <p14:tracePt t="50261" x="9513888" y="3798888"/>
          <p14:tracePt t="50263" x="9509125" y="3798888"/>
          <p14:tracePt t="50264" x="9505950" y="3798888"/>
          <p14:tracePt t="50266" x="9501188" y="3798888"/>
          <p14:tracePt t="50267" x="9498013" y="3798888"/>
          <p14:tracePt t="50269" x="9493250" y="3798888"/>
          <p14:tracePt t="50270" x="9490075" y="3798888"/>
          <p14:tracePt t="50275" x="9485313" y="3798888"/>
          <p14:tracePt t="50277" x="9480550" y="3795713"/>
          <p14:tracePt t="50280" x="9477375" y="3795713"/>
          <p14:tracePt t="50281" x="9472613" y="3795713"/>
          <p14:tracePt t="50283" x="9469438" y="3795713"/>
          <p14:tracePt t="50285" x="9464675" y="3795713"/>
          <p14:tracePt t="50288" x="9461500" y="3795713"/>
          <p14:tracePt t="50291" x="9456738" y="3795713"/>
          <p14:tracePt t="50294" x="9453563" y="3795713"/>
          <p14:tracePt t="50297" x="9448800" y="3795713"/>
          <p14:tracePt t="50301" x="9445625" y="3795713"/>
          <p14:tracePt t="50304" x="9440863" y="3795713"/>
          <p14:tracePt t="50308" x="9437688" y="3795713"/>
          <p14:tracePt t="50310" x="9432925" y="3795713"/>
          <p14:tracePt t="50312" x="9429750" y="3795713"/>
          <p14:tracePt t="50313" x="9424988" y="3795713"/>
          <p14:tracePt t="50316" x="9421813" y="3795713"/>
          <p14:tracePt t="50321" x="9417050" y="3795713"/>
          <p14:tracePt t="50322" x="9417050" y="3790950"/>
          <p14:tracePt t="50323" x="9413875" y="3790950"/>
          <p14:tracePt t="50327" x="9409113" y="3790950"/>
          <p14:tracePt t="50331" x="9405938" y="3790950"/>
          <p14:tracePt t="50336" x="9401175" y="3790950"/>
          <p14:tracePt t="50338" x="9398000" y="3790950"/>
          <p14:tracePt t="50340" x="9393238" y="3790950"/>
          <p14:tracePt t="50342" x="9388475" y="3790950"/>
          <p14:tracePt t="50344" x="9385300" y="3790950"/>
          <p14:tracePt t="50349" x="9380538" y="3790950"/>
          <p14:tracePt t="50351" x="9377363" y="3790950"/>
          <p14:tracePt t="50353" x="9372600" y="3790950"/>
          <p14:tracePt t="50355" x="9369425" y="3790950"/>
          <p14:tracePt t="50362" x="9364663" y="3790950"/>
          <p14:tracePt t="50366" x="9361488" y="3790950"/>
          <p14:tracePt t="50368" x="9356725" y="3790950"/>
          <p14:tracePt t="50371" x="9353550" y="3790950"/>
          <p14:tracePt t="50375" x="9348788" y="3790950"/>
          <p14:tracePt t="50380" x="9345613" y="3790950"/>
          <p14:tracePt t="50382" x="9345613" y="3795713"/>
          <p14:tracePt t="50383" x="9340850" y="3795713"/>
          <p14:tracePt t="50386" x="9337675" y="3795713"/>
          <p14:tracePt t="50388" x="9332913" y="3795713"/>
          <p14:tracePt t="50395" x="9329738" y="3795713"/>
          <p14:tracePt t="50401" x="9324975" y="3795713"/>
          <p14:tracePt t="50416" x="9321800" y="3795713"/>
          <p14:tracePt t="50679" x="9321800" y="3798888"/>
          <p14:tracePt t="50686" x="9324975" y="3798888"/>
          <p14:tracePt t="50692" x="9324975" y="3803650"/>
          <p14:tracePt t="50694" x="9329738" y="3803650"/>
          <p14:tracePt t="50696" x="9332913" y="3803650"/>
          <p14:tracePt t="50698" x="9337675" y="3803650"/>
          <p14:tracePt t="50699" x="9340850" y="3806825"/>
          <p14:tracePt t="50702" x="9345613" y="3811588"/>
          <p14:tracePt t="50705" x="9353550" y="3814763"/>
          <p14:tracePt t="50706" x="9356725" y="3814763"/>
          <p14:tracePt t="50708" x="9361488" y="3814763"/>
          <p14:tracePt t="50710" x="9364663" y="3814763"/>
          <p14:tracePt t="50714" x="9369425" y="3814763"/>
          <p14:tracePt t="50715" x="9372600" y="3814763"/>
          <p14:tracePt t="50716" x="9372600" y="3819525"/>
          <p14:tracePt t="50717" x="9377363" y="3819525"/>
          <p14:tracePt t="50719" x="9380538" y="3819525"/>
          <p14:tracePt t="50720" x="9380538" y="3822700"/>
          <p14:tracePt t="50721" x="9385300" y="3822700"/>
          <p14:tracePt t="50722" x="9388475" y="3822700"/>
          <p14:tracePt t="50726" x="9393238" y="3822700"/>
          <p14:tracePt t="50728" x="9393238" y="3827463"/>
          <p14:tracePt t="50729" x="9398000" y="3827463"/>
          <p14:tracePt t="50733" x="9401175" y="3827463"/>
          <p14:tracePt t="50736" x="9405938" y="3827463"/>
          <p14:tracePt t="50744" x="9409113" y="3827463"/>
          <p14:tracePt t="50746" x="9409113" y="3830638"/>
          <p14:tracePt t="50748" x="9413875" y="3830638"/>
          <p14:tracePt t="50751" x="9417050" y="3830638"/>
          <p14:tracePt t="50755" x="9421813" y="3830638"/>
          <p14:tracePt t="50759" x="9424988" y="3830638"/>
          <p14:tracePt t="50761" x="9429750" y="3830638"/>
          <p14:tracePt t="50763" x="9429750" y="3835400"/>
          <p14:tracePt t="50767" x="9432925" y="3835400"/>
          <p14:tracePt t="50773" x="9437688" y="3835400"/>
          <p14:tracePt t="50784" x="9440863" y="3835400"/>
          <p14:tracePt t="50798" x="9445625" y="3835400"/>
          <p14:tracePt t="50815" x="9448800" y="3835400"/>
          <p14:tracePt t="50819" x="9453563" y="3835400"/>
          <p14:tracePt t="50821" x="9456738" y="3835400"/>
          <p14:tracePt t="50823" x="9464675" y="3835400"/>
          <p14:tracePt t="50825" x="9469438" y="3835400"/>
          <p14:tracePt t="50827" x="9472613" y="3835400"/>
          <p14:tracePt t="50828" x="9477375" y="3835400"/>
          <p14:tracePt t="50829" x="9480550" y="3835400"/>
          <p14:tracePt t="50830" x="9485313" y="3835400"/>
          <p14:tracePt t="50831" x="9490075" y="3835400"/>
          <p14:tracePt t="50832" x="9493250" y="3835400"/>
          <p14:tracePt t="50833" x="9498013" y="3835400"/>
          <p14:tracePt t="50835" x="9501188" y="3835400"/>
          <p14:tracePt t="50836" x="9505950" y="3835400"/>
          <p14:tracePt t="50837" x="9509125" y="3835400"/>
          <p14:tracePt t="50839" x="9513888" y="3835400"/>
          <p14:tracePt t="50839" x="9517063" y="3835400"/>
          <p14:tracePt t="50841" x="9521825" y="3835400"/>
          <p14:tracePt t="50841" x="9525000" y="3835400"/>
          <p14:tracePt t="50845" x="9529763" y="3835400"/>
          <p14:tracePt t="50845" x="9532938" y="3835400"/>
          <p14:tracePt t="50846" x="9537700" y="3835400"/>
          <p14:tracePt t="50849" x="9540875" y="3835400"/>
          <p14:tracePt t="50850" x="9545638" y="3835400"/>
          <p14:tracePt t="50851" x="9548813" y="3835400"/>
          <p14:tracePt t="50851" x="9553575" y="3835400"/>
          <p14:tracePt t="50852" x="9556750" y="3835400"/>
          <p14:tracePt t="50853" x="9561513" y="3835400"/>
          <p14:tracePt t="50855" x="9564688" y="3835400"/>
          <p14:tracePt t="50857" x="9569450" y="3835400"/>
          <p14:tracePt t="50859" x="9574213" y="3835400"/>
          <p14:tracePt t="50859" x="9577388" y="3835400"/>
          <p14:tracePt t="50860" x="9582150" y="3835400"/>
          <p14:tracePt t="50862" x="9590088" y="3835400"/>
          <p14:tracePt t="50864" x="9593263" y="3835400"/>
          <p14:tracePt t="50865" x="9598025" y="3835400"/>
          <p14:tracePt t="50866" x="9601200" y="3835400"/>
          <p14:tracePt t="50867" x="9605963" y="3835400"/>
          <p14:tracePt t="50869" x="9609138" y="3835400"/>
          <p14:tracePt t="50872" x="9613900" y="3835400"/>
          <p14:tracePt t="50874" x="9617075" y="3835400"/>
          <p14:tracePt t="50875" x="9621838" y="3835400"/>
          <p14:tracePt t="50879" x="9625013" y="3835400"/>
          <p14:tracePt t="50881" x="9629775" y="3835400"/>
          <p14:tracePt t="50889" x="9632950" y="3830638"/>
          <p14:tracePt t="50922" x="9637713" y="3830638"/>
          <p14:tracePt t="50928" x="9637713" y="3827463"/>
          <p14:tracePt t="51076" x="9640888" y="3827463"/>
          <p14:tracePt t="51082" x="9645650" y="3827463"/>
          <p14:tracePt t="51089" x="9648825" y="3822700"/>
          <p14:tracePt t="51101" x="9648825" y="3819525"/>
          <p14:tracePt t="51102" x="9653588" y="3819525"/>
          <p14:tracePt t="51114" x="9653588" y="3814763"/>
          <p14:tracePt t="51127" x="9656763" y="3814763"/>
          <p14:tracePt t="51133" x="9656763" y="3811588"/>
          <p14:tracePt t="51467" x="9656763" y="3814763"/>
          <p14:tracePt t="51542" x="9656763" y="3819525"/>
          <p14:tracePt t="51554" x="9653588" y="3819525"/>
          <p14:tracePt t="51555" x="9653588" y="3822700"/>
          <p14:tracePt t="51564" x="9653588" y="3827463"/>
          <p14:tracePt t="51564" x="9648825" y="3827463"/>
          <p14:tracePt t="51572" x="9648825" y="3830638"/>
          <p14:tracePt t="51572" x="9645650" y="3830638"/>
          <p14:tracePt t="51576" x="9645650" y="3835400"/>
          <p14:tracePt t="51577" x="9640888" y="3835400"/>
          <p14:tracePt t="51578" x="9637713" y="3838575"/>
          <p14:tracePt t="51582" x="9632950" y="3843338"/>
          <p14:tracePt t="51582" x="9632950" y="3848100"/>
          <p14:tracePt t="51583" x="9629775" y="3848100"/>
          <p14:tracePt t="51585" x="9629775" y="3851275"/>
          <p14:tracePt t="51587" x="9625013" y="3851275"/>
          <p14:tracePt t="51587" x="9625013" y="3856038"/>
          <p14:tracePt t="51589" x="9621838" y="3856038"/>
          <p14:tracePt t="51591" x="9617075" y="3856038"/>
          <p14:tracePt t="51596" x="9617075" y="3859213"/>
          <p14:tracePt t="51601" x="9613900" y="3859213"/>
          <p14:tracePt t="51602" x="9613900" y="3863975"/>
          <p14:tracePt t="51608" x="9613900" y="3867150"/>
          <p14:tracePt t="51613" x="9609138" y="3867150"/>
          <p14:tracePt t="51619" x="9609138" y="3871913"/>
          <p14:tracePt t="51639" x="9605963" y="3871913"/>
          <p14:tracePt t="51646" x="9601200" y="3871913"/>
          <p14:tracePt t="51648" x="9601200" y="3875088"/>
          <p14:tracePt t="51652" x="9598025" y="3875088"/>
          <p14:tracePt t="51653" x="9598025" y="3879850"/>
          <p14:tracePt t="51658" x="9593263" y="3879850"/>
          <p14:tracePt t="51658" x="9593263" y="3883025"/>
          <p14:tracePt t="51660" x="9590088" y="3887788"/>
          <p14:tracePt t="51662" x="9585325" y="3887788"/>
          <p14:tracePt t="51662" x="9585325" y="3890963"/>
          <p14:tracePt t="51663" x="9582150" y="3890963"/>
          <p14:tracePt t="51665" x="9577388" y="3895725"/>
          <p14:tracePt t="51666" x="9569450" y="3898900"/>
          <p14:tracePt t="51667" x="9564688" y="3898900"/>
          <p14:tracePt t="51668" x="9561513" y="3903663"/>
          <p14:tracePt t="51670" x="9556750" y="3903663"/>
          <p14:tracePt t="51670" x="9553575" y="3903663"/>
          <p14:tracePt t="51672" x="9548813" y="3903663"/>
          <p14:tracePt t="51673" x="9545638" y="3906838"/>
          <p14:tracePt t="51673" x="9540875" y="3906838"/>
          <p14:tracePt t="51674" x="9537700" y="3911600"/>
          <p14:tracePt t="51675" x="9532938" y="3911600"/>
          <p14:tracePt t="51676" x="9529763" y="3911600"/>
          <p14:tracePt t="51677" x="9529763" y="3914775"/>
          <p14:tracePt t="51678" x="9525000" y="3914775"/>
          <p14:tracePt t="51679" x="9521825" y="3914775"/>
          <p14:tracePt t="51681" x="9517063" y="3919538"/>
          <p14:tracePt t="51683" x="9513888" y="3919538"/>
          <p14:tracePt t="51683" x="9509125" y="3919538"/>
          <p14:tracePt t="51686" x="9505950" y="3919538"/>
          <p14:tracePt t="56939" x="9505950" y="3922713"/>
          <p14:tracePt t="57597" x="9501188" y="3922713"/>
          <p14:tracePt t="57599" x="9498013" y="3922713"/>
          <p14:tracePt t="57601" x="9493250" y="3922713"/>
          <p14:tracePt t="57603" x="9490075" y="3922713"/>
          <p14:tracePt t="57604" x="9485313" y="3922713"/>
          <p14:tracePt t="57605" x="9480550" y="3922713"/>
          <p14:tracePt t="57607" x="9464675" y="3922713"/>
          <p14:tracePt t="57608" x="9453563" y="3922713"/>
          <p14:tracePt t="57609" x="9445625" y="3922713"/>
          <p14:tracePt t="57612" x="9421813" y="3927475"/>
          <p14:tracePt t="57613" x="9413875" y="3927475"/>
          <p14:tracePt t="57614" x="9405938" y="3927475"/>
          <p14:tracePt t="57615" x="9393238" y="3927475"/>
          <p14:tracePt t="57615" x="9385300" y="3930650"/>
          <p14:tracePt t="57616" x="9369425" y="3930650"/>
          <p14:tracePt t="57617" x="9356725" y="3935413"/>
          <p14:tracePt t="57618" x="9348788" y="3935413"/>
          <p14:tracePt t="57619" x="9332913" y="3935413"/>
          <p14:tracePt t="57620" x="9321800" y="3940175"/>
          <p14:tracePt t="57622" x="9305925" y="3940175"/>
          <p14:tracePt t="57623" x="9296400" y="3940175"/>
          <p14:tracePt t="57624" x="9277350" y="3948113"/>
          <p14:tracePt t="57626" x="9269413" y="3948113"/>
          <p14:tracePt t="57626" x="9253538" y="3948113"/>
          <p14:tracePt t="57627" x="9245600" y="3951288"/>
          <p14:tracePt t="57628" x="9237663" y="3951288"/>
          <p14:tracePt t="57629" x="9229725" y="3956050"/>
          <p14:tracePt t="57630" x="9221788" y="3956050"/>
          <p14:tracePt t="57631" x="9213850" y="3956050"/>
          <p14:tracePt t="57632" x="9209088" y="3959225"/>
          <p14:tracePt t="57633" x="9201150" y="3959225"/>
          <p14:tracePt t="57634" x="9193213" y="3963988"/>
          <p14:tracePt t="57635" x="9188450" y="3963988"/>
          <p14:tracePt t="57636" x="9180513" y="3963988"/>
          <p14:tracePt t="57637" x="9177338" y="3967163"/>
          <p14:tracePt t="57639" x="9172575" y="3967163"/>
          <p14:tracePt t="57640" x="9169400" y="3967163"/>
          <p14:tracePt t="57641" x="9161463" y="3967163"/>
          <p14:tracePt t="57642" x="9161463" y="3971925"/>
          <p14:tracePt t="57642" x="9156700" y="3971925"/>
          <p14:tracePt t="57643" x="9153525" y="3971925"/>
          <p14:tracePt t="57645" x="9148763" y="3971925"/>
          <p14:tracePt t="57649" x="9145588" y="3971925"/>
          <p14:tracePt t="57653" x="9140825" y="3971925"/>
          <p14:tracePt t="57762" x="9137650" y="3967163"/>
          <p14:tracePt t="57763" x="9137650" y="3963988"/>
          <p14:tracePt t="57766" x="9132888" y="3956050"/>
          <p14:tracePt t="57767" x="9132888" y="3948113"/>
          <p14:tracePt t="57769" x="9129713" y="3948113"/>
          <p14:tracePt t="57770" x="9129713" y="3943350"/>
          <p14:tracePt t="57771" x="9129713" y="3940175"/>
          <p14:tracePt t="57772" x="9124950" y="3940175"/>
          <p14:tracePt t="57773" x="9124950" y="3935413"/>
          <p14:tracePt t="57775" x="9124950" y="3927475"/>
          <p14:tracePt t="57776" x="9124950" y="3922713"/>
          <p14:tracePt t="57777" x="9124950" y="3919538"/>
          <p14:tracePt t="57778" x="9124950" y="3914775"/>
          <p14:tracePt t="57780" x="9124950" y="3911600"/>
          <p14:tracePt t="57782" x="9124950" y="3906838"/>
          <p14:tracePt t="57929" x="9120188" y="3906838"/>
          <p14:tracePt t="57964" x="9117013" y="3906838"/>
          <p14:tracePt t="57969" x="9112250" y="3906838"/>
          <p14:tracePt t="57972" x="9109075" y="3906838"/>
          <p14:tracePt t="57974" x="9104313" y="3906838"/>
          <p14:tracePt t="57978" x="9101138" y="3906838"/>
          <p14:tracePt t="58003" x="9096375" y="3906838"/>
          <p14:tracePt t="58006" x="9093200" y="3906838"/>
          <p14:tracePt t="58007" x="9088438" y="3906838"/>
          <p14:tracePt t="58008" x="9085263" y="3906838"/>
          <p14:tracePt t="58009" x="9080500" y="3906838"/>
          <p14:tracePt t="58010" x="9077325" y="3906838"/>
          <p14:tracePt t="58011" x="9069388" y="3906838"/>
          <p14:tracePt t="58013" x="9061450" y="3906838"/>
          <p14:tracePt t="58013" x="9053513" y="3906838"/>
          <p14:tracePt t="58015" x="9048750" y="3903663"/>
          <p14:tracePt t="58015" x="9040813" y="3903663"/>
          <p14:tracePt t="58016" x="9032875" y="3903663"/>
          <p14:tracePt t="58017" x="9024938" y="3903663"/>
          <p14:tracePt t="58018" x="9017000" y="3903663"/>
          <p14:tracePt t="58019" x="9009063" y="3903663"/>
          <p14:tracePt t="58020" x="9001125" y="3903663"/>
          <p14:tracePt t="58021" x="8993188" y="3903663"/>
          <p14:tracePt t="58023" x="8980488" y="3903663"/>
          <p14:tracePt t="58024" x="8972550" y="3903663"/>
          <p14:tracePt t="58025" x="8964613" y="3903663"/>
          <p14:tracePt t="58026" x="8956675" y="3903663"/>
          <p14:tracePt t="58027" x="8948738" y="3903663"/>
          <p14:tracePt t="58028" x="8932863" y="3903663"/>
          <p14:tracePt t="58029" x="8920163" y="3903663"/>
          <p14:tracePt t="58031" x="8904288" y="3903663"/>
          <p14:tracePt t="58032" x="8888413" y="3903663"/>
          <p14:tracePt t="58032" x="8877300" y="3903663"/>
          <p14:tracePt t="58033" x="8861425" y="3903663"/>
          <p14:tracePt t="58034" x="8853488" y="3903663"/>
          <p14:tracePt t="58035" x="8843963" y="3903663"/>
          <p14:tracePt t="58036" x="8832850" y="3903663"/>
          <p14:tracePt t="58037" x="8816975" y="3903663"/>
          <p14:tracePt t="58039" x="8809038" y="3903663"/>
          <p14:tracePt t="58040" x="8796338" y="3903663"/>
          <p14:tracePt t="58040" x="8788400" y="3903663"/>
          <p14:tracePt t="58042" x="8780463" y="3903663"/>
          <p14:tracePt t="58042" x="8764588" y="3903663"/>
          <p14:tracePt t="58044" x="8751888" y="3903663"/>
          <p14:tracePt t="58045" x="8743950" y="3903663"/>
          <p14:tracePt t="58045" x="8736013" y="3903663"/>
          <p14:tracePt t="58046" x="8728075" y="3903663"/>
          <p14:tracePt t="58047" x="8712200" y="3903663"/>
          <p14:tracePt t="58048" x="8704263" y="3903663"/>
          <p14:tracePt t="58049" x="8693150" y="3911600"/>
          <p14:tracePt t="58050" x="8685213" y="3911600"/>
          <p14:tracePt t="58051" x="8677275" y="3911600"/>
          <p14:tracePt t="58052" x="8659813" y="3911600"/>
          <p14:tracePt t="58053" x="8651875" y="3914775"/>
          <p14:tracePt t="58054" x="8643938" y="3914775"/>
          <p14:tracePt t="58055" x="8640763" y="3914775"/>
          <p14:tracePt t="58056" x="8632825" y="3919538"/>
          <p14:tracePt t="58057" x="8620125" y="3919538"/>
          <p14:tracePt t="58059" x="8612188" y="3922713"/>
          <p14:tracePt t="58061" x="8593138" y="3922713"/>
          <p14:tracePt t="58062" x="8585200" y="3922713"/>
          <p14:tracePt t="58062" x="8575675" y="3927475"/>
          <p14:tracePt t="58063" x="8567738" y="3927475"/>
          <p14:tracePt t="58064" x="8559800" y="3927475"/>
          <p14:tracePt t="58065" x="8551863" y="3930650"/>
          <p14:tracePt t="58066" x="8548688" y="3930650"/>
          <p14:tracePt t="58067" x="8535988" y="3935413"/>
          <p14:tracePt t="58068" x="8528050" y="3935413"/>
          <p14:tracePt t="58069" x="8520113" y="3935413"/>
          <p14:tracePt t="58070" x="8512175" y="3940175"/>
          <p14:tracePt t="58071" x="8504238" y="3940175"/>
          <p14:tracePt t="58072" x="8493125" y="3943350"/>
          <p14:tracePt t="58074" x="8483600" y="3943350"/>
          <p14:tracePt t="58074" x="8475663" y="3943350"/>
          <p14:tracePt t="58075" x="8467725" y="3943350"/>
          <p14:tracePt t="58078" x="8448675" y="3948113"/>
          <p14:tracePt t="58078" x="8435975" y="3951288"/>
          <p14:tracePt t="58079" x="8428038" y="3951288"/>
          <p14:tracePt t="58080" x="8420100" y="3951288"/>
          <p14:tracePt t="58081" x="8412163" y="3959225"/>
          <p14:tracePt t="58082" x="8401050" y="3959225"/>
          <p14:tracePt t="58083" x="8391525" y="3959225"/>
          <p14:tracePt t="58084" x="8383588" y="3959225"/>
          <p14:tracePt t="58085" x="8372475" y="3963988"/>
          <p14:tracePt t="58086" x="8364538" y="3963988"/>
          <p14:tracePt t="58087" x="8351838" y="3967163"/>
          <p14:tracePt t="58089" x="8343900" y="3967163"/>
          <p14:tracePt t="58090" x="8335963" y="3971925"/>
          <p14:tracePt t="58091" x="8324850" y="3975100"/>
          <p14:tracePt t="58092" x="8316913" y="3975100"/>
          <p14:tracePt t="58092" x="8304213" y="3979863"/>
          <p14:tracePt t="58093" x="8296275" y="3979863"/>
          <p14:tracePt t="58094" x="8288338" y="3979863"/>
          <p14:tracePt t="58095" x="8272463" y="3979863"/>
          <p14:tracePt t="58096" x="8264525" y="3983038"/>
          <p14:tracePt t="58097" x="8251825" y="3983038"/>
          <p14:tracePt t="58098" x="8243888" y="3983038"/>
          <p14:tracePt t="58099" x="8235950" y="3983038"/>
          <p14:tracePt t="58100" x="8228013" y="3983038"/>
          <p14:tracePt t="58101" x="8215313" y="3987800"/>
          <p14:tracePt t="58103" x="8204200" y="3987800"/>
          <p14:tracePt t="58103" x="8196263" y="3990975"/>
          <p14:tracePt t="58104" x="8188325" y="3990975"/>
          <p14:tracePt t="58105" x="8172450" y="3990975"/>
          <p14:tracePt t="58108" x="8143875" y="4003675"/>
          <p14:tracePt t="58109" x="8135938" y="4003675"/>
          <p14:tracePt t="58110" x="8128000" y="4003675"/>
          <p14:tracePt t="58111" x="8115300" y="4006850"/>
          <p14:tracePt t="58112" x="8104188" y="4006850"/>
          <p14:tracePt t="58113" x="8088313" y="4011613"/>
          <p14:tracePt t="58114" x="8080375" y="4011613"/>
          <p14:tracePt t="58115" x="8072438" y="4014788"/>
          <p14:tracePt t="58116" x="8059738" y="4014788"/>
          <p14:tracePt t="58117" x="8051800" y="4014788"/>
          <p14:tracePt t="58118" x="8035925" y="4019550"/>
          <p14:tracePt t="58119" x="8027988" y="4019550"/>
          <p14:tracePt t="58120" x="8015288" y="4019550"/>
          <p14:tracePt t="58121" x="8007350" y="4024313"/>
          <p14:tracePt t="58123" x="7991475" y="4024313"/>
          <p14:tracePt t="58125" x="7959725" y="4035425"/>
          <p14:tracePt t="58126" x="7951788" y="4035425"/>
          <p14:tracePt t="58127" x="7939088" y="4040188"/>
          <p14:tracePt t="58128" x="7931150" y="4040188"/>
          <p14:tracePt t="58129" x="7923213" y="4040188"/>
          <p14:tracePt t="58130" x="7915275" y="4040188"/>
          <p14:tracePt t="58131" x="7907338" y="4043363"/>
          <p14:tracePt t="58132" x="7891463" y="4043363"/>
          <p14:tracePt t="58133" x="7883525" y="4048125"/>
          <p14:tracePt t="58134" x="7875588" y="4048125"/>
          <p14:tracePt t="58135" x="7867650" y="4048125"/>
          <p14:tracePt t="58136" x="7851775" y="4051300"/>
          <p14:tracePt t="58137" x="7843838" y="4051300"/>
          <p14:tracePt t="58139" x="7831138" y="4051300"/>
          <p14:tracePt t="58139" x="7823200" y="4056063"/>
          <p14:tracePt t="58141" x="7815263" y="4056063"/>
          <p14:tracePt t="58141" x="7804150" y="4059238"/>
          <p14:tracePt t="58142" x="7791450" y="4059238"/>
          <p14:tracePt t="58144" x="7783513" y="4064000"/>
          <p14:tracePt t="58144" x="7767638" y="4064000"/>
          <p14:tracePt t="58145" x="7759700" y="4064000"/>
          <p14:tracePt t="58147" x="7751763" y="4064000"/>
          <p14:tracePt t="58147" x="7739063" y="4071938"/>
          <p14:tracePt t="58149" x="7723188" y="4071938"/>
          <p14:tracePt t="58149" x="7715250" y="4075113"/>
          <p14:tracePt t="58150" x="7707313" y="4075113"/>
          <p14:tracePt t="58151" x="7696200" y="4075113"/>
          <p14:tracePt t="58152" x="7680325" y="4079875"/>
          <p14:tracePt t="58154" x="7670800" y="4079875"/>
          <p14:tracePt t="58155" x="7659688" y="4083050"/>
          <p14:tracePt t="58156" x="7651750" y="4083050"/>
          <p14:tracePt t="58157" x="7635875" y="4087813"/>
          <p14:tracePt t="58158" x="7627938" y="4087813"/>
          <p14:tracePt t="58159" x="7615238" y="4087813"/>
          <p14:tracePt t="58159" x="7599363" y="4090988"/>
          <p14:tracePt t="58160" x="7591425" y="4090988"/>
          <p14:tracePt t="58162" x="7578725" y="4090988"/>
          <p14:tracePt t="58162" x="7562850" y="4098925"/>
          <p14:tracePt t="58163" x="7551738" y="4098925"/>
          <p14:tracePt t="58164" x="7543800" y="4098925"/>
          <p14:tracePt t="58165" x="7527925" y="4103688"/>
          <p14:tracePt t="58166" x="7515225" y="4103688"/>
          <p14:tracePt t="58167" x="7507288" y="4106863"/>
          <p14:tracePt t="58168" x="7486650" y="4106863"/>
          <p14:tracePt t="58169" x="7470775" y="4111625"/>
          <p14:tracePt t="58171" x="7462838" y="4111625"/>
          <p14:tracePt t="58171" x="7451725" y="4111625"/>
          <p14:tracePt t="58173" x="7431088" y="4116388"/>
          <p14:tracePt t="58174" x="7423150" y="4116388"/>
          <p14:tracePt t="58174" x="7407275" y="4116388"/>
          <p14:tracePt t="58175" x="7394575" y="4116388"/>
          <p14:tracePt t="58176" x="7383463" y="4116388"/>
          <p14:tracePt t="58177" x="7375525" y="4116388"/>
          <p14:tracePt t="58178" x="7354888" y="4119563"/>
          <p14:tracePt t="58179" x="7339013" y="4119563"/>
          <p14:tracePt t="58180" x="7327900" y="4127500"/>
          <p14:tracePt t="58181" x="7310438" y="4127500"/>
          <p14:tracePt t="58182" x="7291388" y="4132263"/>
          <p14:tracePt t="58183" x="7278688" y="4132263"/>
          <p14:tracePt t="58184" x="7262813" y="4135438"/>
          <p14:tracePt t="58185" x="7246938" y="4135438"/>
          <p14:tracePt t="58186" x="7231063" y="4135438"/>
          <p14:tracePt t="58187" x="7218363" y="4140200"/>
          <p14:tracePt t="58189" x="7191375" y="4140200"/>
          <p14:tracePt t="58190" x="7178675" y="4140200"/>
          <p14:tracePt t="58191" x="7159625" y="4143375"/>
          <p14:tracePt t="58192" x="7146925" y="4143375"/>
          <p14:tracePt t="58192" x="7118350" y="4151313"/>
          <p14:tracePt t="58194" x="7107238" y="4151313"/>
          <p14:tracePt t="58194" x="7086600" y="4151313"/>
          <p14:tracePt t="58196" x="7067550" y="4156075"/>
          <p14:tracePt t="58196" x="7046913" y="4156075"/>
          <p14:tracePt t="58197" x="7026275" y="4156075"/>
          <p14:tracePt t="58198" x="7002463" y="4159250"/>
          <p14:tracePt t="58199" x="6983413" y="4159250"/>
          <p14:tracePt t="58200" x="6962775" y="4159250"/>
          <p14:tracePt t="58202" x="6942138" y="4159250"/>
          <p14:tracePt t="58202" x="6926263" y="4164013"/>
          <p14:tracePt t="58203" x="6899275" y="4164013"/>
          <p14:tracePt t="58204" x="6878638" y="4164013"/>
          <p14:tracePt t="58205" x="6854825" y="4164013"/>
          <p14:tracePt t="58207" x="6834188" y="4171950"/>
          <p14:tracePt t="58207" x="6815138" y="4171950"/>
          <p14:tracePt t="58209" x="6783388" y="4171950"/>
          <p14:tracePt t="58210" x="6762750" y="4171950"/>
          <p14:tracePt t="58211" x="6738938" y="4171950"/>
          <p14:tracePt t="58211" x="6718300" y="4171950"/>
          <p14:tracePt t="58212" x="6686550" y="4171950"/>
          <p14:tracePt t="58213" x="6665913" y="4171950"/>
          <p14:tracePt t="58214" x="6642100" y="4171950"/>
          <p14:tracePt t="58215" x="6623050" y="4171950"/>
          <p14:tracePt t="58216" x="6599238" y="4171950"/>
          <p14:tracePt t="58218" x="6546850" y="4171950"/>
          <p14:tracePt t="58219" x="6518275" y="4171950"/>
          <p14:tracePt t="58220" x="6497638" y="4171950"/>
          <p14:tracePt t="58221" x="6473825" y="4171950"/>
          <p14:tracePt t="58223" x="6454775" y="4171950"/>
          <p14:tracePt t="58224" x="6423025" y="4171950"/>
          <p14:tracePt t="58224" x="6394450" y="4171950"/>
          <p14:tracePt t="58225" x="6370638" y="4171950"/>
          <p14:tracePt t="58226" x="6350000" y="4171950"/>
          <p14:tracePt t="58227" x="6326188" y="4171950"/>
          <p14:tracePt t="58228" x="6289675" y="4171950"/>
          <p14:tracePt t="58229" x="6270625" y="4171950"/>
          <p14:tracePt t="58230" x="6246813" y="4171950"/>
          <p14:tracePt t="58231" x="6226175" y="4167188"/>
          <p14:tracePt t="58233" x="6197600" y="4167188"/>
          <p14:tracePt t="58233" x="6165850" y="4167188"/>
          <p14:tracePt t="58234" x="6146800" y="4164013"/>
          <p14:tracePt t="58235" x="6126163" y="4164013"/>
          <p14:tracePt t="58236" x="6097588" y="4164013"/>
          <p14:tracePt t="58237" x="6081713" y="4159250"/>
          <p14:tracePt t="58239" x="6045200" y="4159250"/>
          <p14:tracePt t="58240" x="6026150" y="4159250"/>
          <p14:tracePt t="58241" x="6005513" y="4156075"/>
          <p14:tracePt t="58242" x="5986463" y="4156075"/>
          <p14:tracePt t="58242" x="5970588" y="4156075"/>
          <p14:tracePt t="58244" x="5934075" y="4148138"/>
          <p14:tracePt t="58244" x="5918200" y="4148138"/>
          <p14:tracePt t="58245" x="5897563" y="4148138"/>
          <p14:tracePt t="58246" x="5881688" y="4143375"/>
          <p14:tracePt t="58248" x="5861050" y="4143375"/>
          <p14:tracePt t="58249" x="5837238" y="4140200"/>
          <p14:tracePt t="58249" x="5818188" y="4140200"/>
          <p14:tracePt t="58250" x="5797550" y="4135438"/>
          <p14:tracePt t="58251" x="5786438" y="4135438"/>
          <p14:tracePt t="58252" x="5765800" y="4127500"/>
          <p14:tracePt t="58253" x="5737225" y="4127500"/>
          <p14:tracePt t="58254" x="5718175" y="4127500"/>
          <p14:tracePt t="58256" x="5705475" y="4124325"/>
          <p14:tracePt t="58257" x="5684838" y="4124325"/>
          <p14:tracePt t="58257" x="5673725" y="4119563"/>
          <p14:tracePt t="58258" x="5645150" y="4116388"/>
          <p14:tracePt t="58259" x="5634038" y="4116388"/>
          <p14:tracePt t="58260" x="5618163" y="4111625"/>
          <p14:tracePt t="58261" x="5597525" y="4111625"/>
          <p14:tracePt t="58262" x="5584825" y="4103688"/>
          <p14:tracePt t="58264" x="5565775" y="4103688"/>
          <p14:tracePt t="58264" x="5545138" y="4098925"/>
          <p14:tracePt t="58265" x="5534025" y="4098925"/>
          <p14:tracePt t="58266" x="5518150" y="4095750"/>
          <p14:tracePt t="58267" x="5505450" y="4095750"/>
          <p14:tracePt t="58268" x="5484813" y="4090988"/>
          <p14:tracePt t="58269" x="5468938" y="4087813"/>
          <p14:tracePt t="58270" x="5461000" y="4087813"/>
          <p14:tracePt t="58271" x="5449888" y="4079875"/>
          <p14:tracePt t="58273" x="5434013" y="4079875"/>
          <p14:tracePt t="58273" x="5421313" y="4075113"/>
          <p14:tracePt t="58275" x="5405438" y="4075113"/>
          <p14:tracePt t="58275" x="5397500" y="4075113"/>
          <p14:tracePt t="58277" x="5384800" y="4071938"/>
          <p14:tracePt t="58278" x="5376863" y="4067175"/>
          <p14:tracePt t="58278" x="5360988" y="4067175"/>
          <p14:tracePt t="58279" x="5349875" y="4064000"/>
          <p14:tracePt t="58280" x="5341938" y="4064000"/>
          <p14:tracePt t="58281" x="5334000" y="4064000"/>
          <p14:tracePt t="58282" x="5321300" y="4059238"/>
          <p14:tracePt t="58283" x="5308600" y="4059238"/>
          <p14:tracePt t="58284" x="5300663" y="4056063"/>
          <p14:tracePt t="58285" x="5292725" y="4056063"/>
          <p14:tracePt t="58286" x="5284788" y="4051300"/>
          <p14:tracePt t="58287" x="5273675" y="4043363"/>
          <p14:tracePt t="58289" x="5265738" y="4043363"/>
          <p14:tracePt t="58290" x="5257800" y="4040188"/>
          <p14:tracePt t="58291" x="5249863" y="4040188"/>
          <p14:tracePt t="58291" x="5241925" y="4040188"/>
          <p14:tracePt t="58292" x="5237163" y="4040188"/>
          <p14:tracePt t="58294" x="5229225" y="4035425"/>
          <p14:tracePt t="58296" x="5213350" y="4035425"/>
          <p14:tracePt t="58296" x="5208588" y="4032250"/>
          <p14:tracePt t="58297" x="5200650" y="4032250"/>
          <p14:tracePt t="58298" x="5192713" y="4027488"/>
          <p14:tracePt t="58299" x="5189538" y="4027488"/>
          <p14:tracePt t="58300" x="5181600" y="4024313"/>
          <p14:tracePt t="58301" x="5176838" y="4024313"/>
          <p14:tracePt t="58302" x="5168900" y="4024313"/>
          <p14:tracePt t="58303" x="5165725" y="4019550"/>
          <p14:tracePt t="58306" x="5153025" y="4014788"/>
          <p14:tracePt t="58307" x="5149850" y="4014788"/>
          <p14:tracePt t="58308" x="5145088" y="4014788"/>
          <p14:tracePt t="58310" x="5140325" y="4014788"/>
          <p14:tracePt t="58312" x="5132388" y="4011613"/>
          <p14:tracePt t="58312" x="5129213" y="4011613"/>
          <p14:tracePt t="58313" x="5121275" y="4006850"/>
          <p14:tracePt t="58314" x="5116513" y="4006850"/>
          <p14:tracePt t="58315" x="5113338" y="4006850"/>
          <p14:tracePt t="58316" x="5108575" y="4006850"/>
          <p14:tracePt t="58317" x="5108575" y="4003675"/>
          <p14:tracePt t="58318" x="5100638" y="4003675"/>
          <p14:tracePt t="58321" x="5097463" y="3998913"/>
          <p14:tracePt t="58324" x="5089525" y="3998913"/>
          <p14:tracePt t="58325" x="5084763" y="3998913"/>
          <p14:tracePt t="58328" x="5081588" y="3995738"/>
          <p14:tracePt t="58328" x="5076825" y="3995738"/>
          <p14:tracePt t="58329" x="5073650" y="3990975"/>
          <p14:tracePt t="58331" x="5068888" y="3990975"/>
          <p14:tracePt t="58333" x="5065713" y="3990975"/>
          <p14:tracePt t="58335" x="5060950" y="3990975"/>
          <p14:tracePt t="58336" x="5060950" y="3987800"/>
          <p14:tracePt t="58339" x="5056188" y="3987800"/>
          <p14:tracePt t="58340" x="5053013" y="3987800"/>
          <p14:tracePt t="58343" x="5048250" y="3987800"/>
          <p14:tracePt t="58344" x="5045075" y="3987800"/>
          <p14:tracePt t="58346" x="5045075" y="3983038"/>
          <p14:tracePt t="58348" x="5040313" y="3983038"/>
          <p14:tracePt t="58350" x="5037138" y="3983038"/>
          <p14:tracePt t="58350" x="5032375" y="3983038"/>
          <p14:tracePt t="58352" x="5029200" y="3983038"/>
          <p14:tracePt t="58355" x="5024438" y="3979863"/>
          <p14:tracePt t="58357" x="5021263" y="3979863"/>
          <p14:tracePt t="58360" x="5016500" y="3979863"/>
          <p14:tracePt t="58361" x="5013325" y="3979863"/>
          <p14:tracePt t="58364" x="5008563" y="3979863"/>
          <p14:tracePt t="58366" x="5005388" y="3979863"/>
          <p14:tracePt t="58368" x="5000625" y="3979863"/>
          <p14:tracePt t="58372" x="4997450" y="3979863"/>
          <p14:tracePt t="58375" x="4992688" y="3979863"/>
          <p14:tracePt t="58380" x="4989513" y="3975100"/>
          <p14:tracePt t="58382" x="4984750" y="3975100"/>
          <p14:tracePt t="58434" x="4989513" y="3975100"/>
          <p14:tracePt t="58439" x="5000625" y="3971925"/>
          <p14:tracePt t="58441" x="5008563" y="3971925"/>
          <p14:tracePt t="58443" x="5016500" y="3971925"/>
          <p14:tracePt t="58445" x="5021263" y="3971925"/>
          <p14:tracePt t="58446" x="5024438" y="3971925"/>
          <p14:tracePt t="58449" x="5045075" y="3971925"/>
          <p14:tracePt t="58450" x="5048250" y="3971925"/>
          <p14:tracePt t="58454" x="5076825" y="3971925"/>
          <p14:tracePt t="58455" x="5084763" y="3971925"/>
          <p14:tracePt t="58456" x="5092700" y="3971925"/>
          <p14:tracePt t="58457" x="5108575" y="3971925"/>
          <p14:tracePt t="58459" x="5124450" y="3971925"/>
          <p14:tracePt t="58460" x="5132388" y="3971925"/>
          <p14:tracePt t="58461" x="5140325" y="3971925"/>
          <p14:tracePt t="58462" x="5149850" y="3971925"/>
          <p14:tracePt t="58463" x="5157788" y="3967163"/>
          <p14:tracePt t="58464" x="5165725" y="3967163"/>
          <p14:tracePt t="58465" x="5173663" y="3967163"/>
          <p14:tracePt t="58465" x="5181600" y="3967163"/>
          <p14:tracePt t="58467" x="5189538" y="3967163"/>
          <p14:tracePt t="58467" x="5205413" y="3967163"/>
          <p14:tracePt t="58468" x="5213350" y="3967163"/>
          <p14:tracePt t="58469" x="5221288" y="3967163"/>
          <p14:tracePt t="58471" x="5229225" y="3967163"/>
          <p14:tracePt t="58472" x="5237163" y="3963988"/>
          <p14:tracePt t="58473" x="5253038" y="3963988"/>
          <p14:tracePt t="58475" x="5265738" y="3963988"/>
          <p14:tracePt t="58475" x="5273675" y="3963988"/>
          <p14:tracePt t="58477" x="5281613" y="3963988"/>
          <p14:tracePt t="58478" x="5292725" y="3963988"/>
          <p14:tracePt t="58478" x="5300663" y="3963988"/>
          <p14:tracePt t="58480" x="5316538" y="3963988"/>
          <p14:tracePt t="58481" x="5321300" y="3959225"/>
          <p14:tracePt t="58482" x="5329238" y="3959225"/>
          <p14:tracePt t="58483" x="5337175" y="3959225"/>
          <p14:tracePt t="58484" x="5345113" y="3959225"/>
          <p14:tracePt t="58485" x="5353050" y="3959225"/>
          <p14:tracePt t="58486" x="5357813" y="3959225"/>
          <p14:tracePt t="58487" x="5365750" y="3959225"/>
          <p14:tracePt t="58489" x="5373688" y="3956050"/>
          <p14:tracePt t="58490" x="5381625" y="3956050"/>
          <p14:tracePt t="58491" x="5384800" y="3956050"/>
          <p14:tracePt t="58491" x="5392738" y="3956050"/>
          <p14:tracePt t="58492" x="5400675" y="3956050"/>
          <p14:tracePt t="58494" x="5405438" y="3956050"/>
          <p14:tracePt t="58494" x="5408613" y="3956050"/>
          <p14:tracePt t="58495" x="5421313" y="3951288"/>
          <p14:tracePt t="58496" x="5429250" y="3951288"/>
          <p14:tracePt t="58497" x="5434013" y="3951288"/>
          <p14:tracePt t="58498" x="5437188" y="3948113"/>
          <p14:tracePt t="58499" x="5441950" y="3948113"/>
          <p14:tracePt t="58500" x="5445125" y="3948113"/>
          <p14:tracePt t="58501" x="5453063" y="3943350"/>
          <p14:tracePt t="58502" x="5457825" y="3943350"/>
          <p14:tracePt t="58503" x="5461000" y="3943350"/>
          <p14:tracePt t="58504" x="5468938" y="3940175"/>
          <p14:tracePt t="58506" x="5473700" y="3940175"/>
          <p14:tracePt t="58507" x="5476875" y="3940175"/>
          <p14:tracePt t="58507" x="5484813" y="3940175"/>
          <p14:tracePt t="58509" x="5489575" y="3940175"/>
          <p14:tracePt t="58510" x="5497513" y="3935413"/>
          <p14:tracePt t="58511" x="5500688" y="3935413"/>
          <p14:tracePt t="58511" x="5510213" y="3935413"/>
          <p14:tracePt t="58512" x="5513388" y="3935413"/>
          <p14:tracePt t="58514" x="5518150" y="3930650"/>
          <p14:tracePt t="58515" x="5521325" y="3930650"/>
          <p14:tracePt t="58515" x="5526088" y="3927475"/>
          <p14:tracePt t="58516" x="5529263" y="3927475"/>
          <p14:tracePt t="58517" x="5534025" y="3927475"/>
          <p14:tracePt t="58518" x="5537200" y="3927475"/>
          <p14:tracePt t="58519" x="5545138" y="3922713"/>
          <p14:tracePt t="58520" x="5549900" y="3922713"/>
          <p14:tracePt t="58522" x="5557838" y="3922713"/>
          <p14:tracePt t="58524" x="5561013" y="3919538"/>
          <p14:tracePt t="58524" x="5565775" y="3919538"/>
          <p14:tracePt t="58525" x="5568950" y="3914775"/>
          <p14:tracePt t="58527" x="5573713" y="3911600"/>
          <p14:tracePt t="58528" x="5573713" y="3906838"/>
          <p14:tracePt t="58530" x="5576888" y="3906838"/>
          <p14:tracePt t="58530" x="5581650" y="3903663"/>
          <p14:tracePt t="58531" x="5584825" y="3903663"/>
          <p14:tracePt t="58533" x="5589588" y="3898900"/>
          <p14:tracePt t="58535" x="5592763" y="3895725"/>
          <p14:tracePt t="58537" x="5597525" y="3890963"/>
          <p14:tracePt t="58539" x="5602288" y="3887788"/>
          <p14:tracePt t="58542" x="5602288" y="3883025"/>
          <p14:tracePt t="58548" x="5605463" y="3883025"/>
          <p14:tracePt t="58552" x="5605463" y="3879850"/>
          <p14:tracePt t="58554" x="5605463" y="3875088"/>
          <p14:tracePt t="58556" x="5605463" y="3871913"/>
          <p14:tracePt t="58558" x="5605463" y="3867150"/>
          <p14:tracePt t="58560" x="5605463" y="3863975"/>
          <p14:tracePt t="58561" x="5605463" y="3859213"/>
          <p14:tracePt t="58563" x="5602288" y="3856038"/>
          <p14:tracePt t="58563" x="5597525" y="3856038"/>
          <p14:tracePt t="58564" x="5597525" y="3851275"/>
          <p14:tracePt t="58565" x="5592763" y="3848100"/>
          <p14:tracePt t="58566" x="5592763" y="3843338"/>
          <p14:tracePt t="58567" x="5589588" y="3843338"/>
          <p14:tracePt t="58569" x="5581650" y="3838575"/>
          <p14:tracePt t="58570" x="5581650" y="3835400"/>
          <p14:tracePt t="58571" x="5576888" y="3830638"/>
          <p14:tracePt t="58573" x="5573713" y="3827463"/>
          <p14:tracePt t="58575" x="5565775" y="3819525"/>
          <p14:tracePt t="58577" x="5561013" y="3811588"/>
          <p14:tracePt t="58577" x="5557838" y="3806825"/>
          <p14:tracePt t="58578" x="5549900" y="3803650"/>
          <p14:tracePt t="58579" x="5545138" y="3798888"/>
          <p14:tracePt t="58580" x="5541963" y="3795713"/>
          <p14:tracePt t="58581" x="5534025" y="3790950"/>
          <p14:tracePt t="58582" x="5529263" y="3787775"/>
          <p14:tracePt t="58583" x="5526088" y="3787775"/>
          <p14:tracePt t="58584" x="5513388" y="3783013"/>
          <p14:tracePt t="58585" x="5510213" y="3779838"/>
          <p14:tracePt t="58586" x="5500688" y="3775075"/>
          <p14:tracePt t="58587" x="5497513" y="3771900"/>
          <p14:tracePt t="58589" x="5489575" y="3767138"/>
          <p14:tracePt t="58590" x="5481638" y="3763963"/>
          <p14:tracePt t="58592" x="5465763" y="3751263"/>
          <p14:tracePt t="58593" x="5453063" y="3746500"/>
          <p14:tracePt t="58594" x="5449888" y="3746500"/>
          <p14:tracePt t="58594" x="5437188" y="3743325"/>
          <p14:tracePt t="58595" x="5434013" y="3738563"/>
          <p14:tracePt t="58596" x="5426075" y="3735388"/>
          <p14:tracePt t="58597" x="5416550" y="3735388"/>
          <p14:tracePt t="58598" x="5408613" y="3730625"/>
          <p14:tracePt t="58599" x="5400675" y="3727450"/>
          <p14:tracePt t="58600" x="5392738" y="3722688"/>
          <p14:tracePt t="58601" x="5384800" y="3722688"/>
          <p14:tracePt t="58602" x="5376863" y="3719513"/>
          <p14:tracePt t="58603" x="5368925" y="3719513"/>
          <p14:tracePt t="58604" x="5357813" y="3714750"/>
          <p14:tracePt t="58606" x="5349875" y="3714750"/>
          <p14:tracePt t="58606" x="5341938" y="3711575"/>
          <p14:tracePt t="58608" x="5329238" y="3711575"/>
          <p14:tracePt t="58610" x="5321300" y="3706813"/>
          <p14:tracePt t="58610" x="5313363" y="3706813"/>
          <p14:tracePt t="58611" x="5305425" y="3706813"/>
          <p14:tracePt t="58612" x="5300663" y="3703638"/>
          <p14:tracePt t="58613" x="5292725" y="3703638"/>
          <p14:tracePt t="58614" x="5284788" y="3703638"/>
          <p14:tracePt t="58615" x="5276850" y="3703638"/>
          <p14:tracePt t="58616" x="5273675" y="3703638"/>
          <p14:tracePt t="58617" x="5268913" y="3698875"/>
          <p14:tracePt t="58618" x="5260975" y="3698875"/>
          <p14:tracePt t="58619" x="5257800" y="3698875"/>
          <p14:tracePt t="58620" x="5249863" y="3698875"/>
          <p14:tracePt t="58622" x="5241925" y="3698875"/>
          <p14:tracePt t="58624" x="5237163" y="3698875"/>
          <p14:tracePt t="58625" x="5224463" y="3698875"/>
          <p14:tracePt t="58626" x="5216525" y="3698875"/>
          <p14:tracePt t="58627" x="5213350" y="3698875"/>
          <p14:tracePt t="58628" x="5208588" y="3698875"/>
          <p14:tracePt t="58629" x="5200650" y="3698875"/>
          <p14:tracePt t="58630" x="5197475" y="3698875"/>
          <p14:tracePt t="58631" x="5189538" y="3698875"/>
          <p14:tracePt t="58632" x="5184775" y="3698875"/>
          <p14:tracePt t="58634" x="5176838" y="3698875"/>
          <p14:tracePt t="58635" x="5173663" y="3698875"/>
          <p14:tracePt t="58636" x="5165725" y="3698875"/>
          <p14:tracePt t="58637" x="5160963" y="3698875"/>
          <p14:tracePt t="58639" x="5153025" y="3698875"/>
          <p14:tracePt t="58640" x="5140325" y="3703638"/>
          <p14:tracePt t="58641" x="5137150" y="3703638"/>
          <p14:tracePt t="58642" x="5129213" y="3703638"/>
          <p14:tracePt t="58644" x="5124450" y="3706813"/>
          <p14:tracePt t="58644" x="5116513" y="3706813"/>
          <p14:tracePt t="58645" x="5108575" y="3706813"/>
          <p14:tracePt t="58646" x="5105400" y="3711575"/>
          <p14:tracePt t="58648" x="5100638" y="3711575"/>
          <p14:tracePt t="58649" x="5092700" y="3711575"/>
          <p14:tracePt t="58650" x="5089525" y="3714750"/>
          <p14:tracePt t="58651" x="5081588" y="3719513"/>
          <p14:tracePt t="58652" x="5076825" y="3719513"/>
          <p14:tracePt t="58654" x="5068888" y="3722688"/>
          <p14:tracePt t="58655" x="5060950" y="3722688"/>
          <p14:tracePt t="58656" x="5056188" y="3727450"/>
          <p14:tracePt t="58658" x="5045075" y="3730625"/>
          <p14:tracePt t="58658" x="5040313" y="3730625"/>
          <p14:tracePt t="58659" x="5032375" y="3735388"/>
          <p14:tracePt t="58660" x="5029200" y="3738563"/>
          <p14:tracePt t="58661" x="5021263" y="3743325"/>
          <p14:tracePt t="58662" x="5016500" y="3743325"/>
          <p14:tracePt t="58663" x="5008563" y="3746500"/>
          <p14:tracePt t="58664" x="5000625" y="3751263"/>
          <p14:tracePt t="58665" x="4997450" y="3751263"/>
          <p14:tracePt t="58666" x="4992688" y="3756025"/>
          <p14:tracePt t="58667" x="4989513" y="3759200"/>
          <p14:tracePt t="58668" x="4981575" y="3759200"/>
          <p14:tracePt t="58669" x="4981575" y="3763963"/>
          <p14:tracePt t="58670" x="4976813" y="3767138"/>
          <p14:tracePt t="58671" x="4973638" y="3771900"/>
          <p14:tracePt t="58672" x="4968875" y="3775075"/>
          <p14:tracePt t="58674" x="4960938" y="3779838"/>
          <p14:tracePt t="58675" x="4956175" y="3783013"/>
          <p14:tracePt t="58675" x="4953000" y="3783013"/>
          <p14:tracePt t="58676" x="4948238" y="3787775"/>
          <p14:tracePt t="58677" x="4945063" y="3790950"/>
          <p14:tracePt t="58678" x="4940300" y="3795713"/>
          <p14:tracePt t="58679" x="4932363" y="3795713"/>
          <p14:tracePt t="58680" x="4929188" y="3803650"/>
          <p14:tracePt t="58681" x="4924425" y="3803650"/>
          <p14:tracePt t="58683" x="4921250" y="3806825"/>
          <p14:tracePt t="58683" x="4916488" y="3811588"/>
          <p14:tracePt t="58684" x="4916488" y="3814763"/>
          <p14:tracePt t="58686" x="4913313" y="3822700"/>
          <p14:tracePt t="58686" x="4908550" y="3827463"/>
          <p14:tracePt t="58687" x="4905375" y="3830638"/>
          <p14:tracePt t="58689" x="4900613" y="3835400"/>
          <p14:tracePt t="58690" x="4897438" y="3838575"/>
          <p14:tracePt t="58691" x="4892675" y="3843338"/>
          <p14:tracePt t="58693" x="4884738" y="3851275"/>
          <p14:tracePt t="58694" x="4881563" y="3856038"/>
          <p14:tracePt t="58695" x="4876800" y="3863975"/>
          <p14:tracePt t="58696" x="4872038" y="3863975"/>
          <p14:tracePt t="58697" x="4868863" y="3867150"/>
          <p14:tracePt t="58698" x="4868863" y="3871913"/>
          <p14:tracePt t="58700" x="4868863" y="3875088"/>
          <p14:tracePt t="58700" x="4864100" y="3883025"/>
          <p14:tracePt t="58701" x="4860925" y="3887788"/>
          <p14:tracePt t="58702" x="4860925" y="3890963"/>
          <p14:tracePt t="58703" x="4856163" y="3895725"/>
          <p14:tracePt t="58704" x="4852988" y="3898900"/>
          <p14:tracePt t="58706" x="4848225" y="3903663"/>
          <p14:tracePt t="58706" x="4848225" y="3906838"/>
          <p14:tracePt t="58708" x="4845050" y="3906838"/>
          <p14:tracePt t="58709" x="4845050" y="3911600"/>
          <p14:tracePt t="58709" x="4840288" y="3914775"/>
          <p14:tracePt t="58710" x="4837113" y="3919538"/>
          <p14:tracePt t="58711" x="4837113" y="3922713"/>
          <p14:tracePt t="58712" x="4832350" y="3927475"/>
          <p14:tracePt t="58713" x="4832350" y="3930650"/>
          <p14:tracePt t="58714" x="4829175" y="3935413"/>
          <p14:tracePt t="58715" x="4829175" y="3940175"/>
          <p14:tracePt t="58716" x="4824413" y="3943350"/>
          <p14:tracePt t="58717" x="4824413" y="3948113"/>
          <p14:tracePt t="58719" x="4824413" y="3951288"/>
          <p14:tracePt t="58720" x="4824413" y="3956050"/>
          <p14:tracePt t="58721" x="4821238" y="3959225"/>
          <p14:tracePt t="58724" x="4821238" y="3963988"/>
          <p14:tracePt t="58725" x="4816475" y="3971925"/>
          <p14:tracePt t="58727" x="4816475" y="3975100"/>
          <p14:tracePt t="58729" x="4816475" y="3979863"/>
          <p14:tracePt t="58729" x="4816475" y="3983038"/>
          <p14:tracePt t="58730" x="4816475" y="3987800"/>
          <p14:tracePt t="58733" x="4816475" y="3990975"/>
          <p14:tracePt t="58735" x="4816475" y="3995738"/>
          <p14:tracePt t="58737" x="4816475" y="3998913"/>
          <p14:tracePt t="58740" x="4816475" y="4003675"/>
          <p14:tracePt t="58741" x="4816475" y="4006850"/>
          <p14:tracePt t="58744" x="4816475" y="4011613"/>
          <p14:tracePt t="58746" x="4816475" y="4014788"/>
          <p14:tracePt t="58748" x="4816475" y="4019550"/>
          <p14:tracePt t="58750" x="4821238" y="4024313"/>
          <p14:tracePt t="58752" x="4821238" y="4027488"/>
          <p14:tracePt t="58758" x="4821238" y="4032250"/>
          <p14:tracePt t="58761" x="4821238" y="4035425"/>
          <p14:tracePt t="58762" x="4824413" y="4035425"/>
          <p14:tracePt t="58763" x="4824413" y="4040188"/>
          <p14:tracePt t="58765" x="4829175" y="4043363"/>
          <p14:tracePt t="58766" x="4832350" y="4048125"/>
          <p14:tracePt t="58768" x="4837113" y="4051300"/>
          <p14:tracePt t="58770" x="4840288" y="4056063"/>
          <p14:tracePt t="58771" x="4845050" y="4056063"/>
          <p14:tracePt t="58772" x="4845050" y="4059238"/>
          <p14:tracePt t="58773" x="4848225" y="4059238"/>
          <p14:tracePt t="58774" x="4848225" y="4064000"/>
          <p14:tracePt t="58776" x="4852988" y="4067175"/>
          <p14:tracePt t="58777" x="4856163" y="4067175"/>
          <p14:tracePt t="58778" x="4860925" y="4067175"/>
          <p14:tracePt t="58780" x="4860925" y="4071938"/>
          <p14:tracePt t="58781" x="4868863" y="4075113"/>
          <p14:tracePt t="58782" x="4872038" y="4079875"/>
          <p14:tracePt t="58783" x="4876800" y="4079875"/>
          <p14:tracePt t="58784" x="4881563" y="4083050"/>
          <p14:tracePt t="58785" x="4889500" y="4087813"/>
          <p14:tracePt t="58786" x="4892675" y="4087813"/>
          <p14:tracePt t="58787" x="4897438" y="4090988"/>
          <p14:tracePt t="58789" x="4900613" y="4090988"/>
          <p14:tracePt t="58790" x="4908550" y="4095750"/>
          <p14:tracePt t="58791" x="4916488" y="4098925"/>
          <p14:tracePt t="58791" x="4921250" y="4098925"/>
          <p14:tracePt t="58792" x="4929188" y="4103688"/>
          <p14:tracePt t="58794" x="4932363" y="4106863"/>
          <p14:tracePt t="58794" x="4940300" y="4106863"/>
          <p14:tracePt t="58797" x="4953000" y="4116388"/>
          <p14:tracePt t="58797" x="4956175" y="4116388"/>
          <p14:tracePt t="58798" x="4964113" y="4119563"/>
          <p14:tracePt t="58800" x="4973638" y="4124325"/>
          <p14:tracePt t="58802" x="4984750" y="4127500"/>
          <p14:tracePt t="58802" x="4992688" y="4132263"/>
          <p14:tracePt t="58803" x="5000625" y="4132263"/>
          <p14:tracePt t="58804" x="5005388" y="4135438"/>
          <p14:tracePt t="58806" x="5016500" y="4140200"/>
          <p14:tracePt t="58806" x="5024438" y="4140200"/>
          <p14:tracePt t="58808" x="5032375" y="4143375"/>
          <p14:tracePt t="58808" x="5040313" y="4148138"/>
          <p14:tracePt t="58810" x="5045075" y="4148138"/>
          <p14:tracePt t="58812" x="5068888" y="4156075"/>
          <p14:tracePt t="58812" x="5076825" y="4156075"/>
          <p14:tracePt t="58813" x="5084763" y="4164013"/>
          <p14:tracePt t="58814" x="5092700" y="4164013"/>
          <p14:tracePt t="58815" x="5100638" y="4167188"/>
          <p14:tracePt t="58816" x="5108575" y="4171950"/>
          <p14:tracePt t="58817" x="5124450" y="4171950"/>
          <p14:tracePt t="58818" x="5132388" y="4171950"/>
          <p14:tracePt t="58819" x="5140325" y="4175125"/>
          <p14:tracePt t="58820" x="5153025" y="4175125"/>
          <p14:tracePt t="58822" x="5160963" y="4179888"/>
          <p14:tracePt t="58823" x="5168900" y="4179888"/>
          <p14:tracePt t="58823" x="5181600" y="4179888"/>
          <p14:tracePt t="58826" x="5200650" y="4183063"/>
          <p14:tracePt t="58828" x="5224463" y="4187825"/>
          <p14:tracePt t="58828" x="5237163" y="4191000"/>
          <p14:tracePt t="58829" x="5245100" y="4191000"/>
          <p14:tracePt t="58830" x="5260975" y="4195763"/>
          <p14:tracePt t="58831" x="5273675" y="4195763"/>
          <p14:tracePt t="58832" x="5281613" y="4195763"/>
          <p14:tracePt t="58833" x="5297488" y="4203700"/>
          <p14:tracePt t="58834" x="5305425" y="4203700"/>
          <p14:tracePt t="58835" x="5316538" y="4203700"/>
          <p14:tracePt t="58836" x="5334000" y="4203700"/>
          <p14:tracePt t="58837" x="5345113" y="4208463"/>
          <p14:tracePt t="58839" x="5353050" y="4208463"/>
          <p14:tracePt t="58840" x="5368925" y="4208463"/>
          <p14:tracePt t="58841" x="5389563" y="4211638"/>
          <p14:tracePt t="58842" x="5397500" y="4211638"/>
          <p14:tracePt t="58842" x="5408613" y="4211638"/>
          <p14:tracePt t="58844" x="5421313" y="4211638"/>
          <p14:tracePt t="58844" x="5437188" y="4216400"/>
          <p14:tracePt t="58845" x="5445125" y="4216400"/>
          <p14:tracePt t="58846" x="5465763" y="4216400"/>
          <p14:tracePt t="58847" x="5476875" y="4216400"/>
          <p14:tracePt t="58849" x="5492750" y="4216400"/>
          <p14:tracePt t="58849" x="5500688" y="4216400"/>
          <p14:tracePt t="58850" x="5521325" y="4219575"/>
          <p14:tracePt t="58851" x="5534025" y="4219575"/>
          <p14:tracePt t="58852" x="5541963" y="4219575"/>
          <p14:tracePt t="58853" x="5553075" y="4219575"/>
          <p14:tracePt t="58854" x="5568950" y="4219575"/>
          <p14:tracePt t="58856" x="5581650" y="4219575"/>
          <p14:tracePt t="58857" x="5597525" y="4219575"/>
          <p14:tracePt t="58858" x="5610225" y="4219575"/>
          <p14:tracePt t="58859" x="5626100" y="4219575"/>
          <p14:tracePt t="58859" x="5637213" y="4219575"/>
          <p14:tracePt t="58861" x="5657850" y="4219575"/>
          <p14:tracePt t="58861" x="5668963" y="4219575"/>
          <p14:tracePt t="58862" x="5684838" y="4219575"/>
          <p14:tracePt t="58863" x="5697538" y="4219575"/>
          <p14:tracePt t="58864" x="5710238" y="4219575"/>
          <p14:tracePt t="58865" x="5726113" y="4219575"/>
          <p14:tracePt t="58867" x="5745163" y="4219575"/>
          <p14:tracePt t="58867" x="5757863" y="4219575"/>
          <p14:tracePt t="58869" x="5768975" y="4219575"/>
          <p14:tracePt t="58869" x="5786438" y="4219575"/>
          <p14:tracePt t="58870" x="5805488" y="4219575"/>
          <p14:tracePt t="58872" x="5818188" y="4219575"/>
          <p14:tracePt t="58873" x="5829300" y="4219575"/>
          <p14:tracePt t="58875" x="5865813" y="4219575"/>
          <p14:tracePt t="58875" x="5878513" y="4219575"/>
          <p14:tracePt t="58876" x="5897563" y="4219575"/>
          <p14:tracePt t="58877" x="5910263" y="4219575"/>
          <p14:tracePt t="58878" x="5926138" y="4219575"/>
          <p14:tracePt t="58879" x="5937250" y="4219575"/>
          <p14:tracePt t="58880" x="5957888" y="4216400"/>
          <p14:tracePt t="58881" x="5973763" y="4216400"/>
          <p14:tracePt t="58882" x="5986463" y="4211638"/>
          <p14:tracePt t="58884" x="5997575" y="4211638"/>
          <p14:tracePt t="58884" x="6018213" y="4211638"/>
          <p14:tracePt t="58885" x="6034088" y="4208463"/>
          <p14:tracePt t="58886" x="6054725" y="4208463"/>
          <p14:tracePt t="58887" x="6065838" y="4198938"/>
          <p14:tracePt t="58889" x="6081713" y="4198938"/>
          <p14:tracePt t="58890" x="6094413" y="4195763"/>
          <p14:tracePt t="58891" x="6113463" y="4195763"/>
          <p14:tracePt t="58891" x="6126163" y="4191000"/>
          <p14:tracePt t="58892" x="6142038" y="4191000"/>
          <p14:tracePt t="58894" x="6154738" y="4187825"/>
          <p14:tracePt t="58894" x="6170613" y="4187825"/>
          <p14:tracePt t="58895" x="6178550" y="4187825"/>
          <p14:tracePt t="58896" x="6197600" y="4183063"/>
          <p14:tracePt t="58897" x="6210300" y="4183063"/>
          <p14:tracePt t="58907" x="6318250" y="4156075"/>
          <p14:tracePt t="58909" x="6338888" y="4151313"/>
          <p14:tracePt t="58910" x="6346825" y="4148138"/>
          <p14:tracePt t="58910" x="6354763" y="4148138"/>
          <p14:tracePt t="58911" x="6365875" y="4143375"/>
          <p14:tracePt t="58912" x="6378575" y="4140200"/>
          <p14:tracePt t="58913" x="6378575" y="4135438"/>
          <p14:tracePt t="58914" x="6386513" y="4135438"/>
          <p14:tracePt t="58915" x="6389688" y="4132263"/>
          <p14:tracePt t="58916" x="6397625" y="4132263"/>
          <p14:tracePt t="58917" x="6402388" y="4127500"/>
          <p14:tracePt t="58918" x="6410325" y="4124325"/>
          <p14:tracePt t="58919" x="6415088" y="4124325"/>
          <p14:tracePt t="58921" x="6418263" y="4119563"/>
          <p14:tracePt t="58921" x="6423025" y="4116388"/>
          <p14:tracePt t="58923" x="6426200" y="4116388"/>
          <p14:tracePt t="58924" x="6430963" y="4111625"/>
          <p14:tracePt t="58925" x="6434138" y="4111625"/>
          <p14:tracePt t="58925" x="6438900" y="4106863"/>
          <p14:tracePt t="58927" x="6442075" y="4103688"/>
          <p14:tracePt t="58928" x="6442075" y="4098925"/>
          <p14:tracePt t="58929" x="6446838" y="4098925"/>
          <p14:tracePt t="58930" x="6446838" y="4095750"/>
          <p14:tracePt t="58931" x="6450013" y="4090988"/>
          <p14:tracePt t="58932" x="6454775" y="4090988"/>
          <p14:tracePt t="58935" x="6457950" y="4090988"/>
          <p14:tracePt t="58935" x="6457950" y="4087813"/>
          <p14:tracePt t="58939" x="6462713" y="4083050"/>
          <p14:tracePt t="58942" x="6462713" y="4075113"/>
          <p14:tracePt t="58942" x="6465888" y="4075113"/>
          <p14:tracePt t="58943" x="6465888" y="4071938"/>
          <p14:tracePt t="58945" x="6465888" y="4067175"/>
          <p14:tracePt t="58947" x="6465888" y="4064000"/>
          <p14:tracePt t="58949" x="6465888" y="4059238"/>
          <p14:tracePt t="58953" x="6465888" y="4051300"/>
          <p14:tracePt t="58957" x="6465888" y="4048125"/>
          <p14:tracePt t="58958" x="6465888" y="4043363"/>
          <p14:tracePt t="58960" x="6465888" y="4040188"/>
          <p14:tracePt t="58962" x="6465888" y="4035425"/>
          <p14:tracePt t="58962" x="6462713" y="4032250"/>
          <p14:tracePt t="58963" x="6462713" y="4027488"/>
          <p14:tracePt t="58966" x="6462713" y="4024313"/>
          <p14:tracePt t="58967" x="6457950" y="4014788"/>
          <p14:tracePt t="58968" x="6454775" y="4014788"/>
          <p14:tracePt t="58969" x="6454775" y="4011613"/>
          <p14:tracePt t="58970" x="6450013" y="4011613"/>
          <p14:tracePt t="58971" x="6450013" y="4006850"/>
          <p14:tracePt t="58972" x="6446838" y="4003675"/>
          <p14:tracePt t="58973" x="6442075" y="4003675"/>
          <p14:tracePt t="58974" x="6442075" y="3998913"/>
          <p14:tracePt t="58975" x="6442075" y="3995738"/>
          <p14:tracePt t="58976" x="6438900" y="3990975"/>
          <p14:tracePt t="58977" x="6438900" y="3987800"/>
          <p14:tracePt t="58978" x="6434138" y="3983038"/>
          <p14:tracePt t="58979" x="6430963" y="3979863"/>
          <p14:tracePt t="58980" x="6426200" y="3979863"/>
          <p14:tracePt t="58981" x="6423025" y="3975100"/>
          <p14:tracePt t="58983" x="6423025" y="3971925"/>
          <p14:tracePt t="58983" x="6418263" y="3971925"/>
          <p14:tracePt t="58984" x="6415088" y="3967163"/>
          <p14:tracePt t="58985" x="6410325" y="3963988"/>
          <p14:tracePt t="58986" x="6405563" y="3959225"/>
          <p14:tracePt t="58987" x="6402388" y="3956050"/>
          <p14:tracePt t="58989" x="6402388" y="3951288"/>
          <p14:tracePt t="58989" x="6397625" y="3951288"/>
          <p14:tracePt t="58991" x="6394450" y="3948113"/>
          <p14:tracePt t="58991" x="6386513" y="3940175"/>
          <p14:tracePt t="58992" x="6381750" y="3940175"/>
          <p14:tracePt t="58994" x="6378575" y="3935413"/>
          <p14:tracePt t="58994" x="6373813" y="3930650"/>
          <p14:tracePt t="58996" x="6365875" y="3927475"/>
          <p14:tracePt t="58996" x="6362700" y="3922713"/>
          <p14:tracePt t="58997" x="6357938" y="3919538"/>
          <p14:tracePt t="58999" x="6354763" y="3914775"/>
          <p14:tracePt t="58999" x="6346825" y="3911600"/>
          <p14:tracePt t="59000" x="6342063" y="3911600"/>
          <p14:tracePt t="59001" x="6338888" y="3906838"/>
          <p14:tracePt t="59002" x="6330950" y="3903663"/>
          <p14:tracePt t="59003" x="6323013" y="3898900"/>
          <p14:tracePt t="59004" x="6318250" y="3895725"/>
          <p14:tracePt t="59006" x="6313488" y="3895725"/>
          <p14:tracePt t="59006" x="6305550" y="3890963"/>
          <p14:tracePt t="59008" x="6297613" y="3887788"/>
          <p14:tracePt t="59009" x="6289675" y="3879850"/>
          <p14:tracePt t="59009" x="6286500" y="3879850"/>
          <p14:tracePt t="59010" x="6278563" y="3875088"/>
          <p14:tracePt t="59011" x="6270625" y="3867150"/>
          <p14:tracePt t="59012" x="6262688" y="3863975"/>
          <p14:tracePt t="59013" x="6254750" y="3863975"/>
          <p14:tracePt t="59014" x="6249988" y="3859213"/>
          <p14:tracePt t="59015" x="6242050" y="3859213"/>
          <p14:tracePt t="59016" x="6234113" y="3856038"/>
          <p14:tracePt t="59017" x="6221413" y="3851275"/>
          <p14:tracePt t="59018" x="6213475" y="3848100"/>
          <p14:tracePt t="59019" x="6205538" y="3848100"/>
          <p14:tracePt t="59020" x="6197600" y="3843338"/>
          <p14:tracePt t="59021" x="6189663" y="3843338"/>
          <p14:tracePt t="59022" x="6173788" y="3838575"/>
          <p14:tracePt t="59023" x="6165850" y="3835400"/>
          <p14:tracePt t="59025" x="6157913" y="3830638"/>
          <p14:tracePt t="59025" x="6149975" y="3830638"/>
          <p14:tracePt t="59027" x="6142038" y="3827463"/>
          <p14:tracePt t="59027" x="6134100" y="3822700"/>
          <p14:tracePt t="59028" x="6118225" y="3822700"/>
          <p14:tracePt t="59030" x="6110288" y="3814763"/>
          <p14:tracePt t="59030" x="6102350" y="3814763"/>
          <p14:tracePt t="59031" x="6094413" y="3811588"/>
          <p14:tracePt t="59032" x="6078538" y="3811588"/>
          <p14:tracePt t="59033" x="6070600" y="3806825"/>
          <p14:tracePt t="59034" x="6062663" y="3806825"/>
          <p14:tracePt t="59035" x="6054725" y="3803650"/>
          <p14:tracePt t="59036" x="6037263" y="3798888"/>
          <p14:tracePt t="59037" x="6029325" y="3798888"/>
          <p14:tracePt t="59039" x="6021388" y="3795713"/>
          <p14:tracePt t="59040" x="6013450" y="3795713"/>
          <p14:tracePt t="59041" x="6002338" y="3790950"/>
          <p14:tracePt t="59042" x="5978525" y="3790950"/>
          <p14:tracePt t="59044" x="5970588" y="3787775"/>
          <p14:tracePt t="59046" x="5949950" y="3787775"/>
          <p14:tracePt t="59046" x="5934075" y="3787775"/>
          <p14:tracePt t="59047" x="5926138" y="3783013"/>
          <p14:tracePt t="59048" x="5918200" y="3783013"/>
          <p14:tracePt t="59049" x="5902325" y="3783013"/>
          <p14:tracePt t="59050" x="5894388" y="3775075"/>
          <p14:tracePt t="59051" x="5886450" y="3775075"/>
          <p14:tracePt t="59052" x="5865813" y="3775075"/>
          <p14:tracePt t="59053" x="5857875" y="3771900"/>
          <p14:tracePt t="59054" x="5845175" y="3771900"/>
          <p14:tracePt t="59056" x="5837238" y="3771900"/>
          <p14:tracePt t="59056" x="5821363" y="3767138"/>
          <p14:tracePt t="59058" x="5810250" y="3767138"/>
          <p14:tracePt t="59058" x="5802313" y="3767138"/>
          <p14:tracePt t="59060" x="5794375" y="3767138"/>
          <p14:tracePt t="59062" x="5765800" y="3763963"/>
          <p14:tracePt t="59062" x="5757863" y="3763963"/>
          <p14:tracePt t="59063" x="5741988" y="3763963"/>
          <p14:tracePt t="59064" x="5734050" y="3763963"/>
          <p14:tracePt t="59065" x="5726113" y="3763963"/>
          <p14:tracePt t="59066" x="5713413" y="3759200"/>
          <p14:tracePt t="59067" x="5697538" y="3759200"/>
          <p14:tracePt t="59068" x="5689600" y="3759200"/>
          <p14:tracePt t="59069" x="5681663" y="3759200"/>
          <p14:tracePt t="59070" x="5673725" y="3759200"/>
          <p14:tracePt t="59071" x="5665788" y="3756025"/>
          <p14:tracePt t="59073" x="5653088" y="3756025"/>
          <p14:tracePt t="59074" x="5645150" y="3756025"/>
          <p14:tracePt t="59074" x="5629275" y="3756025"/>
          <p14:tracePt t="59076" x="5621338" y="3751263"/>
          <p14:tracePt t="59078" x="5602288" y="3751263"/>
          <p14:tracePt t="59078" x="5589588" y="3751263"/>
          <p14:tracePt t="59079" x="5581650" y="3751263"/>
          <p14:tracePt t="59080" x="5573713" y="3751263"/>
          <p14:tracePt t="59081" x="5565775" y="3751263"/>
          <p14:tracePt t="59082" x="5557838" y="3751263"/>
          <p14:tracePt t="59083" x="5549900" y="3751263"/>
          <p14:tracePt t="59084" x="5541963" y="3751263"/>
          <p14:tracePt t="59085" x="5534025" y="3751263"/>
          <p14:tracePt t="59086" x="5521325" y="3751263"/>
          <p14:tracePt t="59087" x="5513388" y="3751263"/>
          <p14:tracePt t="59088" x="5510213" y="3751263"/>
          <p14:tracePt t="59090" x="5500688" y="3751263"/>
          <p14:tracePt t="59091" x="5492750" y="3751263"/>
          <p14:tracePt t="59093" x="5468938" y="3751263"/>
          <p14:tracePt t="59093" x="5465763" y="3751263"/>
          <p14:tracePt t="59094" x="5457825" y="3751263"/>
          <p14:tracePt t="59095" x="5449888" y="3751263"/>
          <p14:tracePt t="59096" x="5437188" y="3751263"/>
          <p14:tracePt t="59097" x="5429250" y="3751263"/>
          <p14:tracePt t="59098" x="5426075" y="3751263"/>
          <p14:tracePt t="59099" x="5416550" y="3751263"/>
          <p14:tracePt t="59100" x="5408613" y="3751263"/>
          <p14:tracePt t="59101" x="5400675" y="3751263"/>
          <p14:tracePt t="59102" x="5392738" y="3751263"/>
          <p14:tracePt t="59103" x="5384800" y="3751263"/>
          <p14:tracePt t="59104" x="5376863" y="3751263"/>
          <p14:tracePt t="59106" x="5373688" y="3751263"/>
          <p14:tracePt t="59106" x="5360988" y="3751263"/>
          <p14:tracePt t="59108" x="5353050" y="3751263"/>
          <p14:tracePt t="59108" x="5349875" y="3751263"/>
          <p14:tracePt t="59109" x="5341938" y="3751263"/>
          <p14:tracePt t="59110" x="5334000" y="3751263"/>
          <p14:tracePt t="59111" x="5324475" y="3751263"/>
          <p14:tracePt t="59112" x="5316538" y="3751263"/>
          <p14:tracePt t="59113" x="5308600" y="3751263"/>
          <p14:tracePt t="59114" x="5300663" y="3751263"/>
          <p14:tracePt t="59115" x="5297488" y="3751263"/>
          <p14:tracePt t="59117" x="5284788" y="3751263"/>
          <p14:tracePt t="59117" x="5281613" y="3751263"/>
          <p14:tracePt t="59118" x="5273675" y="3751263"/>
          <p14:tracePt t="59119" x="5265738" y="3751263"/>
          <p14:tracePt t="59120" x="5257800" y="3751263"/>
          <p14:tracePt t="59122" x="5249863" y="3751263"/>
          <p14:tracePt t="59123" x="5241925" y="3751263"/>
          <p14:tracePt t="59125" x="5221288" y="3751263"/>
          <p14:tracePt t="59126" x="5213350" y="3751263"/>
          <p14:tracePt t="59127" x="5205413" y="3751263"/>
          <p14:tracePt t="59128" x="5197475" y="3751263"/>
          <p14:tracePt t="59129" x="5189538" y="3751263"/>
          <p14:tracePt t="59130" x="5184775" y="3756025"/>
          <p14:tracePt t="59131" x="5176838" y="3756025"/>
          <p14:tracePt t="59132" x="5160963" y="3756025"/>
          <p14:tracePt t="59133" x="5157788" y="3756025"/>
          <p14:tracePt t="59134" x="5149850" y="3756025"/>
          <p14:tracePt t="59135" x="5140325" y="3756025"/>
          <p14:tracePt t="59136" x="5132388" y="3759200"/>
          <p14:tracePt t="59137" x="5124450" y="3759200"/>
          <p14:tracePt t="59139" x="5113338" y="3759200"/>
          <p14:tracePt t="59140" x="5105400" y="3759200"/>
          <p14:tracePt t="59141" x="5097463" y="3763963"/>
          <p14:tracePt t="59142" x="5089525" y="3763963"/>
          <p14:tracePt t="59143" x="5081588" y="3763963"/>
          <p14:tracePt t="59144" x="5076825" y="3763963"/>
          <p14:tracePt t="59145" x="5068888" y="3763963"/>
          <p14:tracePt t="59146" x="5060950" y="3767138"/>
          <p14:tracePt t="59147" x="5056188" y="3767138"/>
          <p14:tracePt t="59148" x="5048250" y="3767138"/>
          <p14:tracePt t="59149" x="5040313" y="3767138"/>
          <p14:tracePt t="59150" x="5037138" y="3767138"/>
          <p14:tracePt t="59152" x="5029200" y="3771900"/>
          <p14:tracePt t="59152" x="5021263" y="3771900"/>
          <p14:tracePt t="59153" x="5013325" y="3771900"/>
          <p14:tracePt t="59155" x="5008563" y="3775075"/>
          <p14:tracePt t="59156" x="4992688" y="3775075"/>
          <p14:tracePt t="59157" x="4984750" y="3775075"/>
          <p14:tracePt t="59158" x="4981575" y="3779838"/>
          <p14:tracePt t="59159" x="4973638" y="3779838"/>
          <p14:tracePt t="59160" x="4968875" y="3779838"/>
          <p14:tracePt t="59161" x="4960938" y="3779838"/>
          <p14:tracePt t="59162" x="4953000" y="3779838"/>
          <p14:tracePt t="59163" x="4945063" y="3783013"/>
          <p14:tracePt t="59164" x="4940300" y="3783013"/>
          <p14:tracePt t="59165" x="4932363" y="3783013"/>
          <p14:tracePt t="59166" x="4929188" y="3787775"/>
          <p14:tracePt t="59167" x="4921250" y="3787775"/>
          <p14:tracePt t="59168" x="4913313" y="3787775"/>
          <p14:tracePt t="59169" x="4913313" y="3790950"/>
          <p14:tracePt t="59171" x="4908550" y="3790950"/>
          <p14:tracePt t="59171" x="4900613" y="3790950"/>
          <p14:tracePt t="59173" x="4889500" y="3795713"/>
          <p14:tracePt t="59174" x="4881563" y="3795713"/>
          <p14:tracePt t="59175" x="4876800" y="3795713"/>
          <p14:tracePt t="59176" x="4872038" y="3798888"/>
          <p14:tracePt t="59177" x="4864100" y="3798888"/>
          <p14:tracePt t="59178" x="4860925" y="3798888"/>
          <p14:tracePt t="59179" x="4852988" y="3798888"/>
          <p14:tracePt t="59180" x="4848225" y="3803650"/>
          <p14:tracePt t="59181" x="4845050" y="3803650"/>
          <p14:tracePt t="59182" x="4837113" y="3803650"/>
          <p14:tracePt t="59183" x="4832350" y="3806825"/>
          <p14:tracePt t="59184" x="4829175" y="3806825"/>
          <p14:tracePt t="59186" x="4824413" y="3806825"/>
          <p14:tracePt t="59186" x="4821238" y="3806825"/>
          <p14:tracePt t="59187" x="4813300" y="3806825"/>
          <p14:tracePt t="59189" x="4808538" y="3806825"/>
          <p14:tracePt t="59190" x="4805363" y="3806825"/>
          <p14:tracePt t="59191" x="4800600" y="3811588"/>
          <p14:tracePt t="59191" x="4797425" y="3811588"/>
          <p14:tracePt t="59192" x="4792663" y="3811588"/>
          <p14:tracePt t="59193" x="4789488" y="3814763"/>
          <p14:tracePt t="59194" x="4779963" y="3814763"/>
          <p14:tracePt t="59195" x="4776788" y="3814763"/>
          <p14:tracePt t="59196" x="4772025" y="3819525"/>
          <p14:tracePt t="59198" x="4768850" y="3822700"/>
          <p14:tracePt t="59199" x="4764088" y="3822700"/>
          <p14:tracePt t="59200" x="4760913" y="3822700"/>
          <p14:tracePt t="59202" x="4752975" y="3827463"/>
          <p14:tracePt t="59203" x="4748213" y="3827463"/>
          <p14:tracePt t="59204" x="4745038" y="3827463"/>
          <p14:tracePt t="59206" x="4740275" y="3830638"/>
          <p14:tracePt t="59207" x="4732338" y="3835400"/>
          <p14:tracePt t="59209" x="4729163" y="3835400"/>
          <p14:tracePt t="59211" x="4724400" y="3838575"/>
          <p14:tracePt t="59212" x="4721225" y="3843338"/>
          <p14:tracePt t="59213" x="4716463" y="3843338"/>
          <p14:tracePt t="59214" x="4713288" y="3843338"/>
          <p14:tracePt t="59215" x="4708525" y="3848100"/>
          <p14:tracePt t="59217" x="4705350" y="3848100"/>
          <p14:tracePt t="59217" x="4700588" y="3851275"/>
          <p14:tracePt t="59219" x="4697413" y="3851275"/>
          <p14:tracePt t="59222" x="4692650" y="3856038"/>
          <p14:tracePt t="59223" x="4687888" y="3856038"/>
          <p14:tracePt t="59226" x="4679950" y="3863975"/>
          <p14:tracePt t="59227" x="4676775" y="3867150"/>
          <p14:tracePt t="59229" x="4672013" y="3871913"/>
          <p14:tracePt t="59231" x="4668838" y="3875088"/>
          <p14:tracePt t="59233" x="4664075" y="3875088"/>
          <p14:tracePt t="59233" x="4660900" y="3879850"/>
          <p14:tracePt t="59235" x="4656138" y="3883025"/>
          <p14:tracePt t="59237" x="4652963" y="3887788"/>
          <p14:tracePt t="59239" x="4652963" y="3890963"/>
          <p14:tracePt t="59241" x="4648200" y="3890963"/>
          <p14:tracePt t="59242" x="4645025" y="3895725"/>
          <p14:tracePt t="59244" x="4645025" y="3898900"/>
          <p14:tracePt t="59245" x="4640263" y="3898900"/>
          <p14:tracePt t="59246" x="4640263" y="3903663"/>
          <p14:tracePt t="59248" x="4637088" y="3906838"/>
          <p14:tracePt t="59251" x="4637088" y="3911600"/>
          <p14:tracePt t="59251" x="4632325" y="3914775"/>
          <p14:tracePt t="59252" x="4629150" y="3914775"/>
          <p14:tracePt t="59253" x="4629150" y="3919538"/>
          <p14:tracePt t="59256" x="4629150" y="3922713"/>
          <p14:tracePt t="59257" x="4624388" y="3927475"/>
          <p14:tracePt t="59258" x="4624388" y="3930650"/>
          <p14:tracePt t="59260" x="4621213" y="3930650"/>
          <p14:tracePt t="59262" x="4616450" y="3935413"/>
          <p14:tracePt t="59265" x="4616450" y="3940175"/>
          <p14:tracePt t="59267" x="4616450" y="3943350"/>
          <p14:tracePt t="59268" x="4616450" y="3948113"/>
          <p14:tracePt t="59269" x="4613275" y="3948113"/>
          <p14:tracePt t="59270" x="4613275" y="3951288"/>
          <p14:tracePt t="59272" x="4608513" y="3956050"/>
          <p14:tracePt t="59274" x="4608513" y="3959225"/>
          <p14:tracePt t="59277" x="4608513" y="3963988"/>
          <p14:tracePt t="59278" x="4608513" y="3967163"/>
          <p14:tracePt t="59280" x="4603750" y="3971925"/>
          <p14:tracePt t="59284" x="4603750" y="3975100"/>
          <p14:tracePt t="59288" x="4603750" y="3983038"/>
          <p14:tracePt t="59290" x="4603750" y="3987800"/>
          <p14:tracePt t="59293" x="4603750" y="3990975"/>
          <p14:tracePt t="59294" x="4603750" y="3995738"/>
          <p14:tracePt t="59296" x="4603750" y="3998913"/>
          <p14:tracePt t="59298" x="4603750" y="4003675"/>
          <p14:tracePt t="59299" x="4603750" y="4006850"/>
          <p14:tracePt t="59300" x="4603750" y="4011613"/>
          <p14:tracePt t="59304" x="4603750" y="4014788"/>
          <p14:tracePt t="59306" x="4608513" y="4019550"/>
          <p14:tracePt t="59308" x="4608513" y="4024313"/>
          <p14:tracePt t="59309" x="4608513" y="4027488"/>
          <p14:tracePt t="59311" x="4613275" y="4032250"/>
          <p14:tracePt t="59312" x="4613275" y="4035425"/>
          <p14:tracePt t="59313" x="4616450" y="4040188"/>
          <p14:tracePt t="59314" x="4616450" y="4043363"/>
          <p14:tracePt t="59316" x="4616450" y="4048125"/>
          <p14:tracePt t="59317" x="4621213" y="4048125"/>
          <p14:tracePt t="59318" x="4621213" y="4051300"/>
          <p14:tracePt t="59319" x="4624388" y="4051300"/>
          <p14:tracePt t="59321" x="4629150" y="4056063"/>
          <p14:tracePt t="59323" x="4629150" y="4059238"/>
          <p14:tracePt t="59325" x="4632325" y="4064000"/>
          <p14:tracePt t="59326" x="4632325" y="4067175"/>
          <p14:tracePt t="59327" x="4637088" y="4071938"/>
          <p14:tracePt t="59328" x="4640263" y="4075113"/>
          <p14:tracePt t="59331" x="4640263" y="4079875"/>
          <p14:tracePt t="59332" x="4645025" y="4083050"/>
          <p14:tracePt t="59333" x="4645025" y="4087813"/>
          <p14:tracePt t="59334" x="4648200" y="4087813"/>
          <p14:tracePt t="59336" x="4648200" y="4090988"/>
          <p14:tracePt t="59336" x="4652963" y="4090988"/>
          <p14:tracePt t="59337" x="4652963" y="4095750"/>
          <p14:tracePt t="59339" x="4656138" y="4095750"/>
          <p14:tracePt t="59341" x="4660900" y="4095750"/>
          <p14:tracePt t="59343" x="4664075" y="4103688"/>
          <p14:tracePt t="59344" x="4668838" y="4106863"/>
          <p14:tracePt t="59345" x="4672013" y="4111625"/>
          <p14:tracePt t="59347" x="4676775" y="4111625"/>
          <p14:tracePt t="59348" x="4679950" y="4116388"/>
          <p14:tracePt t="59350" x="4679950" y="4119563"/>
          <p14:tracePt t="59353" x="4684713" y="4124325"/>
          <p14:tracePt t="59354" x="4687888" y="4124325"/>
          <p14:tracePt t="59354" x="4687888" y="4127500"/>
          <p14:tracePt t="59356" x="4692650" y="4127500"/>
          <p14:tracePt t="59357" x="4697413" y="4132263"/>
          <p14:tracePt t="59358" x="4700588" y="4132263"/>
          <p14:tracePt t="59359" x="4705350" y="4135438"/>
          <p14:tracePt t="59360" x="4708525" y="4135438"/>
          <p14:tracePt t="59361" x="4713288" y="4135438"/>
          <p14:tracePt t="59362" x="4716463" y="4135438"/>
          <p14:tracePt t="59363" x="4721225" y="4135438"/>
          <p14:tracePt t="59364" x="4721225" y="4140200"/>
          <p14:tracePt t="59366" x="4724400" y="4143375"/>
          <p14:tracePt t="59367" x="4729163" y="4143375"/>
          <p14:tracePt t="59368" x="4732338" y="4148138"/>
          <p14:tracePt t="59370" x="4737100" y="4148138"/>
          <p14:tracePt t="59370" x="4740275" y="4148138"/>
          <p14:tracePt t="59372" x="4745038" y="4151313"/>
          <p14:tracePt t="59373" x="4752975" y="4151313"/>
          <p14:tracePt t="59375" x="4760913" y="4156075"/>
          <p14:tracePt t="59376" x="4764088" y="4156075"/>
          <p14:tracePt t="59376" x="4764088" y="4159250"/>
          <p14:tracePt t="59377" x="4768850" y="4159250"/>
          <p14:tracePt t="59378" x="4776788" y="4164013"/>
          <p14:tracePt t="59379" x="4779963" y="4164013"/>
          <p14:tracePt t="59380" x="4789488" y="4167188"/>
          <p14:tracePt t="59381" x="4792663" y="4167188"/>
          <p14:tracePt t="59382" x="4800600" y="4171950"/>
          <p14:tracePt t="59383" x="4805363" y="4171950"/>
          <p14:tracePt t="59384" x="4813300" y="4175125"/>
          <p14:tracePt t="59385" x="4816475" y="4175125"/>
          <p14:tracePt t="59387" x="4821238" y="4175125"/>
          <p14:tracePt t="59387" x="4829175" y="4175125"/>
          <p14:tracePt t="59389" x="4845050" y="4179888"/>
          <p14:tracePt t="59390" x="4848225" y="4179888"/>
          <p14:tracePt t="59391" x="4852988" y="4183063"/>
          <p14:tracePt t="59392" x="4860925" y="4183063"/>
          <p14:tracePt t="59394" x="4868863" y="4183063"/>
          <p14:tracePt t="59395" x="4876800" y="4183063"/>
          <p14:tracePt t="59396" x="4881563" y="4187825"/>
          <p14:tracePt t="59396" x="4889500" y="4187825"/>
          <p14:tracePt t="59398" x="4892675" y="4187825"/>
          <p14:tracePt t="59398" x="4900613" y="4191000"/>
          <p14:tracePt t="59399" x="4908550" y="4191000"/>
          <p14:tracePt t="59400" x="4913313" y="4191000"/>
          <p14:tracePt t="59401" x="4921250" y="4191000"/>
          <p14:tracePt t="59402" x="4929188" y="4191000"/>
          <p14:tracePt t="59404" x="4937125" y="4195763"/>
          <p14:tracePt t="59405" x="4940300" y="4195763"/>
          <p14:tracePt t="59406" x="4948238" y="4195763"/>
          <p14:tracePt t="59407" x="4953000" y="4195763"/>
          <p14:tracePt t="59407" x="4960938" y="4195763"/>
          <p14:tracePt t="59408" x="4968875" y="4195763"/>
          <p14:tracePt t="59409" x="4976813" y="4198938"/>
          <p14:tracePt t="59410" x="4984750" y="4198938"/>
          <p14:tracePt t="59411" x="4992688" y="4198938"/>
          <p14:tracePt t="59412" x="4997450" y="4198938"/>
          <p14:tracePt t="59413" x="5008563" y="4198938"/>
          <p14:tracePt t="59414" x="5013325" y="4198938"/>
          <p14:tracePt t="59415" x="5021263" y="4198938"/>
          <p14:tracePt t="59416" x="5029200" y="4203700"/>
          <p14:tracePt t="59417" x="5032375" y="4203700"/>
          <p14:tracePt t="59418" x="5045075" y="4203700"/>
          <p14:tracePt t="59419" x="5048250" y="4203700"/>
          <p14:tracePt t="59421" x="5056188" y="4203700"/>
          <p14:tracePt t="59422" x="5065713" y="4203700"/>
          <p14:tracePt t="59423" x="5073650" y="4203700"/>
          <p14:tracePt t="59424" x="5081588" y="4203700"/>
          <p14:tracePt t="59424" x="5089525" y="4203700"/>
          <p14:tracePt t="59425" x="5097463" y="4203700"/>
          <p14:tracePt t="59426" x="5105400" y="4203700"/>
          <p14:tracePt t="59427" x="5113338" y="4203700"/>
          <p14:tracePt t="59428" x="5121275" y="4208463"/>
          <p14:tracePt t="59429" x="5129213" y="4208463"/>
          <p14:tracePt t="59430" x="5137150" y="4208463"/>
          <p14:tracePt t="59432" x="5145088" y="4208463"/>
          <p14:tracePt t="59432" x="5160963" y="4208463"/>
          <p14:tracePt t="59433" x="5168900" y="4208463"/>
          <p14:tracePt t="59434" x="5176838" y="4208463"/>
          <p14:tracePt t="59435" x="5184775" y="4208463"/>
          <p14:tracePt t="59436" x="5197475" y="4208463"/>
          <p14:tracePt t="59437" x="5205413" y="4208463"/>
          <p14:tracePt t="59439" x="5213350" y="4208463"/>
          <p14:tracePt t="59440" x="5224463" y="4208463"/>
          <p14:tracePt t="59441" x="5237163" y="4208463"/>
          <p14:tracePt t="59441" x="5245100" y="4208463"/>
          <p14:tracePt t="59442" x="5253038" y="4208463"/>
          <p14:tracePt t="59444" x="5265738" y="4208463"/>
          <p14:tracePt t="59444" x="5273675" y="4208463"/>
          <p14:tracePt t="59445" x="5284788" y="4208463"/>
          <p14:tracePt t="59447" x="5297488" y="4208463"/>
          <p14:tracePt t="59447" x="5305425" y="4208463"/>
          <p14:tracePt t="59448" x="5316538" y="4208463"/>
          <p14:tracePt t="59449" x="5324475" y="4208463"/>
          <p14:tracePt t="59450" x="5341938" y="4208463"/>
          <p14:tracePt t="59452" x="5349875" y="4208463"/>
          <p14:tracePt t="59452" x="5360988" y="4208463"/>
          <p14:tracePt t="59453" x="5376863" y="4208463"/>
          <p14:tracePt t="59455" x="5384800" y="4208463"/>
          <p14:tracePt t="59456" x="5397500" y="4208463"/>
          <p14:tracePt t="59457" x="5405438" y="4208463"/>
          <p14:tracePt t="59458" x="5413375" y="4208463"/>
          <p14:tracePt t="59458" x="5434013" y="4208463"/>
          <p14:tracePt t="59459" x="5441950" y="4208463"/>
          <p14:tracePt t="59461" x="5457825" y="4208463"/>
          <p14:tracePt t="59461" x="5465763" y="4208463"/>
          <p14:tracePt t="59462" x="5473700" y="4208463"/>
          <p14:tracePt t="59464" x="5489575" y="4208463"/>
          <p14:tracePt t="59465" x="5500688" y="4208463"/>
          <p14:tracePt t="59466" x="5510213" y="4208463"/>
          <p14:tracePt t="59467" x="5529263" y="4208463"/>
          <p14:tracePt t="59468" x="5541963" y="4208463"/>
          <p14:tracePt t="59469" x="5557838" y="4208463"/>
          <p14:tracePt t="59470" x="5565775" y="4208463"/>
          <p14:tracePt t="59471" x="5576888" y="4208463"/>
          <p14:tracePt t="59473" x="5589588" y="4208463"/>
          <p14:tracePt t="59473" x="5597525" y="4208463"/>
          <p14:tracePt t="59474" x="5610225" y="4208463"/>
          <p14:tracePt t="59475" x="5621338" y="4208463"/>
          <p14:tracePt t="59476" x="5629275" y="4208463"/>
          <p14:tracePt t="59477" x="5645150" y="4208463"/>
          <p14:tracePt t="59478" x="5657850" y="4208463"/>
          <p14:tracePt t="59479" x="5665788" y="4208463"/>
          <p14:tracePt t="59480" x="5681663" y="4208463"/>
          <p14:tracePt t="59481" x="5689600" y="4203700"/>
          <p14:tracePt t="59482" x="5697538" y="4203700"/>
          <p14:tracePt t="59483" x="5710238" y="4203700"/>
          <p14:tracePt t="59484" x="5726113" y="4203700"/>
          <p14:tracePt t="59485" x="5734050" y="4203700"/>
          <p14:tracePt t="59486" x="5741988" y="4203700"/>
          <p14:tracePt t="59487" x="5753100" y="4203700"/>
          <p14:tracePt t="59488" x="5768975" y="4203700"/>
          <p14:tracePt t="59490" x="5781675" y="4203700"/>
          <p14:tracePt t="59490" x="5789613" y="4203700"/>
          <p14:tracePt t="59491" x="5805488" y="4203700"/>
          <p14:tracePt t="59492" x="5813425" y="4203700"/>
          <p14:tracePt t="59493" x="5826125" y="4203700"/>
          <p14:tracePt t="59494" x="5837238" y="4203700"/>
          <p14:tracePt t="59495" x="5849938" y="4203700"/>
          <p14:tracePt t="59496" x="5861050" y="4203700"/>
          <p14:tracePt t="59497" x="5868988" y="4203700"/>
          <p14:tracePt t="59498" x="5881688" y="4203700"/>
          <p14:tracePt t="59499" x="5889625" y="4203700"/>
          <p14:tracePt t="59500" x="5905500" y="4203700"/>
          <p14:tracePt t="59501" x="5913438" y="4203700"/>
          <p14:tracePt t="59502" x="5921375" y="4203700"/>
          <p14:tracePt t="59503" x="5929313" y="4203700"/>
          <p14:tracePt t="59504" x="5945188" y="4198938"/>
          <p14:tracePt t="59506" x="5953125" y="4198938"/>
          <p14:tracePt t="59507" x="5962650" y="4198938"/>
          <p14:tracePt t="59507" x="5970588" y="4198938"/>
          <p14:tracePt t="59508" x="5981700" y="4198938"/>
          <p14:tracePt t="59509" x="5989638" y="4198938"/>
          <p14:tracePt t="59511" x="5997575" y="4198938"/>
          <p14:tracePt t="59511" x="6005513" y="4198938"/>
          <p14:tracePt t="59512" x="6013450" y="4195763"/>
          <p14:tracePt t="59513" x="6021388" y="4195763"/>
          <p14:tracePt t="59514" x="6034088" y="4195763"/>
          <p14:tracePt t="59515" x="6042025" y="4195763"/>
          <p14:tracePt t="59516" x="6049963" y="4195763"/>
          <p14:tracePt t="59517" x="6057900" y="4195763"/>
          <p14:tracePt t="59518" x="6070600" y="4191000"/>
          <p14:tracePt t="59519" x="6078538" y="4191000"/>
          <p14:tracePt t="59520" x="6086475" y="4191000"/>
          <p14:tracePt t="59521" x="6094413" y="4191000"/>
          <p14:tracePt t="59522" x="6105525" y="4183063"/>
          <p14:tracePt t="59523" x="6113463" y="4183063"/>
          <p14:tracePt t="59524" x="6121400" y="4183063"/>
          <p14:tracePt t="59525" x="6129338" y="4183063"/>
          <p14:tracePt t="59527" x="6137275" y="4179888"/>
          <p14:tracePt t="59528" x="6146800" y="4179888"/>
          <p14:tracePt t="59529" x="6154738" y="4179888"/>
          <p14:tracePt t="59531" x="6170613" y="4175125"/>
          <p14:tracePt t="59531" x="6178550" y="4175125"/>
          <p14:tracePt t="59532" x="6186488" y="4175125"/>
          <p14:tracePt t="59533" x="6194425" y="4171950"/>
          <p14:tracePt t="59534" x="6205538" y="4171950"/>
          <p14:tracePt t="59535" x="6213475" y="4167188"/>
          <p14:tracePt t="59536" x="6221413" y="4167188"/>
          <p14:tracePt t="59537" x="6229350" y="4167188"/>
          <p14:tracePt t="59539" x="6238875" y="4164013"/>
          <p14:tracePt t="59540" x="6246813" y="4164013"/>
          <p14:tracePt t="59540" x="6249988" y="4164013"/>
          <p14:tracePt t="59541" x="6257925" y="4159250"/>
          <p14:tracePt t="59542" x="6265863" y="4159250"/>
          <p14:tracePt t="59544" x="6270625" y="4159250"/>
          <p14:tracePt t="59544" x="6278563" y="4156075"/>
          <p14:tracePt t="59547" x="6289675" y="4156075"/>
          <p14:tracePt t="59547" x="6294438" y="4151313"/>
          <p14:tracePt t="59549" x="6302375" y="4151313"/>
          <p14:tracePt t="59550" x="6305550" y="4148138"/>
          <p14:tracePt t="59550" x="6313488" y="4148138"/>
          <p14:tracePt t="59551" x="6313488" y="4143375"/>
          <p14:tracePt t="59552" x="6318250" y="4143375"/>
          <p14:tracePt t="59553" x="6323013" y="4143375"/>
          <p14:tracePt t="59554" x="6330950" y="4140200"/>
          <p14:tracePt t="59556" x="6334125" y="4140200"/>
          <p14:tracePt t="59557" x="6338888" y="4140200"/>
          <p14:tracePt t="59557" x="6342063" y="4135438"/>
          <p14:tracePt t="59558" x="6346825" y="4135438"/>
          <p14:tracePt t="59559" x="6350000" y="4132263"/>
          <p14:tracePt t="59562" x="6357938" y="4132263"/>
          <p14:tracePt t="59563" x="6362700" y="4132263"/>
          <p14:tracePt t="59564" x="6362700" y="4127500"/>
          <p14:tracePt t="59566" x="6365875" y="4127500"/>
          <p14:tracePt t="59566" x="6370638" y="4127500"/>
          <p14:tracePt t="59567" x="6373813" y="4124325"/>
          <p14:tracePt t="59568" x="6378575" y="4124325"/>
          <p14:tracePt t="59569" x="6378575" y="4119563"/>
          <p14:tracePt t="59572" x="6381750" y="4119563"/>
          <p14:tracePt t="59573" x="6381750" y="4116388"/>
          <p14:tracePt t="59575" x="6386513" y="4111625"/>
          <p14:tracePt t="59575" x="6389688" y="4111625"/>
          <p14:tracePt t="59577" x="6394450" y="4111625"/>
          <p14:tracePt t="59578" x="6394450" y="4106863"/>
          <p14:tracePt t="59579" x="6397625" y="4106863"/>
          <p14:tracePt t="59582" x="6402388" y="4103688"/>
          <p14:tracePt t="59587" x="6402388" y="4098925"/>
          <p14:tracePt t="59589" x="6402388" y="4095750"/>
          <p14:tracePt t="59591" x="6405563" y="4095750"/>
          <p14:tracePt t="59597" x="6405563" y="4090988"/>
          <p14:tracePt t="59607" x="6405563" y="4087813"/>
          <p14:tracePt t="59609" x="6410325" y="4087813"/>
          <p14:tracePt t="59610" x="6410325" y="4083050"/>
          <p14:tracePt t="59612" x="6410325" y="4079875"/>
          <p14:tracePt t="59615" x="6410325" y="4075113"/>
          <p14:tracePt t="59618" x="6410325" y="4071938"/>
          <p14:tracePt t="59621" x="6410325" y="4067175"/>
          <p14:tracePt t="59624" x="6410325" y="4064000"/>
          <p14:tracePt t="59626" x="6410325" y="4059238"/>
          <p14:tracePt t="59628" x="6410325" y="4056063"/>
          <p14:tracePt t="59631" x="6410325" y="4051300"/>
          <p14:tracePt t="59634" x="6410325" y="4048125"/>
          <p14:tracePt t="59637" x="6410325" y="4043363"/>
          <p14:tracePt t="59638" x="6410325" y="4040188"/>
          <p14:tracePt t="59641" x="6410325" y="4035425"/>
          <p14:tracePt t="59643" x="6410325" y="4032250"/>
          <p14:tracePt t="59644" x="6405563" y="4027488"/>
          <p14:tracePt t="59646" x="6405563" y="4024313"/>
          <p14:tracePt t="59647" x="6405563" y="4019550"/>
          <p14:tracePt t="59650" x="6405563" y="4014788"/>
          <p14:tracePt t="59652" x="6405563" y="4011613"/>
          <p14:tracePt t="59653" x="6402388" y="4011613"/>
          <p14:tracePt t="59654" x="6402388" y="4006850"/>
          <p14:tracePt t="59656" x="6397625" y="4006850"/>
          <p14:tracePt t="59656" x="6397625" y="4003675"/>
          <p14:tracePt t="59657" x="6394450" y="4003675"/>
          <p14:tracePt t="59659" x="6389688" y="3998913"/>
          <p14:tracePt t="59661" x="6386513" y="3995738"/>
          <p14:tracePt t="59661" x="6386513" y="3990975"/>
          <p14:tracePt t="59662" x="6381750" y="3990975"/>
          <p14:tracePt t="59664" x="6381750" y="3987800"/>
          <p14:tracePt t="59664" x="6378575" y="3983038"/>
          <p14:tracePt t="59665" x="6373813" y="3983038"/>
          <p14:tracePt t="59666" x="6370638" y="3979863"/>
          <p14:tracePt t="59668" x="6365875" y="3975100"/>
          <p14:tracePt t="59670" x="6365875" y="3971925"/>
          <p14:tracePt t="59671" x="6365875" y="3967163"/>
          <p14:tracePt t="59672" x="6362700" y="3967163"/>
          <p14:tracePt t="59673" x="6357938" y="3967163"/>
          <p14:tracePt t="59674" x="6357938" y="3963988"/>
          <p14:tracePt t="59675" x="6350000" y="3963988"/>
          <p14:tracePt t="59675" x="6350000" y="3959225"/>
          <p14:tracePt t="59676" x="6346825" y="3959225"/>
          <p14:tracePt t="59677" x="6342063" y="3956050"/>
          <p14:tracePt t="59678" x="6338888" y="3956050"/>
          <p14:tracePt t="59679" x="6334125" y="3951288"/>
          <p14:tracePt t="59680" x="6334125" y="3948113"/>
          <p14:tracePt t="59681" x="6330950" y="3948113"/>
          <p14:tracePt t="59682" x="6326188" y="3943350"/>
          <p14:tracePt t="59683" x="6323013" y="3940175"/>
          <p14:tracePt t="59685" x="6318250" y="3935413"/>
          <p14:tracePt t="59687" x="6313488" y="3930650"/>
          <p14:tracePt t="59688" x="6310313" y="3930650"/>
          <p14:tracePt t="59689" x="6305550" y="3927475"/>
          <p14:tracePt t="59691" x="6302375" y="3927475"/>
          <p14:tracePt t="59692" x="6294438" y="3927475"/>
          <p14:tracePt t="59694" x="6294438" y="3922713"/>
          <p14:tracePt t="59694" x="6286500" y="3922713"/>
          <p14:tracePt t="59695" x="6286500" y="3919538"/>
          <p14:tracePt t="59696" x="6281738" y="3919538"/>
          <p14:tracePt t="59697" x="6278563" y="3919538"/>
          <p14:tracePt t="59698" x="6273800" y="3914775"/>
          <p14:tracePt t="59700" x="6270625" y="3911600"/>
          <p14:tracePt t="59702" x="6265863" y="3911600"/>
          <p14:tracePt t="59702" x="6262688" y="3906838"/>
          <p14:tracePt t="59704" x="6254750" y="3903663"/>
          <p14:tracePt t="59708" x="6246813" y="3898900"/>
          <p14:tracePt t="59709" x="6242050" y="3898900"/>
          <p14:tracePt t="59709" x="6238875" y="3898900"/>
          <p14:tracePt t="59710" x="6234113" y="3895725"/>
          <p14:tracePt t="59711" x="6229350" y="3895725"/>
          <p14:tracePt t="59712" x="6221413" y="3895725"/>
          <p14:tracePt t="59713" x="6221413" y="3890963"/>
          <p14:tracePt t="59714" x="6218238" y="3890963"/>
          <p14:tracePt t="59715" x="6213475" y="3887788"/>
          <p14:tracePt t="59716" x="6210300" y="3887788"/>
          <p14:tracePt t="59717" x="6205538" y="3887788"/>
          <p14:tracePt t="59718" x="6202363" y="3883025"/>
          <p14:tracePt t="59719" x="6197600" y="3883025"/>
          <p14:tracePt t="59720" x="6194425" y="3883025"/>
          <p14:tracePt t="59721" x="6189663" y="3883025"/>
          <p14:tracePt t="59722" x="6186488" y="3883025"/>
          <p14:tracePt t="59724" x="6173788" y="3879850"/>
          <p14:tracePt t="59726" x="6170613" y="3875088"/>
          <p14:tracePt t="59727" x="6165850" y="3875088"/>
          <p14:tracePt t="59728" x="6162675" y="3875088"/>
          <p14:tracePt t="59729" x="6157913" y="3875088"/>
          <p14:tracePt t="59730" x="6149975" y="3871913"/>
          <p14:tracePt t="59731" x="6146800" y="3871913"/>
          <p14:tracePt t="59733" x="6142038" y="3867150"/>
          <p14:tracePt t="59733" x="6137275" y="3867150"/>
          <p14:tracePt t="59734" x="6129338" y="3863975"/>
          <p14:tracePt t="59735" x="6126163" y="3863975"/>
          <p14:tracePt t="59736" x="6121400" y="3859213"/>
          <p14:tracePt t="59737" x="6118225" y="3859213"/>
          <p14:tracePt t="59739" x="6113463" y="3859213"/>
          <p14:tracePt t="59740" x="6110288" y="3859213"/>
          <p14:tracePt t="59741" x="6102350" y="3856038"/>
          <p14:tracePt t="59741" x="6097588" y="3856038"/>
          <p14:tracePt t="59742" x="6094413" y="3856038"/>
          <p14:tracePt t="59743" x="6089650" y="3856038"/>
          <p14:tracePt t="59744" x="6081713" y="3851275"/>
          <p14:tracePt t="59745" x="6073775" y="3851275"/>
          <p14:tracePt t="59746" x="6070600" y="3851275"/>
          <p14:tracePt t="59747" x="6065838" y="3848100"/>
          <p14:tracePt t="59749" x="6062663" y="3848100"/>
          <p14:tracePt t="59749" x="6057900" y="3848100"/>
          <p14:tracePt t="59750" x="6049963" y="3843338"/>
          <p14:tracePt t="59751" x="6045200" y="3843338"/>
          <p14:tracePt t="59752" x="6042025" y="3843338"/>
          <p14:tracePt t="59753" x="6037263" y="3843338"/>
          <p14:tracePt t="59754" x="6029325" y="3838575"/>
          <p14:tracePt t="59757" x="6026150" y="3838575"/>
          <p14:tracePt t="59758" x="6021388" y="3838575"/>
          <p14:tracePt t="59758" x="6018213" y="3838575"/>
          <p14:tracePt t="59760" x="6010275" y="3838575"/>
          <p14:tracePt t="59761" x="6005513" y="3835400"/>
          <p14:tracePt t="59762" x="6002338" y="3835400"/>
          <p14:tracePt t="59763" x="5994400" y="3835400"/>
          <p14:tracePt t="59764" x="5986463" y="3835400"/>
          <p14:tracePt t="59765" x="5981700" y="3830638"/>
          <p14:tracePt t="59767" x="5978525" y="3830638"/>
          <p14:tracePt t="59768" x="5970588" y="3830638"/>
          <p14:tracePt t="59769" x="5965825" y="3830638"/>
          <p14:tracePt t="59770" x="5962650" y="3830638"/>
          <p14:tracePt t="59771" x="5957888" y="3830638"/>
          <p14:tracePt t="59772" x="5953125" y="3830638"/>
          <p14:tracePt t="59773" x="5945188" y="3830638"/>
          <p14:tracePt t="59774" x="5942013" y="3830638"/>
          <p14:tracePt t="59776" x="5937250" y="3830638"/>
          <p14:tracePt t="59777" x="5934075" y="3830638"/>
          <p14:tracePt t="59778" x="5926138" y="3827463"/>
          <p14:tracePt t="59778" x="5921375" y="3827463"/>
          <p14:tracePt t="59780" x="5913438" y="3827463"/>
          <p14:tracePt t="59781" x="5910263" y="3827463"/>
          <p14:tracePt t="59782" x="5905500" y="3827463"/>
          <p14:tracePt t="59783" x="5902325" y="3827463"/>
          <p14:tracePt t="59784" x="5894388" y="3827463"/>
          <p14:tracePt t="59785" x="5889625" y="3827463"/>
          <p14:tracePt t="59786" x="5881688" y="3827463"/>
          <p14:tracePt t="59787" x="5878513" y="3827463"/>
          <p14:tracePt t="59788" x="5873750" y="3827463"/>
          <p14:tracePt t="59789" x="5865813" y="3827463"/>
          <p14:tracePt t="59791" x="5861050" y="3827463"/>
          <p14:tracePt t="59791" x="5853113" y="3827463"/>
          <p14:tracePt t="59794" x="5849938" y="3827463"/>
          <p14:tracePt t="59794" x="5842000" y="3827463"/>
          <p14:tracePt t="59796" x="5837238" y="3827463"/>
          <p14:tracePt t="59796" x="5829300" y="3827463"/>
          <p14:tracePt t="59797" x="5826125" y="3827463"/>
          <p14:tracePt t="59798" x="5821363" y="3827463"/>
          <p14:tracePt t="59799" x="5818188" y="3827463"/>
          <p14:tracePt t="59800" x="5810250" y="3827463"/>
          <p14:tracePt t="59801" x="5802313" y="3827463"/>
          <p14:tracePt t="59802" x="5797550" y="3827463"/>
          <p14:tracePt t="59803" x="5794375" y="3827463"/>
          <p14:tracePt t="59804" x="5786438" y="3827463"/>
          <p14:tracePt t="59806" x="5776913" y="3827463"/>
          <p14:tracePt t="59807" x="5773738" y="3827463"/>
          <p14:tracePt t="59807" x="5768975" y="3827463"/>
          <p14:tracePt t="59808" x="5761038" y="3830638"/>
          <p14:tracePt t="59810" x="5753100" y="3830638"/>
          <p14:tracePt t="59811" x="5749925" y="3830638"/>
          <p14:tracePt t="59812" x="5745163" y="3830638"/>
          <p14:tracePt t="59813" x="5737225" y="3835400"/>
          <p14:tracePt t="59814" x="5734050" y="3835400"/>
          <p14:tracePt t="59815" x="5726113" y="3835400"/>
          <p14:tracePt t="59816" x="5721350" y="3835400"/>
          <p14:tracePt t="59817" x="5718175" y="3838575"/>
          <p14:tracePt t="59818" x="5713413" y="3838575"/>
          <p14:tracePt t="59819" x="5705475" y="3838575"/>
          <p14:tracePt t="59820" x="5702300" y="3843338"/>
          <p14:tracePt t="59821" x="5697538" y="3843338"/>
          <p14:tracePt t="59823" x="5694363" y="3848100"/>
          <p14:tracePt t="59824" x="5689600" y="3848100"/>
          <p14:tracePt t="59825" x="5684838" y="3848100"/>
          <p14:tracePt t="59827" x="5684838" y="3851275"/>
          <p14:tracePt t="59827" x="5681663" y="3851275"/>
          <p14:tracePt t="59828" x="5676900" y="3851275"/>
          <p14:tracePt t="59829" x="5673725" y="3851275"/>
          <p14:tracePt t="59830" x="5668963" y="3851275"/>
          <p14:tracePt t="59831" x="5665788" y="3856038"/>
          <p14:tracePt t="59832" x="5661025" y="3856038"/>
          <p14:tracePt t="59834" x="5657850" y="3856038"/>
          <p14:tracePt t="59835" x="5657850" y="3859213"/>
          <p14:tracePt t="59836" x="5653088" y="3859213"/>
          <p14:tracePt t="59838" x="5649913" y="3859213"/>
          <p14:tracePt t="59839" x="5649913" y="3863975"/>
          <p14:tracePt t="59841" x="5645150" y="3863975"/>
          <p14:tracePt t="59842" x="5641975" y="3863975"/>
          <p14:tracePt t="59843" x="5637213" y="3863975"/>
          <p14:tracePt t="59844" x="5634038" y="3863975"/>
          <p14:tracePt t="59845" x="5634038" y="3867150"/>
          <p14:tracePt t="59846" x="5629275" y="3867150"/>
          <p14:tracePt t="59850" x="5626100" y="3867150"/>
          <p14:tracePt t="59851" x="5626100" y="3871913"/>
          <p14:tracePt t="59852" x="5621338" y="3871913"/>
          <p14:tracePt t="59854" x="5618163" y="3871913"/>
          <p14:tracePt t="59858" x="5613400" y="3871913"/>
          <p14:tracePt t="59861" x="5613400" y="3875088"/>
          <p14:tracePt t="59862" x="5610225" y="3875088"/>
          <p14:tracePt t="59864" x="5610225" y="3879850"/>
          <p14:tracePt t="59867" x="5605463" y="3879850"/>
          <p14:tracePt t="59869" x="5602288" y="3879850"/>
          <p14:tracePt t="59872" x="5597525" y="3879850"/>
          <p14:tracePt t="59873" x="5597525" y="3883025"/>
          <p14:tracePt t="59891" x="5592763" y="3883025"/>
          <p14:tracePt t="59936" x="5592763" y="3887788"/>
          <p14:tracePt t="59986" x="5589588" y="3887788"/>
          <p14:tracePt t="59990" x="5584825" y="3890963"/>
          <p14:tracePt t="59995" x="5581650" y="3890963"/>
          <p14:tracePt t="59997" x="5581650" y="3895725"/>
          <p14:tracePt t="60000" x="5576888" y="3895725"/>
          <p14:tracePt t="60009" x="5576888" y="3898900"/>
          <p14:tracePt t="60014" x="5573713" y="3898900"/>
          <p14:tracePt t="60015" x="5568950" y="3898900"/>
          <p14:tracePt t="60016" x="5568950" y="3903663"/>
          <p14:tracePt t="60019" x="5565775" y="3903663"/>
          <p14:tracePt t="60022" x="5561013" y="3903663"/>
          <p14:tracePt t="60026" x="5557838" y="3903663"/>
          <p14:tracePt t="60029" x="5553075" y="3903663"/>
          <p14:tracePt t="60031" x="5553075" y="3906838"/>
          <p14:tracePt t="60036" x="5549900" y="3906838"/>
          <p14:tracePt t="60040" x="5545138" y="3906838"/>
          <p14:tracePt t="60041" x="5541963" y="3906838"/>
          <p14:tracePt t="60044" x="5541963" y="3911600"/>
          <p14:tracePt t="60045" x="5537200" y="3911600"/>
          <p14:tracePt t="60070" x="5534025" y="3911600"/>
          <p14:tracePt t="60477" x="5534025" y="3914775"/>
          <p14:tracePt t="60490" x="5534025" y="3919538"/>
          <p14:tracePt t="60493" x="5537200" y="3919538"/>
          <p14:tracePt t="60495" x="5541963" y="3922713"/>
          <p14:tracePt t="60497" x="5545138" y="3922713"/>
          <p14:tracePt t="60499" x="5549900" y="3927475"/>
          <p14:tracePt t="60501" x="5553075" y="3927475"/>
          <p14:tracePt t="60502" x="5557838" y="3927475"/>
          <p14:tracePt t="60504" x="5561013" y="3927475"/>
          <p14:tracePt t="60505" x="5565775" y="3927475"/>
          <p14:tracePt t="60507" x="5568950" y="3930650"/>
          <p14:tracePt t="60509" x="5573713" y="3930650"/>
          <p14:tracePt t="60511" x="5576888" y="3930650"/>
          <p14:tracePt t="60513" x="5584825" y="3935413"/>
          <p14:tracePt t="60516" x="5592763" y="3940175"/>
          <p14:tracePt t="60517" x="5597525" y="3940175"/>
          <p14:tracePt t="60519" x="5605463" y="3940175"/>
          <p14:tracePt t="60520" x="5610225" y="3943350"/>
          <p14:tracePt t="60521" x="5613400" y="3943350"/>
          <p14:tracePt t="60521" x="5618163" y="3943350"/>
          <p14:tracePt t="60523" x="5621338" y="3943350"/>
          <p14:tracePt t="60524" x="5626100" y="3943350"/>
          <p14:tracePt t="60525" x="5629275" y="3943350"/>
          <p14:tracePt t="60526" x="5637213" y="3943350"/>
          <p14:tracePt t="60527" x="5641975" y="3943350"/>
          <p14:tracePt t="60528" x="5645150" y="3943350"/>
          <p14:tracePt t="60530" x="5649913" y="3943350"/>
          <p14:tracePt t="60530" x="5653088" y="3943350"/>
          <p14:tracePt t="60531" x="5661025" y="3943350"/>
          <p14:tracePt t="60532" x="5665788" y="3943350"/>
          <p14:tracePt t="60533" x="5673725" y="3943350"/>
          <p14:tracePt t="60535" x="5676900" y="3943350"/>
          <p14:tracePt t="60536" x="5684838" y="3943350"/>
          <p14:tracePt t="60537" x="5689600" y="3943350"/>
          <p14:tracePt t="60539" x="5702300" y="3943350"/>
          <p14:tracePt t="60541" x="5705475" y="3943350"/>
          <p14:tracePt t="60541" x="5713413" y="3943350"/>
          <p14:tracePt t="60542" x="5718175" y="3943350"/>
          <p14:tracePt t="60543" x="5726113" y="3943350"/>
          <p14:tracePt t="60544" x="5729288" y="3943350"/>
          <p14:tracePt t="60546" x="5734050" y="3943350"/>
          <p14:tracePt t="60546" x="5741988" y="3943350"/>
          <p14:tracePt t="60548" x="5749925" y="3943350"/>
          <p14:tracePt t="60549" x="5753100" y="3943350"/>
          <p14:tracePt t="60550" x="5761038" y="3943350"/>
          <p14:tracePt t="60552" x="5765800" y="3943350"/>
          <p14:tracePt t="60552" x="5773738" y="3943350"/>
          <p14:tracePt t="60553" x="5776913" y="3943350"/>
          <p14:tracePt t="60554" x="5786438" y="3943350"/>
          <p14:tracePt t="60556" x="5794375" y="3943350"/>
          <p14:tracePt t="60558" x="5802313" y="3943350"/>
          <p14:tracePt t="60558" x="5810250" y="3943350"/>
          <p14:tracePt t="60559" x="5813425" y="3943350"/>
          <p14:tracePt t="60560" x="5821363" y="3943350"/>
          <p14:tracePt t="60561" x="5826125" y="3943350"/>
          <p14:tracePt t="60562" x="5834063" y="3940175"/>
          <p14:tracePt t="60563" x="5837238" y="3940175"/>
          <p14:tracePt t="60564" x="5842000" y="3940175"/>
          <p14:tracePt t="60565" x="5845175" y="3940175"/>
          <p14:tracePt t="60566" x="5853113" y="3935413"/>
          <p14:tracePt t="60567" x="5857875" y="3935413"/>
          <p14:tracePt t="60568" x="5865813" y="3935413"/>
          <p14:tracePt t="60569" x="5868988" y="3930650"/>
          <p14:tracePt t="60570" x="5878513" y="3930650"/>
          <p14:tracePt t="60571" x="5881688" y="3930650"/>
          <p14:tracePt t="60573" x="5886450" y="3930650"/>
          <p14:tracePt t="60573" x="5894388" y="3927475"/>
          <p14:tracePt t="60574" x="5897563" y="3927475"/>
          <p14:tracePt t="60575" x="5902325" y="3927475"/>
          <p14:tracePt t="60576" x="5910263" y="3922713"/>
          <p14:tracePt t="60577" x="5913438" y="3922713"/>
          <p14:tracePt t="60578" x="5921375" y="3919538"/>
          <p14:tracePt t="60579" x="5926138" y="3919538"/>
          <p14:tracePt t="60581" x="5929313" y="3919538"/>
          <p14:tracePt t="60582" x="5934075" y="3914775"/>
          <p14:tracePt t="60583" x="5937250" y="3914775"/>
          <p14:tracePt t="60584" x="5942013" y="3914775"/>
          <p14:tracePt t="60585" x="5945188" y="3911600"/>
          <p14:tracePt t="60586" x="5949950" y="3911600"/>
          <p14:tracePt t="60587" x="5953125" y="3911600"/>
          <p14:tracePt t="60588" x="5957888" y="3906838"/>
          <p14:tracePt t="60590" x="5962650" y="3906838"/>
          <p14:tracePt t="60591" x="5965825" y="3903663"/>
          <p14:tracePt t="60592" x="5970588" y="3898900"/>
          <p14:tracePt t="60593" x="5978525" y="3898900"/>
          <p14:tracePt t="60594" x="5978525" y="3895725"/>
          <p14:tracePt t="60596" x="5981700" y="3895725"/>
          <p14:tracePt t="60596" x="5986463" y="3890963"/>
          <p14:tracePt t="60597" x="5989638" y="3890963"/>
          <p14:tracePt t="60598" x="5994400" y="3887788"/>
          <p14:tracePt t="60600" x="5997575" y="3883025"/>
          <p14:tracePt t="60601" x="6002338" y="3883025"/>
          <p14:tracePt t="60602" x="6002338" y="3879850"/>
          <p14:tracePt t="60603" x="6005513" y="3879850"/>
          <p14:tracePt t="60604" x="6010275" y="3879850"/>
          <p14:tracePt t="60608" x="6013450" y="3875088"/>
          <p14:tracePt t="60609" x="6018213" y="3871913"/>
          <p14:tracePt t="60611" x="6021388" y="3867150"/>
          <p14:tracePt t="60612" x="6026150" y="3863975"/>
          <p14:tracePt t="60613" x="6029325" y="3863975"/>
          <p14:tracePt t="60614" x="6034088" y="3859213"/>
          <p14:tracePt t="60615" x="6037263" y="3856038"/>
          <p14:tracePt t="60617" x="6042025" y="3851275"/>
          <p14:tracePt t="60618" x="6045200" y="3848100"/>
          <p14:tracePt t="60620" x="6049963" y="3843338"/>
          <p14:tracePt t="60621" x="6049963" y="3838575"/>
          <p14:tracePt t="60623" x="6054725" y="3838575"/>
          <p14:tracePt t="60625" x="6062663" y="3835400"/>
          <p14:tracePt t="60626" x="6065838" y="3830638"/>
          <p14:tracePt t="60627" x="6065838" y="3827463"/>
          <p14:tracePt t="60628" x="6070600" y="3822700"/>
          <p14:tracePt t="60629" x="6073775" y="3822700"/>
          <p14:tracePt t="60630" x="6078538" y="3819525"/>
          <p14:tracePt t="60632" x="6081713" y="3814763"/>
          <p14:tracePt t="60633" x="6086475" y="3811588"/>
          <p14:tracePt t="60634" x="6089650" y="3806825"/>
          <p14:tracePt t="60635" x="6089650" y="3803650"/>
          <p14:tracePt t="60636" x="6094413" y="3803650"/>
          <p14:tracePt t="60637" x="6094413" y="3798888"/>
          <p14:tracePt t="60639" x="6102350" y="3795713"/>
          <p14:tracePt t="60640" x="6105525" y="3795713"/>
          <p14:tracePt t="60643" x="6113463" y="3790950"/>
          <p14:tracePt t="60643" x="6118225" y="3787775"/>
          <p14:tracePt t="60645" x="6121400" y="3783013"/>
          <p14:tracePt t="60647" x="6126163" y="3779838"/>
          <p14:tracePt t="60648" x="6129338" y="3779838"/>
          <p14:tracePt t="60648" x="6134100" y="3775075"/>
          <p14:tracePt t="60649" x="6137275" y="3771900"/>
          <p14:tracePt t="60650" x="6142038" y="3771900"/>
          <p14:tracePt t="60651" x="6142038" y="3767138"/>
          <p14:tracePt t="60653" x="6146800" y="3763963"/>
          <p14:tracePt t="60655" x="6149975" y="3763963"/>
          <p14:tracePt t="60656" x="6154738" y="3759200"/>
          <p14:tracePt t="60656" x="6157913" y="3759200"/>
          <p14:tracePt t="60658" x="6162675" y="3759200"/>
          <p14:tracePt t="60659" x="6165850" y="3756025"/>
          <p14:tracePt t="60660" x="6170613" y="3756025"/>
          <p14:tracePt t="60662" x="6173788" y="3756025"/>
          <p14:tracePt t="60663" x="6178550" y="3756025"/>
          <p14:tracePt t="60663" x="6181725" y="3751263"/>
          <p14:tracePt t="60665" x="6186488" y="3751263"/>
          <p14:tracePt t="60666" x="6189663" y="3751263"/>
          <p14:tracePt t="60667" x="6189663" y="3746500"/>
          <p14:tracePt t="60668" x="6194425" y="3746500"/>
          <p14:tracePt t="60669" x="6197600" y="3743325"/>
          <p14:tracePt t="60670" x="6202363" y="3743325"/>
          <p14:tracePt t="60671" x="6205538" y="3743325"/>
          <p14:tracePt t="60673" x="6210300" y="3743325"/>
          <p14:tracePt t="60674" x="6213475" y="3743325"/>
          <p14:tracePt t="60675" x="6218238" y="3738563"/>
          <p14:tracePt t="60676" x="6221413" y="3738563"/>
          <p14:tracePt t="60677" x="6226175" y="3738563"/>
          <p14:tracePt t="60678" x="6229350" y="3738563"/>
          <p14:tracePt t="60679" x="6234113" y="3735388"/>
          <p14:tracePt t="60680" x="6238875" y="3735388"/>
          <p14:tracePt t="60681" x="6242050" y="3735388"/>
          <p14:tracePt t="60682" x="6246813" y="3735388"/>
          <p14:tracePt t="60683" x="6249988" y="3735388"/>
          <p14:tracePt t="60684" x="6257925" y="3735388"/>
          <p14:tracePt t="60685" x="6262688" y="3735388"/>
          <p14:tracePt t="60686" x="6265863" y="3735388"/>
          <p14:tracePt t="60688" x="6273800" y="3735388"/>
          <p14:tracePt t="60690" x="6278563" y="3735388"/>
          <p14:tracePt t="60691" x="6281738" y="3735388"/>
          <p14:tracePt t="60691" x="6289675" y="3735388"/>
          <p14:tracePt t="60692" x="6294438" y="3735388"/>
          <p14:tracePt t="60694" x="6297613" y="3735388"/>
          <p14:tracePt t="60695" x="6305550" y="3735388"/>
          <p14:tracePt t="60696" x="6313488" y="3735388"/>
          <p14:tracePt t="60696" x="6318250" y="3735388"/>
          <p14:tracePt t="60698" x="6326188" y="3735388"/>
          <p14:tracePt t="60699" x="6334125" y="3735388"/>
          <p14:tracePt t="60699" x="6338888" y="3735388"/>
          <p14:tracePt t="60700" x="6346825" y="3738563"/>
          <p14:tracePt t="60702" x="6354763" y="3738563"/>
          <p14:tracePt t="60702" x="6357938" y="3738563"/>
          <p14:tracePt t="60703" x="6365875" y="3743325"/>
          <p14:tracePt t="60704" x="6378575" y="3746500"/>
          <p14:tracePt t="60706" x="6381750" y="3746500"/>
          <p14:tracePt t="60707" x="6389688" y="3751263"/>
          <p14:tracePt t="60707" x="6397625" y="3751263"/>
          <p14:tracePt t="60708" x="6415088" y="3756025"/>
          <p14:tracePt t="60710" x="6418263" y="3756025"/>
          <p14:tracePt t="60711" x="6426200" y="3759200"/>
          <p14:tracePt t="60712" x="6434138" y="3759200"/>
          <p14:tracePt t="60713" x="6442075" y="3763963"/>
          <p14:tracePt t="60714" x="6457950" y="3771900"/>
          <p14:tracePt t="60714" x="6465888" y="3775075"/>
          <p14:tracePt t="60715" x="6473825" y="3775075"/>
          <p14:tracePt t="60717" x="6481763" y="3779838"/>
          <p14:tracePt t="60717" x="6489700" y="3779838"/>
          <p14:tracePt t="60718" x="6507163" y="3783013"/>
          <p14:tracePt t="60719" x="6515100" y="3787775"/>
          <p14:tracePt t="60720" x="6523038" y="3790950"/>
          <p14:tracePt t="60721" x="6530975" y="3795713"/>
          <p14:tracePt t="60723" x="6538913" y="3798888"/>
          <p14:tracePt t="60724" x="6554788" y="3806825"/>
          <p14:tracePt t="60725" x="6565900" y="3811588"/>
          <p14:tracePt t="60725" x="6573838" y="3814763"/>
          <p14:tracePt t="60727" x="6586538" y="3819525"/>
          <p14:tracePt t="60727" x="6599238" y="3822700"/>
          <p14:tracePt t="60729" x="6615113" y="3827463"/>
          <p14:tracePt t="60729" x="6623050" y="3830638"/>
          <p14:tracePt t="60730" x="6634163" y="3838575"/>
          <p14:tracePt t="60731" x="6646863" y="3843338"/>
          <p14:tracePt t="60733" x="6665913" y="3851275"/>
          <p14:tracePt t="60734" x="6686550" y="3859213"/>
          <p14:tracePt t="60735" x="6699250" y="3867150"/>
          <p14:tracePt t="60736" x="6710363" y="3871913"/>
          <p14:tracePt t="60737" x="6718300" y="3875088"/>
          <p14:tracePt t="60738" x="6738938" y="3883025"/>
          <p14:tracePt t="60739" x="6754813" y="3890963"/>
          <p14:tracePt t="60740" x="6762750" y="3895725"/>
          <p14:tracePt t="60742" x="6778625" y="3898900"/>
          <p14:tracePt t="60745" x="6818313" y="3922713"/>
          <p14:tracePt t="60746" x="6834188" y="3927475"/>
          <p14:tracePt t="60746" x="6846888" y="3930650"/>
          <p14:tracePt t="60747" x="6862763" y="3940175"/>
          <p14:tracePt t="60748" x="6883400" y="3948113"/>
          <p14:tracePt t="60749" x="6891338" y="3956050"/>
          <p14:tracePt t="60750" x="6907213" y="3959225"/>
          <p14:tracePt t="60751" x="6918325" y="3971925"/>
          <p14:tracePt t="60752" x="6934200" y="3975100"/>
          <p14:tracePt t="60753" x="6946900" y="3979863"/>
          <p14:tracePt t="60754" x="6967538" y="3987800"/>
          <p14:tracePt t="60756" x="6978650" y="3995738"/>
          <p14:tracePt t="60756" x="6999288" y="4003675"/>
          <p14:tracePt t="60759" x="7031038" y="4019550"/>
          <p14:tracePt t="60761" x="7059613" y="4027488"/>
          <p14:tracePt t="60762" x="7075488" y="4032250"/>
          <p14:tracePt t="60762" x="7083425" y="4043363"/>
          <p14:tracePt t="60763" x="7102475" y="4048125"/>
          <p14:tracePt t="60764" x="7110413" y="4056063"/>
          <p14:tracePt t="60765" x="7126288" y="4059238"/>
          <p14:tracePt t="60766" x="7135813" y="4064000"/>
          <p14:tracePt t="60767" x="7146925" y="4071938"/>
          <p14:tracePt t="60768" x="7162800" y="4079875"/>
          <p14:tracePt t="60769" x="7178675" y="4083050"/>
          <p14:tracePt t="60770" x="7186613" y="4087813"/>
          <p14:tracePt t="60772" x="7194550" y="4090988"/>
          <p14:tracePt t="60773" x="7207250" y="4095750"/>
          <p14:tracePt t="60773" x="7215188" y="4095750"/>
          <p14:tracePt t="60776" x="7239000" y="4111625"/>
          <p14:tracePt t="60776" x="7246938" y="4116388"/>
          <p14:tracePt t="60777" x="7259638" y="4119563"/>
          <p14:tracePt t="60778" x="7270750" y="4124325"/>
          <p14:tracePt t="60779" x="7278688" y="4127500"/>
          <p14:tracePt t="60780" x="7286625" y="4127500"/>
          <p14:tracePt t="60781" x="7291388" y="4132263"/>
          <p14:tracePt t="60782" x="7299325" y="4135438"/>
          <p14:tracePt t="60783" x="7307263" y="4140200"/>
          <p14:tracePt t="60784" x="7323138" y="4148138"/>
          <p14:tracePt t="60785" x="7327900" y="4148138"/>
          <p14:tracePt t="60786" x="7335838" y="4148138"/>
          <p14:tracePt t="60787" x="7343775" y="4156075"/>
          <p14:tracePt t="60788" x="7346950" y="4156075"/>
          <p14:tracePt t="60790" x="7354888" y="4156075"/>
          <p14:tracePt t="60791" x="7359650" y="4159250"/>
          <p14:tracePt t="60793" x="7370763" y="4164013"/>
          <p14:tracePt t="60794" x="7386638" y="4167188"/>
          <p14:tracePt t="60796" x="7391400" y="4167188"/>
          <p14:tracePt t="60796" x="7399338" y="4171950"/>
          <p14:tracePt t="60797" x="7402513" y="4171950"/>
          <p14:tracePt t="60798" x="7402513" y="4175125"/>
          <p14:tracePt t="60799" x="7412038" y="4175125"/>
          <p14:tracePt t="60800" x="7415213" y="4179888"/>
          <p14:tracePt t="60801" x="7419975" y="4179888"/>
          <p14:tracePt t="60802" x="7427913" y="4183063"/>
          <p14:tracePt t="60803" x="7431088" y="4183063"/>
          <p14:tracePt t="60804" x="7435850" y="4183063"/>
          <p14:tracePt t="60806" x="7443788" y="4187825"/>
          <p14:tracePt t="60806" x="7446963" y="4187825"/>
          <p14:tracePt t="60808" x="7451725" y="4191000"/>
          <p14:tracePt t="60809" x="7454900" y="4191000"/>
          <p14:tracePt t="60809" x="7459663" y="4191000"/>
          <p14:tracePt t="60810" x="7467600" y="4195763"/>
          <p14:tracePt t="60811" x="7470775" y="4195763"/>
          <p14:tracePt t="60812" x="7475538" y="4198938"/>
          <p14:tracePt t="60814" x="7483475" y="4198938"/>
          <p14:tracePt t="60815" x="7486650" y="4203700"/>
          <p14:tracePt t="60816" x="7491413" y="4203700"/>
          <p14:tracePt t="60817" x="7494588" y="4203700"/>
          <p14:tracePt t="60818" x="7499350" y="4203700"/>
          <p14:tracePt t="60819" x="7507288" y="4208463"/>
          <p14:tracePt t="60820" x="7512050" y="4208463"/>
          <p14:tracePt t="60821" x="7515225" y="4208463"/>
          <p14:tracePt t="60823" x="7519988" y="4208463"/>
          <p14:tracePt t="60825" x="7531100" y="4211638"/>
          <p14:tracePt t="60825" x="7535863" y="4216400"/>
          <p14:tracePt t="60827" x="7539038" y="4219575"/>
          <p14:tracePt t="60828" x="7543800" y="4219575"/>
          <p14:tracePt t="60829" x="7551738" y="4224338"/>
          <p14:tracePt t="60830" x="7554913" y="4224338"/>
          <p14:tracePt t="60831" x="7559675" y="4224338"/>
          <p14:tracePt t="60832" x="7567613" y="4224338"/>
          <p14:tracePt t="60834" x="7570788" y="4224338"/>
          <p14:tracePt t="60834" x="7575550" y="4227513"/>
          <p14:tracePt t="60836" x="7583488" y="4227513"/>
          <p14:tracePt t="60836" x="7588250" y="4232275"/>
          <p14:tracePt t="60837" x="7591425" y="4235450"/>
          <p14:tracePt t="60838" x="7596188" y="4235450"/>
          <p14:tracePt t="60840" x="7604125" y="4240213"/>
          <p14:tracePt t="60842" x="7607300" y="4240213"/>
          <p14:tracePt t="60844" x="7620000" y="4240213"/>
          <p14:tracePt t="60844" x="7623175" y="4240213"/>
          <p14:tracePt t="60845" x="7631113" y="4243388"/>
          <p14:tracePt t="60846" x="7635875" y="4243388"/>
          <p14:tracePt t="60847" x="7639050" y="4248150"/>
          <p14:tracePt t="60848" x="7646988" y="4248150"/>
          <p14:tracePt t="60849" x="7651750" y="4251325"/>
          <p14:tracePt t="60850" x="7659688" y="4256088"/>
          <p14:tracePt t="60851" x="7662863" y="4256088"/>
          <p14:tracePt t="60852" x="7670800" y="4259263"/>
          <p14:tracePt t="60853" x="7675563" y="4259263"/>
          <p14:tracePt t="60854" x="7683500" y="4264025"/>
          <p14:tracePt t="60856" x="7688263" y="4264025"/>
          <p14:tracePt t="60857" x="7691438" y="4267200"/>
          <p14:tracePt t="60859" x="7699375" y="4267200"/>
          <p14:tracePt t="60859" x="7704138" y="4271963"/>
          <p14:tracePt t="60861" x="7712075" y="4275138"/>
          <p14:tracePt t="60861" x="7715250" y="4275138"/>
          <p14:tracePt t="60862" x="7723188" y="4279900"/>
          <p14:tracePt t="60863" x="7727950" y="4279900"/>
          <p14:tracePt t="60864" x="7735888" y="4283075"/>
          <p14:tracePt t="60865" x="7739063" y="4283075"/>
          <p14:tracePt t="60866" x="7743825" y="4287838"/>
          <p14:tracePt t="60867" x="7747000" y="4287838"/>
          <p14:tracePt t="60868" x="7754938" y="4291013"/>
          <p14:tracePt t="60869" x="7762875" y="4295775"/>
          <p14:tracePt t="60870" x="7767638" y="4295775"/>
          <p14:tracePt t="60871" x="7775575" y="4300538"/>
          <p14:tracePt t="60872" x="7780338" y="4300538"/>
          <p14:tracePt t="60874" x="7783513" y="4303713"/>
          <p14:tracePt t="60875" x="7796213" y="4308475"/>
          <p14:tracePt t="60877" x="7799388" y="4311650"/>
          <p14:tracePt t="60877" x="7804150" y="4311650"/>
          <p14:tracePt t="60878" x="7807325" y="4316413"/>
          <p14:tracePt t="60879" x="7815263" y="4319588"/>
          <p14:tracePt t="60880" x="7820025" y="4319588"/>
          <p14:tracePt t="60881" x="7827963" y="4324350"/>
          <p14:tracePt t="60882" x="7831138" y="4324350"/>
          <p14:tracePt t="60883" x="7835900" y="4324350"/>
          <p14:tracePt t="60884" x="7843838" y="4327525"/>
          <p14:tracePt t="60885" x="7847013" y="4332288"/>
          <p14:tracePt t="60886" x="7851775" y="4332288"/>
          <p14:tracePt t="60887" x="7859713" y="4335463"/>
          <p14:tracePt t="60889" x="7872413" y="4340225"/>
          <p14:tracePt t="60892" x="7880350" y="4343400"/>
          <p14:tracePt t="60893" x="7883525" y="4343400"/>
          <p14:tracePt t="60893" x="7883525" y="4348163"/>
          <p14:tracePt t="60894" x="7891463" y="4348163"/>
          <p14:tracePt t="60895" x="7896225" y="4348163"/>
          <p14:tracePt t="60896" x="7899400" y="4348163"/>
          <p14:tracePt t="60907" x="7948613" y="4367213"/>
          <p14:tracePt t="60909" x="7959725" y="4371975"/>
          <p14:tracePt t="60910" x="7964488" y="4371975"/>
          <p14:tracePt t="60911" x="7967663" y="4371975"/>
          <p14:tracePt t="60913" x="7972425" y="4375150"/>
          <p14:tracePt t="60913" x="7975600" y="4375150"/>
          <p14:tracePt t="60914" x="7980363" y="4375150"/>
          <p14:tracePt t="60916" x="7983538" y="4375150"/>
          <p14:tracePt t="60916" x="7988300" y="4379913"/>
          <p14:tracePt t="60917" x="7991475" y="4379913"/>
          <p14:tracePt t="60918" x="7996238" y="4379913"/>
          <p14:tracePt t="60920" x="7999413" y="4383088"/>
          <p14:tracePt t="60922" x="8004175" y="4383088"/>
          <p14:tracePt t="60923" x="8012113" y="4383088"/>
          <p14:tracePt t="60925" x="8015288" y="4383088"/>
          <p14:tracePt t="60927" x="8020050" y="4387850"/>
          <p14:tracePt t="60928" x="8023225" y="4387850"/>
          <p14:tracePt t="60929" x="8027988" y="4387850"/>
          <p14:tracePt t="60930" x="8031163" y="4387850"/>
          <p14:tracePt t="60931" x="8035925" y="4387850"/>
          <p14:tracePt t="60935" x="8043863" y="4392613"/>
          <p14:tracePt t="60936" x="8048625" y="4392613"/>
          <p14:tracePt t="60937" x="8051800" y="4392613"/>
          <p14:tracePt t="60938" x="8056563" y="4392613"/>
          <p14:tracePt t="60939" x="8059738" y="4392613"/>
          <p14:tracePt t="60941" x="8064500" y="4392613"/>
          <p14:tracePt t="60941" x="8067675" y="4392613"/>
          <p14:tracePt t="60944" x="8072438" y="4392613"/>
          <p14:tracePt t="60944" x="8080375" y="4392613"/>
          <p14:tracePt t="60946" x="8083550" y="4392613"/>
          <p14:tracePt t="60947" x="8088313" y="4392613"/>
          <p14:tracePt t="60948" x="8091488" y="4395788"/>
          <p14:tracePt t="60949" x="8096250" y="4395788"/>
          <p14:tracePt t="60950" x="8099425" y="4395788"/>
          <p14:tracePt t="60952" x="8112125" y="4395788"/>
          <p14:tracePt t="60953" x="8115300" y="4395788"/>
          <p14:tracePt t="60954" x="8120063" y="4395788"/>
          <p14:tracePt t="60956" x="8128000" y="4395788"/>
          <p14:tracePt t="60957" x="8132763" y="4395788"/>
          <p14:tracePt t="60959" x="8135938" y="4395788"/>
          <p14:tracePt t="60959" x="8140700" y="4395788"/>
          <p14:tracePt t="60960" x="8148638" y="4395788"/>
          <p14:tracePt t="60961" x="8151813" y="4395788"/>
          <p14:tracePt t="60962" x="8156575" y="4395788"/>
          <p14:tracePt t="60963" x="8159750" y="4395788"/>
          <p14:tracePt t="60964" x="8164513" y="4395788"/>
          <p14:tracePt t="60965" x="8167688" y="4395788"/>
          <p14:tracePt t="60966" x="8172450" y="4395788"/>
          <p14:tracePt t="60967" x="8175625" y="4395788"/>
          <p14:tracePt t="60969" x="8180388" y="4395788"/>
          <p14:tracePt t="60970" x="8183563" y="4395788"/>
          <p14:tracePt t="60971" x="8188325" y="4395788"/>
          <p14:tracePt t="60972" x="8191500" y="4392613"/>
          <p14:tracePt t="60973" x="8196263" y="4392613"/>
          <p14:tracePt t="60974" x="8199438" y="4392613"/>
          <p14:tracePt t="60977" x="8204200" y="4387850"/>
          <p14:tracePt t="60979" x="8207375" y="4387850"/>
          <p14:tracePt t="60980" x="8212138" y="4387850"/>
          <p14:tracePt t="60980" x="8215313" y="4383088"/>
          <p14:tracePt t="60983" x="8220075" y="4383088"/>
          <p14:tracePt t="60984" x="8220075" y="4379913"/>
          <p14:tracePt t="60985" x="8224838" y="4379913"/>
          <p14:tracePt t="60989" x="8228013" y="4375150"/>
          <p14:tracePt t="60992" x="8232775" y="4371975"/>
          <p14:tracePt t="60994" x="8235950" y="4371975"/>
          <p14:tracePt t="60997" x="8240713" y="4371975"/>
          <p14:tracePt t="60999" x="8240713" y="4367213"/>
          <p14:tracePt t="61000" x="8243888" y="4367213"/>
          <p14:tracePt t="61002" x="8243888" y="4364038"/>
          <p14:tracePt t="61003" x="8248650" y="4364038"/>
          <p14:tracePt t="61007" x="8251825" y="4364038"/>
          <p14:tracePt t="61011" x="8256588" y="4364038"/>
          <p14:tracePt t="61016" x="8259763" y="4359275"/>
          <p14:tracePt t="61018" x="8259763" y="4356100"/>
          <p14:tracePt t="61025" x="8259763" y="4351338"/>
          <p14:tracePt t="61031" x="8264525" y="4351338"/>
          <p14:tracePt t="61035" x="8264525" y="4348163"/>
          <p14:tracePt t="61075" x="8264525" y="4343400"/>
          <p14:tracePt t="61275" x="8264525" y="4340225"/>
          <p14:tracePt t="61286" x="8264525" y="4335463"/>
          <p14:tracePt t="61292" x="8264525" y="4332288"/>
          <p14:tracePt t="61294" x="8264525" y="4327525"/>
          <p14:tracePt t="61297" x="8256588" y="4324350"/>
          <p14:tracePt t="61299" x="8251825" y="4324350"/>
          <p14:tracePt t="61301" x="8248650" y="4319588"/>
          <p14:tracePt t="61303" x="8243888" y="4316413"/>
          <p14:tracePt t="61305" x="8240713" y="4311650"/>
          <p14:tracePt t="61307" x="8235950" y="4308475"/>
          <p14:tracePt t="61309" x="8232775" y="4303713"/>
          <p14:tracePt t="61311" x="8228013" y="4300538"/>
          <p14:tracePt t="61313" x="8224838" y="4295775"/>
          <p14:tracePt t="61314" x="8224838" y="4291013"/>
          <p14:tracePt t="61316" x="8220075" y="4287838"/>
          <p14:tracePt t="61317" x="8215313" y="4283075"/>
          <p14:tracePt t="61319" x="8212138" y="4283075"/>
          <p14:tracePt t="61320" x="8207375" y="4283075"/>
          <p14:tracePt t="61321" x="8207375" y="4279900"/>
          <p14:tracePt t="61322" x="8199438" y="4275138"/>
          <p14:tracePt t="61324" x="8196263" y="4271963"/>
          <p14:tracePt t="61325" x="8191500" y="4267200"/>
          <p14:tracePt t="61330" x="8172450" y="4251325"/>
          <p14:tracePt t="61331" x="8172450" y="4248150"/>
          <p14:tracePt t="61332" x="8167688" y="4248150"/>
          <p14:tracePt t="61332" x="8159750" y="4243388"/>
          <p14:tracePt t="61334" x="8156575" y="4240213"/>
          <p14:tracePt t="61334" x="8156575" y="4235450"/>
          <p14:tracePt t="61336" x="8148638" y="4232275"/>
          <p14:tracePt t="61336" x="8143875" y="4232275"/>
          <p14:tracePt t="61337" x="8140700" y="4227513"/>
          <p14:tracePt t="61339" x="8128000" y="4224338"/>
          <p14:tracePt t="61341" x="8123238" y="4219575"/>
          <p14:tracePt t="61342" x="8120063" y="4216400"/>
          <p14:tracePt t="61344" x="8107363" y="4208463"/>
          <p14:tracePt t="61344" x="8104188" y="4203700"/>
          <p14:tracePt t="61345" x="8099425" y="4203700"/>
          <p14:tracePt t="61346" x="8091488" y="4198938"/>
          <p14:tracePt t="61347" x="8091488" y="4195763"/>
          <p14:tracePt t="61348" x="8088313" y="4191000"/>
          <p14:tracePt t="61349" x="8080375" y="4187825"/>
          <p14:tracePt t="61350" x="8075613" y="4187825"/>
          <p14:tracePt t="61351" x="8067675" y="4183063"/>
          <p14:tracePt t="61353" x="8064500" y="4179888"/>
          <p14:tracePt t="61354" x="8059738" y="4175125"/>
          <p14:tracePt t="61354" x="8056563" y="4175125"/>
          <p14:tracePt t="61356" x="8051800" y="4171950"/>
          <p14:tracePt t="61357" x="8043863" y="4171950"/>
          <p14:tracePt t="61358" x="8035925" y="4167188"/>
          <p14:tracePt t="61359" x="8031163" y="4167188"/>
          <p14:tracePt t="61360" x="8031163" y="4164013"/>
          <p14:tracePt t="61361" x="8023225" y="4164013"/>
          <p14:tracePt t="61362" x="8023225" y="4159250"/>
          <p14:tracePt t="61364" x="8015288" y="4156075"/>
          <p14:tracePt t="61366" x="8012113" y="4156075"/>
          <p14:tracePt t="61367" x="8007350" y="4151313"/>
          <p14:tracePt t="61367" x="8004175" y="4151313"/>
          <p14:tracePt t="61369" x="7999413" y="4151313"/>
          <p14:tracePt t="61370" x="7996238" y="4151313"/>
          <p14:tracePt t="61370" x="7991475" y="4148138"/>
          <p14:tracePt t="61371" x="7988300" y="4148138"/>
          <p14:tracePt t="61373" x="7988300" y="4143375"/>
          <p14:tracePt t="61374" x="7983538" y="4143375"/>
          <p14:tracePt t="61375" x="7980363" y="4143375"/>
          <p14:tracePt t="61376" x="7975600" y="4140200"/>
          <p14:tracePt t="61376" x="7972425" y="4140200"/>
          <p14:tracePt t="61377" x="7967663" y="4140200"/>
          <p14:tracePt t="61378" x="7964488" y="4135438"/>
          <p14:tracePt t="61380" x="7959725" y="4132263"/>
          <p14:tracePt t="61381" x="7951788" y="4132263"/>
          <p14:tracePt t="61382" x="7948613" y="4132263"/>
          <p14:tracePt t="61383" x="7943850" y="4132263"/>
          <p14:tracePt t="61384" x="7943850" y="4127500"/>
          <p14:tracePt t="61386" x="7939088" y="4127500"/>
          <p14:tracePt t="61386" x="7935913" y="4127500"/>
          <p14:tracePt t="61387" x="7931150" y="4124325"/>
          <p14:tracePt t="61389" x="7927975" y="4124325"/>
          <p14:tracePt t="61391" x="7915275" y="4124325"/>
          <p14:tracePt t="61393" x="7912100" y="4124325"/>
          <p14:tracePt t="61395" x="7907338" y="4119563"/>
          <p14:tracePt t="61396" x="7904163" y="4119563"/>
          <p14:tracePt t="61396" x="7896225" y="4116388"/>
          <p14:tracePt t="61397" x="7891463" y="4116388"/>
          <p14:tracePt t="61398" x="7888288" y="4116388"/>
          <p14:tracePt t="61399" x="7883525" y="4116388"/>
          <p14:tracePt t="61400" x="7880350" y="4111625"/>
          <p14:tracePt t="61401" x="7875588" y="4111625"/>
          <p14:tracePt t="61403" x="7872413" y="4111625"/>
          <p14:tracePt t="61405" x="7867650" y="4106863"/>
          <p14:tracePt t="61406" x="7859713" y="4106863"/>
          <p14:tracePt t="61408" x="7854950" y="4106863"/>
          <p14:tracePt t="61408" x="7851775" y="4103688"/>
          <p14:tracePt t="61409" x="7843838" y="4103688"/>
          <p14:tracePt t="61410" x="7839075" y="4103688"/>
          <p14:tracePt t="61411" x="7835900" y="4103688"/>
          <p14:tracePt t="61412" x="7831138" y="4103688"/>
          <p14:tracePt t="61413" x="7827963" y="4098925"/>
          <p14:tracePt t="61415" x="7823200" y="4098925"/>
          <p14:tracePt t="61416" x="7815263" y="4098925"/>
          <p14:tracePt t="61417" x="7812088" y="4098925"/>
          <p14:tracePt t="61418" x="7807325" y="4098925"/>
          <p14:tracePt t="61419" x="7804150" y="4095750"/>
          <p14:tracePt t="61420" x="7796213" y="4095750"/>
          <p14:tracePt t="61421" x="7791450" y="4095750"/>
          <p14:tracePt t="61422" x="7783513" y="4095750"/>
          <p14:tracePt t="61424" x="7780338" y="4095750"/>
          <p14:tracePt t="61424" x="7775575" y="4095750"/>
          <p14:tracePt t="61425" x="7767638" y="4095750"/>
          <p14:tracePt t="61427" x="7759700" y="4095750"/>
          <p14:tracePt t="61427" x="7754938" y="4090988"/>
          <p14:tracePt t="61429" x="7747000" y="4090988"/>
          <p14:tracePt t="61430" x="7743825" y="4090988"/>
          <p14:tracePt t="61431" x="7735888" y="4090988"/>
          <p14:tracePt t="61432" x="7731125" y="4090988"/>
          <p14:tracePt t="61433" x="7723188" y="4090988"/>
          <p14:tracePt t="61434" x="7720013" y="4090988"/>
          <p14:tracePt t="61436" x="7712075" y="4090988"/>
          <p14:tracePt t="61436" x="7704138" y="4090988"/>
          <p14:tracePt t="61437" x="7696200" y="4090988"/>
          <p14:tracePt t="61438" x="7691438" y="4090988"/>
          <p14:tracePt t="61440" x="7683500" y="4087813"/>
          <p14:tracePt t="61440" x="7680325" y="4087813"/>
          <p14:tracePt t="61441" x="7670800" y="4087813"/>
          <p14:tracePt t="61442" x="7662863" y="4087813"/>
          <p14:tracePt t="61444" x="7659688" y="4087813"/>
          <p14:tracePt t="61444" x="7651750" y="4087813"/>
          <p14:tracePt t="61446" x="7643813" y="4087813"/>
          <p14:tracePt t="61446" x="7635875" y="4087813"/>
          <p14:tracePt t="61447" x="7627938" y="4087813"/>
          <p14:tracePt t="61448" x="7623175" y="4087813"/>
          <p14:tracePt t="61449" x="7615238" y="4087813"/>
          <p14:tracePt t="61450" x="7607300" y="4087813"/>
          <p14:tracePt t="61452" x="7599363" y="4087813"/>
          <p14:tracePt t="61452" x="7591425" y="4087813"/>
          <p14:tracePt t="61453" x="7588250" y="4087813"/>
          <p14:tracePt t="61454" x="7578725" y="4087813"/>
          <p14:tracePt t="61456" x="7570788" y="4087813"/>
          <p14:tracePt t="61457" x="7559675" y="4087813"/>
          <p14:tracePt t="61457" x="7554913" y="4087813"/>
          <p14:tracePt t="61459" x="7546975" y="4087813"/>
          <p14:tracePt t="61460" x="7539038" y="4087813"/>
          <p14:tracePt t="61461" x="7531100" y="4087813"/>
          <p14:tracePt t="61462" x="7523163" y="4087813"/>
          <p14:tracePt t="61463" x="7515225" y="4087813"/>
          <p14:tracePt t="61463" x="7507288" y="4087813"/>
          <p14:tracePt t="61464" x="7499350" y="4087813"/>
          <p14:tracePt t="61465" x="7491413" y="4087813"/>
          <p14:tracePt t="61466" x="7483475" y="4087813"/>
          <p14:tracePt t="61468" x="7475538" y="4087813"/>
          <p14:tracePt t="61468" x="7467600" y="4087813"/>
          <p14:tracePt t="61469" x="7459663" y="4087813"/>
          <p14:tracePt t="61470" x="7446963" y="4087813"/>
          <p14:tracePt t="61471" x="7439025" y="4087813"/>
          <p14:tracePt t="61473" x="7427913" y="4087813"/>
          <p14:tracePt t="61473" x="7419975" y="4087813"/>
          <p14:tracePt t="61474" x="7412038" y="4087813"/>
          <p14:tracePt t="61476" x="7402513" y="4087813"/>
          <p14:tracePt t="61477" x="7386638" y="4087813"/>
          <p14:tracePt t="61478" x="7378700" y="4087813"/>
          <p14:tracePt t="61478" x="7370763" y="4087813"/>
          <p14:tracePt t="61479" x="7362825" y="4087813"/>
          <p14:tracePt t="61480" x="7354888" y="4087813"/>
          <p14:tracePt t="61481" x="7346950" y="4087813"/>
          <p14:tracePt t="61482" x="7335838" y="4087813"/>
          <p14:tracePt t="61483" x="7327900" y="4087813"/>
          <p14:tracePt t="61484" x="7319963" y="4087813"/>
          <p14:tracePt t="61485" x="7310438" y="4087813"/>
          <p14:tracePt t="61486" x="7302500" y="4087813"/>
          <p14:tracePt t="61487" x="7286625" y="4087813"/>
          <p14:tracePt t="61488" x="7278688" y="4087813"/>
          <p14:tracePt t="61490" x="7270750" y="4087813"/>
          <p14:tracePt t="61490" x="7262813" y="4087813"/>
          <p14:tracePt t="61491" x="7246938" y="4087813"/>
          <p14:tracePt t="61493" x="7235825" y="4087813"/>
          <p14:tracePt t="61494" x="7227888" y="4087813"/>
          <p14:tracePt t="61495" x="7218363" y="4087813"/>
          <p14:tracePt t="61496" x="7210425" y="4087813"/>
          <p14:tracePt t="61497" x="7199313" y="4087813"/>
          <p14:tracePt t="61499" x="7175500" y="4090988"/>
          <p14:tracePt t="61499" x="7167563" y="4090988"/>
          <p14:tracePt t="61500" x="7151688" y="4090988"/>
          <p14:tracePt t="61501" x="7143750" y="4090988"/>
          <p14:tracePt t="61502" x="7131050" y="4090988"/>
          <p14:tracePt t="61503" x="7123113" y="4090988"/>
          <p14:tracePt t="61504" x="7107238" y="4098925"/>
          <p14:tracePt t="61506" x="7099300" y="4098925"/>
          <p14:tracePt t="61507" x="7091363" y="4098925"/>
          <p14:tracePt t="61507" x="7078663" y="4098925"/>
          <p14:tracePt t="61508" x="7062788" y="4098925"/>
          <p14:tracePt t="61509" x="7054850" y="4098925"/>
          <p14:tracePt t="61510" x="7046913" y="4098925"/>
          <p14:tracePt t="61511" x="7038975" y="4098925"/>
          <p14:tracePt t="61512" x="7018338" y="4103688"/>
          <p14:tracePt t="61513" x="7010400" y="4103688"/>
          <p14:tracePt t="61515" x="7002463" y="4103688"/>
          <p14:tracePt t="61515" x="6994525" y="4103688"/>
          <p14:tracePt t="61516" x="6983413" y="4103688"/>
          <p14:tracePt t="61517" x="6967538" y="4106863"/>
          <p14:tracePt t="61518" x="6959600" y="4106863"/>
          <p14:tracePt t="61519" x="6950075" y="4106863"/>
          <p14:tracePt t="61520" x="6942138" y="4106863"/>
          <p14:tracePt t="61521" x="6931025" y="4106863"/>
          <p14:tracePt t="61522" x="6915150" y="4106863"/>
          <p14:tracePt t="61523" x="6907213" y="4111625"/>
          <p14:tracePt t="61524" x="6899275" y="4111625"/>
          <p14:tracePt t="61526" x="6886575" y="4111625"/>
          <p14:tracePt t="61526" x="6878638" y="4111625"/>
          <p14:tracePt t="61527" x="6862763" y="4111625"/>
          <p14:tracePt t="61528" x="6854825" y="4111625"/>
          <p14:tracePt t="61530" x="6846888" y="4116388"/>
          <p14:tracePt t="61530" x="6834188" y="4116388"/>
          <p14:tracePt t="61531" x="6826250" y="4116388"/>
          <p14:tracePt t="61532" x="6810375" y="4116388"/>
          <p14:tracePt t="61533" x="6799263" y="4116388"/>
          <p14:tracePt t="61534" x="6791325" y="4116388"/>
          <p14:tracePt t="61536" x="6775450" y="4119563"/>
          <p14:tracePt t="61536" x="6762750" y="4119563"/>
          <p14:tracePt t="61537" x="6754813" y="4119563"/>
          <p14:tracePt t="61538" x="6738938" y="4119563"/>
          <p14:tracePt t="61540" x="6731000" y="4119563"/>
          <p14:tracePt t="61541" x="6718300" y="4119563"/>
          <p14:tracePt t="61542" x="6710363" y="4124325"/>
          <p14:tracePt t="61542" x="6694488" y="4124325"/>
          <p14:tracePt t="61543" x="6681788" y="4124325"/>
          <p14:tracePt t="61544" x="6673850" y="4124325"/>
          <p14:tracePt t="61546" x="6657975" y="4124325"/>
          <p14:tracePt t="61546" x="6650038" y="4124325"/>
          <p14:tracePt t="61547" x="6638925" y="4132263"/>
          <p14:tracePt t="61548" x="6623050" y="4132263"/>
          <p14:tracePt t="61549" x="6610350" y="4132263"/>
          <p14:tracePt t="61550" x="6602413" y="4132263"/>
          <p14:tracePt t="61551" x="6586538" y="4132263"/>
          <p14:tracePt t="61552" x="6573838" y="4135438"/>
          <p14:tracePt t="61553" x="6565900" y="4135438"/>
          <p14:tracePt t="61554" x="6557963" y="4135438"/>
          <p14:tracePt t="61556" x="6542088" y="4135438"/>
          <p14:tracePt t="61557" x="6530975" y="4135438"/>
          <p14:tracePt t="61557" x="6518275" y="4135438"/>
          <p14:tracePt t="61558" x="6510338" y="4135438"/>
          <p14:tracePt t="61559" x="6494463" y="4135438"/>
          <p14:tracePt t="61560" x="6486525" y="4140200"/>
          <p14:tracePt t="61561" x="6473825" y="4140200"/>
          <p14:tracePt t="61562" x="6457950" y="4140200"/>
          <p14:tracePt t="61563" x="6450013" y="4140200"/>
          <p14:tracePt t="61564" x="6442075" y="4140200"/>
          <p14:tracePt t="61566" x="6430963" y="4140200"/>
          <p14:tracePt t="61567" x="6423025" y="4140200"/>
          <p14:tracePt t="61567" x="6415088" y="4140200"/>
          <p14:tracePt t="61568" x="6397625" y="4140200"/>
          <p14:tracePt t="61570" x="6389688" y="4143375"/>
          <p14:tracePt t="61570" x="6378575" y="4143375"/>
          <p14:tracePt t="61571" x="6365875" y="4143375"/>
          <p14:tracePt t="61573" x="6354763" y="4143375"/>
          <p14:tracePt t="61574" x="6346825" y="4143375"/>
          <p14:tracePt t="61575" x="6338888" y="4143375"/>
          <p14:tracePt t="61575" x="6330950" y="4143375"/>
          <p14:tracePt t="61577" x="6305550" y="4143375"/>
          <p14:tracePt t="61578" x="6294438" y="4143375"/>
          <p14:tracePt t="61579" x="6286500" y="4143375"/>
          <p14:tracePt t="61580" x="6278563" y="4143375"/>
          <p14:tracePt t="61581" x="6270625" y="4143375"/>
          <p14:tracePt t="61583" x="6262688" y="4143375"/>
          <p14:tracePt t="61583" x="6254750" y="4143375"/>
          <p14:tracePt t="61584" x="6246813" y="4143375"/>
          <p14:tracePt t="61585" x="6238875" y="4143375"/>
          <p14:tracePt t="61586" x="6234113" y="4148138"/>
          <p14:tracePt t="61587" x="6226175" y="4148138"/>
          <p14:tracePt t="61588" x="6218238" y="4148138"/>
          <p14:tracePt t="61590" x="6210300" y="4148138"/>
          <p14:tracePt t="61590" x="6205538" y="4148138"/>
          <p14:tracePt t="61591" x="6197600" y="4148138"/>
          <p14:tracePt t="61592" x="6194425" y="4151313"/>
          <p14:tracePt t="61593" x="6186488" y="4151313"/>
          <p14:tracePt t="61594" x="6181725" y="4151313"/>
          <p14:tracePt t="61596" x="6178550" y="4151313"/>
          <p14:tracePt t="61596" x="6170613" y="4151313"/>
          <p14:tracePt t="61597" x="6165850" y="4151313"/>
          <p14:tracePt t="61598" x="6157913" y="4151313"/>
          <p14:tracePt t="61600" x="6154738" y="4156075"/>
          <p14:tracePt t="61602" x="6149975" y="4156075"/>
          <p14:tracePt t="61602" x="6142038" y="4156075"/>
          <p14:tracePt t="61604" x="6137275" y="4156075"/>
          <p14:tracePt t="61604" x="6134100" y="4156075"/>
          <p14:tracePt t="61606" x="6129338" y="4156075"/>
          <p14:tracePt t="61607" x="6126163" y="4156075"/>
          <p14:tracePt t="61609" x="6118225" y="4159250"/>
          <p14:tracePt t="61609" x="6113463" y="4159250"/>
          <p14:tracePt t="61611" x="6110288" y="4159250"/>
          <p14:tracePt t="61612" x="6105525" y="4159250"/>
          <p14:tracePt t="61614" x="6102350" y="4159250"/>
          <p14:tracePt t="61615" x="6097588" y="4159250"/>
          <p14:tracePt t="61616" x="6094413" y="4159250"/>
          <p14:tracePt t="61618" x="6089650" y="4159250"/>
          <p14:tracePt t="61620" x="6086475" y="4159250"/>
          <p14:tracePt t="61623" x="6081713" y="4159250"/>
          <p14:tracePt t="61624" x="6081713" y="4164013"/>
          <p14:tracePt t="61627" x="6078538" y="4164013"/>
          <p14:tracePt t="61640" x="6078538" y="4167188"/>
          <p14:tracePt t="61664" x="6078538" y="4171950"/>
          <p14:tracePt t="61673" x="6078538" y="4175125"/>
          <p14:tracePt t="61676" x="6078538" y="4179888"/>
          <p14:tracePt t="61679" x="6078538" y="4183063"/>
          <p14:tracePt t="61680" x="6078538" y="4187825"/>
          <p14:tracePt t="61682" x="6078538" y="4191000"/>
          <p14:tracePt t="61684" x="6078538" y="4195763"/>
          <p14:tracePt t="61687" x="6078538" y="4198938"/>
          <p14:tracePt t="61688" x="6081713" y="4203700"/>
          <p14:tracePt t="61691" x="6081713" y="4208463"/>
          <p14:tracePt t="61692" x="6086475" y="4211638"/>
          <p14:tracePt t="61694" x="6086475" y="4216400"/>
          <p14:tracePt t="61695" x="6089650" y="4216400"/>
          <p14:tracePt t="61695" x="6089650" y="4219575"/>
          <p14:tracePt t="61696" x="6094413" y="4224338"/>
          <p14:tracePt t="61697" x="6097588" y="4227513"/>
          <p14:tracePt t="61698" x="6097588" y="4232275"/>
          <p14:tracePt t="61700" x="6102350" y="4232275"/>
          <p14:tracePt t="61700" x="6102350" y="4235450"/>
          <p14:tracePt t="61702" x="6105525" y="4240213"/>
          <p14:tracePt t="61702" x="6110288" y="4243388"/>
          <p14:tracePt t="61704" x="6113463" y="4248150"/>
          <p14:tracePt t="61706" x="6113463" y="4251325"/>
          <p14:tracePt t="61707" x="6118225" y="4251325"/>
          <p14:tracePt t="61707" x="6121400" y="4256088"/>
          <p14:tracePt t="61709" x="6126163" y="4259263"/>
          <p14:tracePt t="61710" x="6129338" y="4264025"/>
          <p14:tracePt t="61711" x="6134100" y="4267200"/>
          <p14:tracePt t="61712" x="6137275" y="4271963"/>
          <p14:tracePt t="61712" x="6142038" y="4275138"/>
          <p14:tracePt t="61713" x="6146800" y="4279900"/>
          <p14:tracePt t="61714" x="6149975" y="4283075"/>
          <p14:tracePt t="61716" x="6157913" y="4283075"/>
          <p14:tracePt t="61718" x="6162675" y="4287838"/>
          <p14:tracePt t="61718" x="6170613" y="4291013"/>
          <p14:tracePt t="61719" x="6173788" y="4295775"/>
          <p14:tracePt t="61720" x="6181725" y="4295775"/>
          <p14:tracePt t="61721" x="6186488" y="4300538"/>
          <p14:tracePt t="61723" x="6189663" y="4303713"/>
          <p14:tracePt t="61724" x="6197600" y="4308475"/>
          <p14:tracePt t="61725" x="6202363" y="4311650"/>
          <p14:tracePt t="61726" x="6210300" y="4316413"/>
          <p14:tracePt t="61727" x="6213475" y="4319588"/>
          <p14:tracePt t="61728" x="6221413" y="4319588"/>
          <p14:tracePt t="61729" x="6229350" y="4324350"/>
          <p14:tracePt t="61729" x="6234113" y="4327525"/>
          <p14:tracePt t="61731" x="6242050" y="4332288"/>
          <p14:tracePt t="61732" x="6246813" y="4332288"/>
          <p14:tracePt t="61733" x="6254750" y="4335463"/>
          <p14:tracePt t="61733" x="6262688" y="4340225"/>
          <p14:tracePt t="61734" x="6270625" y="4343400"/>
          <p14:tracePt t="61735" x="6273800" y="4343400"/>
          <p14:tracePt t="61736" x="6281738" y="4348163"/>
          <p14:tracePt t="61737" x="6289675" y="4351338"/>
          <p14:tracePt t="61738" x="6297613" y="4356100"/>
          <p14:tracePt t="61739" x="6305550" y="4356100"/>
          <p14:tracePt t="61741" x="6318250" y="4359275"/>
          <p14:tracePt t="61743" x="6326188" y="4364038"/>
          <p14:tracePt t="61744" x="6342063" y="4367213"/>
          <p14:tracePt t="61744" x="6350000" y="4375150"/>
          <p14:tracePt t="61745" x="6357938" y="4375150"/>
          <p14:tracePt t="61746" x="6365875" y="4379913"/>
          <p14:tracePt t="61747" x="6373813" y="4379913"/>
          <p14:tracePt t="61748" x="6386513" y="4383088"/>
          <p14:tracePt t="61749" x="6394450" y="4387850"/>
          <p14:tracePt t="61750" x="6402388" y="4387850"/>
          <p14:tracePt t="61751" x="6410325" y="4392613"/>
          <p14:tracePt t="61752" x="6418263" y="4392613"/>
          <p14:tracePt t="61753" x="6434138" y="4395788"/>
          <p14:tracePt t="61754" x="6442075" y="4395788"/>
          <p14:tracePt t="61756" x="6450013" y="4400550"/>
          <p14:tracePt t="61756" x="6457950" y="4400550"/>
          <p14:tracePt t="61759" x="6486525" y="4411663"/>
          <p14:tracePt t="61760" x="6494463" y="4411663"/>
          <p14:tracePt t="61761" x="6502400" y="4411663"/>
          <p14:tracePt t="61761" x="6510338" y="4416425"/>
          <p14:tracePt t="61762" x="6526213" y="4416425"/>
          <p14:tracePt t="61763" x="6538913" y="4419600"/>
          <p14:tracePt t="61764" x="6546850" y="4419600"/>
          <p14:tracePt t="61765" x="6562725" y="4419600"/>
          <p14:tracePt t="61766" x="6570663" y="4424363"/>
          <p14:tracePt t="61767" x="6581775" y="4424363"/>
          <p14:tracePt t="61768" x="6599238" y="4427538"/>
          <p14:tracePt t="61769" x="6607175" y="4427538"/>
          <p14:tracePt t="61770" x="6618288" y="4427538"/>
          <p14:tracePt t="61771" x="6626225" y="4432300"/>
          <p14:tracePt t="61773" x="6642100" y="4432300"/>
          <p14:tracePt t="61774" x="6654800" y="4432300"/>
          <p14:tracePt t="61775" x="6670675" y="4432300"/>
          <p14:tracePt t="61776" x="6678613" y="4432300"/>
          <p14:tracePt t="61776" x="6691313" y="4435475"/>
          <p14:tracePt t="61777" x="6707188" y="4435475"/>
          <p14:tracePt t="61778" x="6718300" y="4435475"/>
          <p14:tracePt t="61780" x="6734175" y="4443413"/>
          <p14:tracePt t="61780" x="6746875" y="4443413"/>
          <p14:tracePt t="61781" x="6754813" y="4443413"/>
          <p14:tracePt t="61782" x="6765925" y="4443413"/>
          <p14:tracePt t="61783" x="6783388" y="4443413"/>
          <p14:tracePt t="61784" x="6794500" y="4448175"/>
          <p14:tracePt t="61785" x="6810375" y="4448175"/>
          <p14:tracePt t="61786" x="6818313" y="4448175"/>
          <p14:tracePt t="61787" x="6831013" y="4448175"/>
          <p14:tracePt t="61788" x="6850063" y="4448175"/>
          <p14:tracePt t="61789" x="6858000" y="4448175"/>
          <p14:tracePt t="61791" x="6875463" y="4451350"/>
          <p14:tracePt t="61791" x="6886575" y="4451350"/>
          <p14:tracePt t="61792" x="6894513" y="4451350"/>
          <p14:tracePt t="61793" x="6915150" y="4451350"/>
          <p14:tracePt t="61794" x="6926263" y="4451350"/>
          <p14:tracePt t="61795" x="6942138" y="4451350"/>
          <p14:tracePt t="61796" x="6950075" y="4451350"/>
          <p14:tracePt t="61797" x="6962775" y="4451350"/>
          <p14:tracePt t="61798" x="6983413" y="4456113"/>
          <p14:tracePt t="61799" x="6994525" y="4456113"/>
          <p14:tracePt t="61800" x="7010400" y="4456113"/>
          <p14:tracePt t="61801" x="7018338" y="4456113"/>
          <p14:tracePt t="61802" x="7031038" y="4456113"/>
          <p14:tracePt t="61803" x="7051675" y="4456113"/>
          <p14:tracePt t="61804" x="7067550" y="4456113"/>
          <p14:tracePt t="61806" x="7075488" y="4456113"/>
          <p14:tracePt t="61807" x="7086600" y="4456113"/>
          <p14:tracePt t="61807" x="7099300" y="4456113"/>
          <p14:tracePt t="61808" x="7115175" y="4456113"/>
          <p14:tracePt t="61809" x="7126288" y="4456113"/>
          <p14:tracePt t="61810" x="7143750" y="4456113"/>
          <p14:tracePt t="61811" x="7154863" y="4459288"/>
          <p14:tracePt t="61812" x="7170738" y="4459288"/>
          <p14:tracePt t="61813" x="7183438" y="4459288"/>
          <p14:tracePt t="61814" x="7194550" y="4459288"/>
          <p14:tracePt t="61815" x="7210425" y="4459288"/>
          <p14:tracePt t="61816" x="7223125" y="4459288"/>
          <p14:tracePt t="61817" x="7231063" y="4459288"/>
          <p14:tracePt t="61818" x="7251700" y="4459288"/>
          <p14:tracePt t="61819" x="7267575" y="4459288"/>
          <p14:tracePt t="61820" x="7275513" y="4459288"/>
          <p14:tracePt t="61821" x="7286625" y="4459288"/>
          <p14:tracePt t="61823" x="7299325" y="4459288"/>
          <p14:tracePt t="61824" x="7307263" y="4459288"/>
          <p14:tracePt t="61824" x="7323138" y="4459288"/>
          <p14:tracePt t="61826" x="7335838" y="4459288"/>
          <p14:tracePt t="61828" x="7359650" y="4459288"/>
          <p14:tracePt t="61828" x="7370763" y="4459288"/>
          <p14:tracePt t="61829" x="7378700" y="4459288"/>
          <p14:tracePt t="61830" x="7394575" y="4459288"/>
          <p14:tracePt t="61831" x="7402513" y="4459288"/>
          <p14:tracePt t="61832" x="7415213" y="4459288"/>
          <p14:tracePt t="61833" x="7431088" y="4459288"/>
          <p14:tracePt t="61834" x="7439025" y="4459288"/>
          <p14:tracePt t="61835" x="7446963" y="4459288"/>
          <p14:tracePt t="61836" x="7454900" y="4456113"/>
          <p14:tracePt t="61837" x="7462838" y="4456113"/>
          <p14:tracePt t="61838" x="7475538" y="4456113"/>
          <p14:tracePt t="61839" x="7486650" y="4451350"/>
          <p14:tracePt t="61840" x="7499350" y="4451350"/>
          <p14:tracePt t="61841" x="7507288" y="4451350"/>
          <p14:tracePt t="61842" x="7515225" y="4448175"/>
          <p14:tracePt t="61843" x="7523163" y="4448175"/>
          <p14:tracePt t="61844" x="7531100" y="4448175"/>
          <p14:tracePt t="61845" x="7539038" y="4448175"/>
          <p14:tracePt t="61846" x="7543800" y="4448175"/>
          <p14:tracePt t="61847" x="7551738" y="4443413"/>
          <p14:tracePt t="61848" x="7559675" y="4443413"/>
          <p14:tracePt t="61849" x="7567613" y="4443413"/>
          <p14:tracePt t="61850" x="7570788" y="4440238"/>
          <p14:tracePt t="61851" x="7578725" y="4440238"/>
          <p14:tracePt t="61852" x="7583488" y="4440238"/>
          <p14:tracePt t="61853" x="7588250" y="4435475"/>
          <p14:tracePt t="61854" x="7596188" y="4435475"/>
          <p14:tracePt t="61856" x="7604125" y="4435475"/>
          <p14:tracePt t="61858" x="7612063" y="4432300"/>
          <p14:tracePt t="61859" x="7615238" y="4432300"/>
          <p14:tracePt t="61860" x="7620000" y="4432300"/>
          <p14:tracePt t="61861" x="7623175" y="4432300"/>
          <p14:tracePt t="61861" x="7623175" y="4427538"/>
          <p14:tracePt t="61862" x="7627938" y="4427538"/>
          <p14:tracePt t="61863" x="7631113" y="4427538"/>
          <p14:tracePt t="61864" x="7631113" y="4424363"/>
          <p14:tracePt t="61865" x="7635875" y="4424363"/>
          <p14:tracePt t="61866" x="7639050" y="4424363"/>
          <p14:tracePt t="61867" x="7643813" y="4424363"/>
          <p14:tracePt t="61868" x="7646988" y="4419600"/>
          <p14:tracePt t="61871" x="7651750" y="4419600"/>
          <p14:tracePt t="61873" x="7654925" y="4416425"/>
          <p14:tracePt t="61874" x="7659688" y="4416425"/>
          <p14:tracePt t="61878" x="7662863" y="4411663"/>
          <p14:tracePt t="61882" x="7662863" y="4408488"/>
          <p14:tracePt t="61883" x="7667625" y="4408488"/>
          <p14:tracePt t="61885" x="7667625" y="4403725"/>
          <p14:tracePt t="61887" x="7670800" y="4403725"/>
          <p14:tracePt t="61887" x="7670800" y="4400550"/>
          <p14:tracePt t="61889" x="7670800" y="4395788"/>
          <p14:tracePt t="61891" x="7675563" y="4395788"/>
          <p14:tracePt t="61892" x="7675563" y="4392613"/>
          <p14:tracePt t="61894" x="7680325" y="4392613"/>
          <p14:tracePt t="61894" x="7680325" y="4387850"/>
          <p14:tracePt t="61896" x="7683500" y="4387850"/>
          <p14:tracePt t="61898" x="7683500" y="4383088"/>
          <p14:tracePt t="61899" x="7683500" y="4379913"/>
          <p14:tracePt t="61901" x="7688263" y="4375150"/>
          <p14:tracePt t="61903" x="7688263" y="4371975"/>
          <p14:tracePt t="61903" x="7691438" y="4371975"/>
          <p14:tracePt t="61907" x="7691438" y="4367213"/>
          <p14:tracePt t="61908" x="7696200" y="4364038"/>
          <p14:tracePt t="61909" x="7696200" y="4359275"/>
          <p14:tracePt t="61911" x="7699375" y="4356100"/>
          <p14:tracePt t="61913" x="7699375" y="4351338"/>
          <p14:tracePt t="61915" x="7699375" y="4348163"/>
          <p14:tracePt t="61916" x="7699375" y="4343400"/>
          <p14:tracePt t="61916" x="7704138" y="4343400"/>
          <p14:tracePt t="61918" x="7704138" y="4340225"/>
          <p14:tracePt t="61919" x="7704138" y="4335463"/>
          <p14:tracePt t="61920" x="7704138" y="4332288"/>
          <p14:tracePt t="61924" x="7704138" y="4324350"/>
          <p14:tracePt t="61927" x="7704138" y="4319588"/>
          <p14:tracePt t="61928" x="7707313" y="4319588"/>
          <p14:tracePt t="61929" x="7707313" y="4316413"/>
          <p14:tracePt t="61931" x="7707313" y="4311650"/>
          <p14:tracePt t="61932" x="7707313" y="4308475"/>
          <p14:tracePt t="61935" x="7707313" y="4303713"/>
          <p14:tracePt t="61937" x="7707313" y="4300538"/>
          <p14:tracePt t="61937" x="7712075" y="4295775"/>
          <p14:tracePt t="61939" x="7712075" y="4291013"/>
          <p14:tracePt t="61944" x="7712075" y="4287838"/>
          <p14:tracePt t="61945" x="7712075" y="4283075"/>
          <p14:tracePt t="61948" x="7712075" y="4279900"/>
          <p14:tracePt t="61948" x="7712075" y="4275138"/>
          <p14:tracePt t="61950" x="7712075" y="4271963"/>
          <p14:tracePt t="61952" x="7712075" y="4267200"/>
          <p14:tracePt t="61954" x="7712075" y="4264025"/>
          <p14:tracePt t="61956" x="7712075" y="4259263"/>
          <p14:tracePt t="61958" x="7712075" y="4256088"/>
          <p14:tracePt t="61960" x="7707313" y="4251325"/>
          <p14:tracePt t="61964" x="7707313" y="4248150"/>
          <p14:tracePt t="61966" x="7707313" y="4243388"/>
          <p14:tracePt t="61968" x="7704138" y="4240213"/>
          <p14:tracePt t="61969" x="7699375" y="4235450"/>
          <p14:tracePt t="61972" x="7696200" y="4232275"/>
          <p14:tracePt t="61974" x="7696200" y="4227513"/>
          <p14:tracePt t="61975" x="7691438" y="4224338"/>
          <p14:tracePt t="61978" x="7688263" y="4219575"/>
          <p14:tracePt t="61978" x="7683500" y="4219575"/>
          <p14:tracePt t="61979" x="7680325" y="4216400"/>
          <p14:tracePt t="61980" x="7680325" y="4211638"/>
          <p14:tracePt t="61981" x="7675563" y="4211638"/>
          <p14:tracePt t="61983" x="7670800" y="4211638"/>
          <p14:tracePt t="61984" x="7667625" y="4208463"/>
          <p14:tracePt t="61986" x="7667625" y="4203700"/>
          <p14:tracePt t="61987" x="7662863" y="4203700"/>
          <p14:tracePt t="61988" x="7659688" y="4198938"/>
          <p14:tracePt t="61990" x="7654925" y="4198938"/>
          <p14:tracePt t="61991" x="7651750" y="4195763"/>
          <p14:tracePt t="61991" x="7646988" y="4195763"/>
          <p14:tracePt t="61992" x="7643813" y="4191000"/>
          <p14:tracePt t="61993" x="7639050" y="4187825"/>
          <p14:tracePt t="61994" x="7635875" y="4187825"/>
          <p14:tracePt t="61995" x="7631113" y="4183063"/>
          <p14:tracePt t="61996" x="7627938" y="4183063"/>
          <p14:tracePt t="61997" x="7627938" y="4179888"/>
          <p14:tracePt t="61998" x="7620000" y="4179888"/>
          <p14:tracePt t="61999" x="7615238" y="4175125"/>
          <p14:tracePt t="62000" x="7612063" y="4175125"/>
          <p14:tracePt t="62001" x="7604125" y="4171950"/>
          <p14:tracePt t="62002" x="7599363" y="4171950"/>
          <p14:tracePt t="62003" x="7596188" y="4167188"/>
          <p14:tracePt t="62004" x="7588250" y="4167188"/>
          <p14:tracePt t="62006" x="7583488" y="4167188"/>
          <p14:tracePt t="62007" x="7578725" y="4167188"/>
          <p14:tracePt t="62008" x="7567613" y="4159250"/>
          <p14:tracePt t="62009" x="7559675" y="4159250"/>
          <p14:tracePt t="62010" x="7554913" y="4156075"/>
          <p14:tracePt t="62012" x="7546975" y="4156075"/>
          <p14:tracePt t="62014" x="7543800" y="4151313"/>
          <p14:tracePt t="62014" x="7535863" y="4151313"/>
          <p14:tracePt t="62015" x="7527925" y="4148138"/>
          <p14:tracePt t="62016" x="7523163" y="4148138"/>
          <p14:tracePt t="62017" x="7515225" y="4143375"/>
          <p14:tracePt t="62018" x="7512050" y="4143375"/>
          <p14:tracePt t="62019" x="7504113" y="4140200"/>
          <p14:tracePt t="62020" x="7494588" y="4140200"/>
          <p14:tracePt t="62021" x="7491413" y="4135438"/>
          <p14:tracePt t="62023" x="7483475" y="4135438"/>
          <p14:tracePt t="62024" x="7478713" y="4135438"/>
          <p14:tracePt t="62024" x="7467600" y="4132263"/>
          <p14:tracePt t="62025" x="7459663" y="4132263"/>
          <p14:tracePt t="62026" x="7454900" y="4132263"/>
          <p14:tracePt t="62027" x="7446963" y="4127500"/>
          <p14:tracePt t="62028" x="7439025" y="4127500"/>
          <p14:tracePt t="62029" x="7431088" y="4124325"/>
          <p14:tracePt t="62030" x="7423150" y="4124325"/>
          <p14:tracePt t="62031" x="7412038" y="4119563"/>
          <p14:tracePt t="62032" x="7402513" y="4119563"/>
          <p14:tracePt t="62033" x="7394575" y="4111625"/>
          <p14:tracePt t="62035" x="7386638" y="4111625"/>
          <p14:tracePt t="62035" x="7378700" y="4111625"/>
          <p14:tracePt t="62037" x="7367588" y="4106863"/>
          <p14:tracePt t="62037" x="7359650" y="4106863"/>
          <p14:tracePt t="62038" x="7346950" y="4106863"/>
          <p14:tracePt t="62040" x="7335838" y="4106863"/>
          <p14:tracePt t="62041" x="7327900" y="4103688"/>
          <p14:tracePt t="62042" x="7319963" y="4103688"/>
          <p14:tracePt t="62043" x="7310438" y="4103688"/>
          <p14:tracePt t="62043" x="7302500" y="4103688"/>
          <p14:tracePt t="62044" x="7286625" y="4098925"/>
          <p14:tracePt t="62045" x="7278688" y="4098925"/>
          <p14:tracePt t="62046" x="7270750" y="4098925"/>
          <p14:tracePt t="62047" x="7262813" y="4098925"/>
          <p14:tracePt t="62048" x="7251700" y="4095750"/>
          <p14:tracePt t="62049" x="7235825" y="4095750"/>
          <p14:tracePt t="62051" x="7227888" y="4095750"/>
          <p14:tracePt t="62051" x="7218363" y="4090988"/>
          <p14:tracePt t="62052" x="7202488" y="4090988"/>
          <p14:tracePt t="62053" x="7194550" y="4090988"/>
          <p14:tracePt t="62054" x="7183438" y="4090988"/>
          <p14:tracePt t="62056" x="7175500" y="4090988"/>
          <p14:tracePt t="62057" x="7167563" y="4090988"/>
          <p14:tracePt t="62058" x="7159625" y="4090988"/>
          <p14:tracePt t="62058" x="7151688" y="4090988"/>
          <p14:tracePt t="62060" x="7146925" y="4090988"/>
          <p14:tracePt t="62061" x="7135813" y="4090988"/>
          <p14:tracePt t="62061" x="7126288" y="4090988"/>
          <p14:tracePt t="62062" x="7118350" y="4090988"/>
          <p14:tracePt t="62063" x="7110413" y="4090988"/>
          <p14:tracePt t="62064" x="7102475" y="4090988"/>
          <p14:tracePt t="62065" x="7094538" y="4090988"/>
          <p14:tracePt t="62066" x="7091363" y="4090988"/>
          <p14:tracePt t="62067" x="7083425" y="4090988"/>
          <p14:tracePt t="62068" x="7075488" y="4090988"/>
          <p14:tracePt t="62069" x="7070725" y="4090988"/>
          <p14:tracePt t="62070" x="7062788" y="4090988"/>
          <p14:tracePt t="62071" x="7059613" y="4090988"/>
          <p14:tracePt t="62073" x="7051675" y="4090988"/>
          <p14:tracePt t="62073" x="7046913" y="4090988"/>
          <p14:tracePt t="62074" x="7042150" y="4090988"/>
          <p14:tracePt t="62075" x="7034213" y="4090988"/>
          <p14:tracePt t="62076" x="7031038" y="4090988"/>
          <p14:tracePt t="62077" x="7026275" y="4090988"/>
          <p14:tracePt t="62080" x="7023100" y="4090988"/>
          <p14:tracePt t="62081" x="7018338" y="4095750"/>
          <p14:tracePt t="62082" x="7015163" y="4095750"/>
          <p14:tracePt t="62084" x="7010400" y="4095750"/>
          <p14:tracePt t="62085" x="7007225" y="4095750"/>
          <p14:tracePt t="62086" x="7002463" y="4095750"/>
          <p14:tracePt t="62088" x="6999288" y="4095750"/>
          <p14:tracePt t="62091" x="6994525" y="4095750"/>
          <p14:tracePt t="62091" x="6991350" y="4095750"/>
          <p14:tracePt t="62092" x="6991350" y="4098925"/>
          <p14:tracePt t="62094" x="6986588" y="4098925"/>
          <p14:tracePt t="62098" x="6986588" y="4103688"/>
          <p14:tracePt t="62101" x="6983413" y="4103688"/>
          <p14:tracePt t="62106" x="6983413" y="4106863"/>
          <p14:tracePt t="62120" x="6983413" y="4111625"/>
          <p14:tracePt t="62132" x="6983413" y="4116388"/>
          <p14:tracePt t="62135" x="6983413" y="4119563"/>
          <p14:tracePt t="62135" x="6983413" y="4124325"/>
          <p14:tracePt t="62138" x="6983413" y="4127500"/>
          <p14:tracePt t="62140" x="6983413" y="4132263"/>
          <p14:tracePt t="62141" x="6983413" y="4135438"/>
          <p14:tracePt t="62144" x="6983413" y="4140200"/>
          <p14:tracePt t="62147" x="6983413" y="4143375"/>
          <p14:tracePt t="62148" x="6986588" y="4148138"/>
          <p14:tracePt t="62150" x="6991350" y="4151313"/>
          <p14:tracePt t="62152" x="6994525" y="4156075"/>
          <p14:tracePt t="62154" x="6994525" y="4159250"/>
          <p14:tracePt t="62156" x="6999288" y="4164013"/>
          <p14:tracePt t="62157" x="6999288" y="4167188"/>
          <p14:tracePt t="62158" x="7002463" y="4167188"/>
          <p14:tracePt t="62159" x="7002463" y="4171950"/>
          <p14:tracePt t="62160" x="7007225" y="4171950"/>
          <p14:tracePt t="62161" x="7007225" y="4175125"/>
          <p14:tracePt t="62162" x="7010400" y="4175125"/>
          <p14:tracePt t="62163" x="7010400" y="4179888"/>
          <p14:tracePt t="62163" x="7015163" y="4179888"/>
          <p14:tracePt t="62164" x="7018338" y="4179888"/>
          <p14:tracePt t="62166" x="7023100" y="4179888"/>
          <p14:tracePt t="62167" x="7023100" y="4183063"/>
          <p14:tracePt t="62170" x="7023100" y="4187825"/>
          <p14:tracePt t="62171" x="7031038" y="4191000"/>
          <p14:tracePt t="62190" x="7067550" y="4211638"/>
          <p14:tracePt t="62192" x="7070725" y="4211638"/>
          <p14:tracePt t="62192" x="7075488" y="4216400"/>
          <p14:tracePt t="62195" x="7078663" y="4216400"/>
          <p14:tracePt t="62195" x="7083425" y="4216400"/>
          <p14:tracePt t="62197" x="7086600" y="4219575"/>
          <p14:tracePt t="62197" x="7091363" y="4219575"/>
          <p14:tracePt t="62198" x="7094538" y="4219575"/>
          <p14:tracePt t="62200" x="7099300" y="4219575"/>
          <p14:tracePt t="62201" x="7102475" y="4219575"/>
          <p14:tracePt t="62202" x="7107238" y="4224338"/>
          <p14:tracePt t="62203" x="7110413" y="4224338"/>
          <p14:tracePt t="62204" x="7115175" y="4224338"/>
          <p14:tracePt t="62206" x="7118350" y="4224338"/>
          <p14:tracePt t="62207" x="7123113" y="4227513"/>
          <p14:tracePt t="62207" x="7131050" y="4227513"/>
          <p14:tracePt t="62208" x="7135813" y="4227513"/>
          <p14:tracePt t="62210" x="7138988" y="4227513"/>
          <p14:tracePt t="62210" x="7143750" y="4227513"/>
          <p14:tracePt t="62212" x="7151688" y="4232275"/>
          <p14:tracePt t="62212" x="7154863" y="4232275"/>
          <p14:tracePt t="62214" x="7162800" y="4235450"/>
          <p14:tracePt t="62215" x="7167563" y="4235450"/>
          <p14:tracePt t="62216" x="7175500" y="4235450"/>
          <p14:tracePt t="62217" x="7178675" y="4235450"/>
          <p14:tracePt t="62218" x="7183438" y="4240213"/>
          <p14:tracePt t="62219" x="7191375" y="4240213"/>
          <p14:tracePt t="62220" x="7199313" y="4240213"/>
          <p14:tracePt t="62222" x="7202488" y="4240213"/>
          <p14:tracePt t="62223" x="7207250" y="4240213"/>
          <p14:tracePt t="62224" x="7215188" y="4240213"/>
          <p14:tracePt t="62224" x="7218363" y="4243388"/>
          <p14:tracePt t="62226" x="7227888" y="4243388"/>
          <p14:tracePt t="62227" x="7235825" y="4243388"/>
          <p14:tracePt t="62229" x="7239000" y="4243388"/>
          <p14:tracePt t="62230" x="7246938" y="4243388"/>
          <p14:tracePt t="62231" x="7251700" y="4243388"/>
          <p14:tracePt t="62233" x="7254875" y="4243388"/>
          <p14:tracePt t="62233" x="7262813" y="4243388"/>
          <p14:tracePt t="62234" x="7267575" y="4243388"/>
          <p14:tracePt t="62235" x="7275513" y="4243388"/>
          <p14:tracePt t="62236" x="7278688" y="4243388"/>
          <p14:tracePt t="62237" x="7283450" y="4248150"/>
          <p14:tracePt t="62238" x="7286625" y="4248150"/>
          <p14:tracePt t="62239" x="7291388" y="4248150"/>
          <p14:tracePt t="62240" x="7294563" y="4248150"/>
          <p14:tracePt t="62242" x="7299325" y="4248150"/>
          <p14:tracePt t="62242" x="7302500" y="4248150"/>
          <p14:tracePt t="62243" x="7307263" y="4248150"/>
          <p14:tracePt t="62244" x="7315200" y="4248150"/>
          <p14:tracePt t="62246" x="7319963" y="4248150"/>
          <p14:tracePt t="62246" x="7323138" y="4248150"/>
          <p14:tracePt t="62247" x="7327900" y="4248150"/>
          <p14:tracePt t="62249" x="7331075" y="4248150"/>
          <p14:tracePt t="62249" x="7335838" y="4248150"/>
          <p14:tracePt t="62250" x="7343775" y="4248150"/>
          <p14:tracePt t="62251" x="7346950" y="4248150"/>
          <p14:tracePt t="62253" x="7351713" y="4248150"/>
          <p14:tracePt t="62254" x="7354888" y="4248150"/>
          <p14:tracePt t="62256" x="7359650" y="4248150"/>
          <p14:tracePt t="62257" x="7362825" y="4248150"/>
          <p14:tracePt t="62257" x="7367588" y="4248150"/>
          <p14:tracePt t="62258" x="7370763" y="4248150"/>
          <p14:tracePt t="62261" x="7375525" y="4248150"/>
          <p14:tracePt t="62261" x="7378700" y="4248150"/>
          <p14:tracePt t="62263" x="7383463" y="4248150"/>
          <p14:tracePt t="62265" x="7386638" y="4248150"/>
          <p14:tracePt t="62266" x="7386638" y="4243388"/>
          <p14:tracePt t="62268" x="7391400" y="4243388"/>
          <p14:tracePt t="62270" x="7394575" y="4240213"/>
          <p14:tracePt t="62274" x="7399338" y="4235450"/>
          <p14:tracePt t="62281" x="7402513" y="4235450"/>
          <p14:tracePt t="62283" x="7402513" y="4232275"/>
          <p14:tracePt t="62293" x="7407275" y="4232275"/>
          <p14:tracePt t="62297" x="7407275" y="4227513"/>
          <p14:tracePt t="62301" x="7407275" y="4224338"/>
          <p14:tracePt t="62303" x="7412038" y="4224338"/>
          <p14:tracePt t="62307" x="7412038" y="4219575"/>
          <p14:tracePt t="62311" x="7412038" y="4216400"/>
          <p14:tracePt t="62316" x="7412038" y="4211638"/>
          <p14:tracePt t="62319" x="7412038" y="4208463"/>
          <p14:tracePt t="62322" x="7412038" y="4203700"/>
          <p14:tracePt t="62324" x="7412038" y="4198938"/>
          <p14:tracePt t="62328" x="7412038" y="4195763"/>
          <p14:tracePt t="62331" x="7412038" y="4191000"/>
          <p14:tracePt t="62336" x="7412038" y="4187825"/>
          <p14:tracePt t="62338" x="7412038" y="4183063"/>
          <p14:tracePt t="62342" x="7412038" y="4179888"/>
          <p14:tracePt t="62345" x="7412038" y="4175125"/>
          <p14:tracePt t="62348" x="7412038" y="4171950"/>
          <p14:tracePt t="62351" x="7412038" y="4167188"/>
          <p14:tracePt t="62354" x="7412038" y="4164013"/>
          <p14:tracePt t="62361" x="7412038" y="4159250"/>
          <p14:tracePt t="62368" x="7412038" y="4156075"/>
          <p14:tracePt t="62372" x="7412038" y="4151313"/>
          <p14:tracePt t="62377" x="7412038" y="4148138"/>
          <p14:tracePt t="62383" x="7412038" y="4143375"/>
          <p14:tracePt t="62386" x="7412038" y="4140200"/>
          <p14:tracePt t="62388" x="7412038" y="4135438"/>
          <p14:tracePt t="62390" x="7412038" y="4132263"/>
          <p14:tracePt t="62392" x="7412038" y="4127500"/>
          <p14:tracePt t="62395" x="7412038" y="4124325"/>
          <p14:tracePt t="62397" x="7412038" y="4119563"/>
          <p14:tracePt t="62398" x="7412038" y="4116388"/>
          <p14:tracePt t="62400" x="7415213" y="4116388"/>
          <p14:tracePt t="62400" x="7415213" y="4111625"/>
          <p14:tracePt t="62402" x="7415213" y="4106863"/>
          <p14:tracePt t="62403" x="7419975" y="4106863"/>
          <p14:tracePt t="62406" x="7419975" y="4103688"/>
          <p14:tracePt t="62407" x="7423150" y="4098925"/>
          <p14:tracePt t="62409" x="7423150" y="4095750"/>
          <p14:tracePt t="62411" x="7423150" y="4090988"/>
          <p14:tracePt t="62411" x="7427913" y="4090988"/>
          <p14:tracePt t="62412" x="7427913" y="4087813"/>
          <p14:tracePt t="62414" x="7427913" y="4083050"/>
          <p14:tracePt t="62415" x="7431088" y="4079875"/>
          <p14:tracePt t="62417" x="7435850" y="4075113"/>
          <p14:tracePt t="62419" x="7435850" y="4071938"/>
          <p14:tracePt t="62421" x="7439025" y="4067175"/>
          <p14:tracePt t="62421" x="7443788" y="4067175"/>
          <p14:tracePt t="62424" x="7446963" y="4067175"/>
          <p14:tracePt t="62425" x="7451725" y="4064000"/>
          <p14:tracePt t="62425" x="7451725" y="4059238"/>
          <p14:tracePt t="62426" x="7454900" y="4059238"/>
          <p14:tracePt t="62427" x="7459663" y="4056063"/>
          <p14:tracePt t="62429" x="7462838" y="4051300"/>
          <p14:tracePt t="62430" x="7462838" y="4048125"/>
          <p14:tracePt t="62431" x="7467600" y="4048125"/>
          <p14:tracePt t="62432" x="7467600" y="4043363"/>
          <p14:tracePt t="62433" x="7470775" y="4043363"/>
          <p14:tracePt t="62434" x="7475538" y="4040188"/>
          <p14:tracePt t="62435" x="7475538" y="4035425"/>
          <p14:tracePt t="62436" x="7483475" y="4032250"/>
          <p14:tracePt t="62438" x="7486650" y="4027488"/>
          <p14:tracePt t="62439" x="7491413" y="4027488"/>
          <p14:tracePt t="62441" x="7494588" y="4024313"/>
          <p14:tracePt t="62441" x="7499350" y="4024313"/>
          <p14:tracePt t="62443" x="7504113" y="4024313"/>
          <p14:tracePt t="62444" x="7507288" y="4019550"/>
          <p14:tracePt t="62445" x="7515225" y="4014788"/>
          <p14:tracePt t="62446" x="7519988" y="4011613"/>
          <p14:tracePt t="62447" x="7519988" y="4006850"/>
          <p14:tracePt t="62448" x="7523163" y="4006850"/>
          <p14:tracePt t="62449" x="7527925" y="4003675"/>
          <p14:tracePt t="62450" x="7531100" y="3998913"/>
          <p14:tracePt t="62452" x="7535863" y="3995738"/>
          <p14:tracePt t="62452" x="7543800" y="3990975"/>
          <p14:tracePt t="62453" x="7546975" y="3987800"/>
          <p14:tracePt t="62454" x="7551738" y="3987800"/>
          <p14:tracePt t="62456" x="7559675" y="3983038"/>
          <p14:tracePt t="62457" x="7562850" y="3979863"/>
          <p14:tracePt t="62458" x="7575550" y="3971925"/>
          <p14:tracePt t="62459" x="7583488" y="3967163"/>
          <p14:tracePt t="62460" x="7588250" y="3967163"/>
          <p14:tracePt t="62461" x="7599363" y="3959225"/>
          <p14:tracePt t="62462" x="7604125" y="3951288"/>
          <p14:tracePt t="62463" x="7612063" y="3948113"/>
          <p14:tracePt t="62464" x="7615238" y="3943350"/>
          <p14:tracePt t="62465" x="7623175" y="3940175"/>
          <p14:tracePt t="62466" x="7635875" y="3935413"/>
          <p14:tracePt t="62467" x="7646988" y="3930650"/>
          <p14:tracePt t="62468" x="7654925" y="3922713"/>
          <p14:tracePt t="62469" x="7662863" y="3919538"/>
          <p14:tracePt t="62470" x="7670800" y="3914775"/>
          <p14:tracePt t="62471" x="7683500" y="3903663"/>
          <p14:tracePt t="62473" x="7691438" y="3898900"/>
          <p14:tracePt t="62473" x="7704138" y="3890963"/>
          <p14:tracePt t="62476" x="7723188" y="3875088"/>
          <p14:tracePt t="62477" x="7751763" y="3863975"/>
          <p14:tracePt t="62478" x="7759700" y="3856038"/>
          <p14:tracePt t="62479" x="7775575" y="3843338"/>
          <p14:tracePt t="62480" x="7783513" y="3838575"/>
          <p14:tracePt t="62481" x="7799388" y="3830638"/>
          <p14:tracePt t="62483" x="7812088" y="3819525"/>
          <p14:tracePt t="62483" x="7827963" y="3811588"/>
          <p14:tracePt t="62484" x="7839075" y="3806825"/>
          <p14:tracePt t="62485" x="7854950" y="3795713"/>
          <p14:tracePt t="62486" x="7872413" y="3783013"/>
          <p14:tracePt t="62487" x="7883525" y="3779838"/>
          <p14:tracePt t="62488" x="7899400" y="3767138"/>
          <p14:tracePt t="62489" x="7912100" y="3759200"/>
          <p14:tracePt t="62490" x="7927975" y="3746500"/>
          <p14:tracePt t="62492" x="7967663" y="3722688"/>
          <p14:tracePt t="62494" x="7983538" y="3711575"/>
          <p14:tracePt t="62495" x="7996238" y="3703638"/>
          <p14:tracePt t="62495" x="8012113" y="3695700"/>
          <p14:tracePt t="62496" x="8040688" y="3675063"/>
          <p14:tracePt t="62497" x="8056563" y="3663950"/>
          <p14:tracePt t="62498" x="8075613" y="3651250"/>
          <p14:tracePt t="62499" x="8091488" y="3643313"/>
          <p14:tracePt t="62500" x="8112125" y="3630613"/>
          <p14:tracePt t="62501" x="8123238" y="3614738"/>
          <p14:tracePt t="62502" x="8156575" y="3598863"/>
          <p14:tracePt t="62503" x="8175625" y="3587750"/>
          <p14:tracePt t="62504" x="8199438" y="3571875"/>
          <p14:tracePt t="62505" x="8212138" y="3562350"/>
          <p14:tracePt t="62506" x="8248650" y="3538538"/>
          <p14:tracePt t="62507" x="8267700" y="3527425"/>
          <p14:tracePt t="62510" x="8312150" y="3503613"/>
          <p14:tracePt t="62511" x="8335963" y="3482975"/>
          <p14:tracePt t="62511" x="8356600" y="3475038"/>
          <p14:tracePt t="62512" x="8388350" y="3451225"/>
          <p14:tracePt t="62513" x="8408988" y="3438525"/>
          <p14:tracePt t="62514" x="8435975" y="3422650"/>
          <p14:tracePt t="62515" x="8459788" y="3403600"/>
          <p14:tracePt t="62516" x="8496300" y="3387725"/>
          <p14:tracePt t="62517" x="8520113" y="3367088"/>
          <p14:tracePt t="62518" x="8540750" y="3351213"/>
          <p14:tracePt t="62519" x="8572500" y="3335338"/>
          <p14:tracePt t="62520" x="8593138" y="3319463"/>
          <p14:tracePt t="62521" x="8624888" y="3298825"/>
          <p14:tracePt t="62523" x="8664575" y="3275013"/>
          <p14:tracePt t="62523" x="8685213" y="3259138"/>
          <p14:tracePt t="62526" x="8736013" y="3222625"/>
          <p14:tracePt t="62527" x="8777288" y="3194050"/>
          <p14:tracePt t="62527" x="8804275" y="3178175"/>
          <p14:tracePt t="62528" x="8828088" y="3162300"/>
          <p14:tracePt t="62530" x="8856663" y="3138488"/>
          <p14:tracePt t="62530" x="8880475" y="3122613"/>
          <p14:tracePt t="62531" x="8912225" y="3101975"/>
          <p14:tracePt t="62532" x="8948738" y="3078163"/>
          <p14:tracePt t="62533" x="8980488" y="3059113"/>
          <p14:tracePt t="62534" x="9009063" y="3043238"/>
          <p14:tracePt t="62535" x="9032875" y="3022600"/>
          <p14:tracePt t="62536" x="9069388" y="2998788"/>
          <p14:tracePt t="62537" x="9101138" y="2982913"/>
          <p14:tracePt t="62538" x="9120188" y="2962275"/>
          <p14:tracePt t="62540" x="9153525" y="2938463"/>
          <p14:tracePt t="62540" x="9177338" y="2922588"/>
          <p14:tracePt t="62542" x="9245600" y="2878138"/>
          <p14:tracePt t="62543" x="9264650" y="2862263"/>
          <p14:tracePt t="62545" x="9296400" y="2838450"/>
          <p14:tracePt t="62545" x="9317038" y="2822575"/>
          <p14:tracePt t="62546" x="9356725" y="2794000"/>
          <p14:tracePt t="62547" x="9388475" y="2770188"/>
          <p14:tracePt t="62549" x="9417050" y="2754313"/>
          <p14:tracePt t="62549" x="9440863" y="2733675"/>
          <p14:tracePt t="62551" x="9461500" y="2717800"/>
          <p14:tracePt t="62551" x="9493250" y="2701925"/>
          <p14:tracePt t="62552" x="9532938" y="2670175"/>
          <p14:tracePt t="62553" x="9553575" y="2649538"/>
          <p14:tracePt t="62554" x="9577388" y="2633663"/>
          <p14:tracePt t="62556" x="9605963" y="2609850"/>
          <p14:tracePt t="62556" x="9637713" y="2586038"/>
          <p14:tracePt t="62557" x="9661525" y="2570163"/>
          <p14:tracePt t="62560" x="9705975" y="2530475"/>
          <p14:tracePt t="62561" x="9729788" y="2514600"/>
          <p14:tracePt t="62562" x="9748838" y="2498725"/>
          <p14:tracePt t="62563" x="9782175" y="2470150"/>
          <p14:tracePt t="62564" x="9801225" y="2454275"/>
          <p14:tracePt t="62565" x="9817100" y="2441575"/>
          <p14:tracePt t="62566" x="9840913" y="2422525"/>
          <p14:tracePt t="62566" x="9869488" y="2398713"/>
          <p14:tracePt t="62567" x="9893300" y="2382838"/>
          <p14:tracePt t="62568" x="9913938" y="2365375"/>
          <p14:tracePt t="62569" x="9929813" y="2349500"/>
          <p14:tracePt t="62570" x="9953625" y="2333625"/>
          <p14:tracePt t="62571" x="9966325" y="2317750"/>
          <p14:tracePt t="62573" x="9990138" y="2298700"/>
          <p14:tracePt t="62573" x="10009188" y="2286000"/>
          <p14:tracePt t="62576" x="10042525" y="2254250"/>
          <p14:tracePt t="62577" x="10058400" y="2241550"/>
          <p14:tracePt t="62578" x="10077450" y="2225675"/>
          <p14:tracePt t="62578" x="10093325" y="2209800"/>
          <p14:tracePt t="62580" x="10106025" y="2201863"/>
          <p14:tracePt t="62580" x="10121900" y="2185988"/>
          <p14:tracePt t="62581" x="10137775" y="2173288"/>
          <p14:tracePt t="62582" x="10150475" y="2162175"/>
          <p14:tracePt t="62583" x="10166350" y="2149475"/>
          <p14:tracePt t="62584" x="10182225" y="2141538"/>
          <p14:tracePt t="62585" x="10190163" y="2125663"/>
          <p14:tracePt t="62586" x="10206038" y="2117725"/>
          <p14:tracePt t="62587" x="10226675" y="2106613"/>
          <p14:tracePt t="62588" x="10234613" y="2097088"/>
          <p14:tracePt t="62589" x="10250488" y="2089150"/>
          <p14:tracePt t="62590" x="10261600" y="2078038"/>
          <p14:tracePt t="62593" x="10285413" y="2062163"/>
          <p14:tracePt t="62595" x="10310813" y="2041525"/>
          <p14:tracePt t="62595" x="10318750" y="2033588"/>
          <p14:tracePt t="62596" x="10326688" y="2030413"/>
          <p14:tracePt t="62597" x="10342563" y="2014538"/>
          <p14:tracePt t="62598" x="10350500" y="2009775"/>
          <p14:tracePt t="62599" x="10358438" y="2001838"/>
          <p14:tracePt t="62600" x="10369550" y="1997075"/>
          <p14:tracePt t="62601" x="10377488" y="1989138"/>
          <p14:tracePt t="62602" x="10390188" y="1981200"/>
          <p14:tracePt t="62603" x="10402888" y="1973263"/>
          <p14:tracePt t="62604" x="10410825" y="1970088"/>
          <p14:tracePt t="62606" x="10418763" y="1965325"/>
          <p14:tracePt t="62607" x="10426700" y="1954213"/>
          <p14:tracePt t="62607" x="10437813" y="1949450"/>
          <p14:tracePt t="62609" x="10445750" y="1941513"/>
          <p14:tracePt t="62610" x="10450513" y="1938338"/>
          <p14:tracePt t="62611" x="10458450" y="1933575"/>
          <p14:tracePt t="62611" x="10461625" y="1930400"/>
          <p14:tracePt t="62612" x="10474325" y="1922463"/>
          <p14:tracePt t="62613" x="10479088" y="1917700"/>
          <p14:tracePt t="62614" x="10487025" y="1912938"/>
          <p14:tracePt t="62615" x="10490200" y="1909763"/>
          <p14:tracePt t="62616" x="10498138" y="1905000"/>
          <p14:tracePt t="62617" x="10506075" y="1897063"/>
          <p14:tracePt t="62618" x="10510838" y="1893888"/>
          <p14:tracePt t="62619" x="10518775" y="1889125"/>
          <p14:tracePt t="62620" x="10521950" y="1885950"/>
          <p14:tracePt t="62621" x="10526713" y="1881188"/>
          <p14:tracePt t="62623" x="10534650" y="1873250"/>
          <p14:tracePt t="62624" x="10537825" y="1870075"/>
          <p14:tracePt t="62625" x="10542588" y="1865313"/>
          <p14:tracePt t="62626" x="10550525" y="1862138"/>
          <p14:tracePt t="62627" x="10550525" y="1857375"/>
          <p14:tracePt t="62628" x="10553700" y="1854200"/>
          <p14:tracePt t="62628" x="10558463" y="1854200"/>
          <p14:tracePt t="62629" x="10561638" y="1849438"/>
          <p14:tracePt t="62630" x="10566400" y="1846263"/>
          <p14:tracePt t="62631" x="10571163" y="1841500"/>
          <p14:tracePt t="62632" x="10579100" y="1833563"/>
          <p14:tracePt t="62633" x="10582275" y="1830388"/>
          <p14:tracePt t="62634" x="10587038" y="1830388"/>
          <p14:tracePt t="62635" x="10590213" y="1825625"/>
          <p14:tracePt t="62636" x="10594975" y="1820863"/>
          <p14:tracePt t="62637" x="10602913" y="1812925"/>
          <p14:tracePt t="62638" x="10606088" y="1809750"/>
          <p14:tracePt t="62640" x="10610850" y="1809750"/>
          <p14:tracePt t="62640" x="10610850" y="1804988"/>
          <p14:tracePt t="62641" x="10614025" y="1801813"/>
          <p14:tracePt t="62644" x="10626725" y="1793875"/>
          <p14:tracePt t="62645" x="10629900" y="1789113"/>
          <p14:tracePt t="62645" x="10634663" y="1785938"/>
          <p14:tracePt t="62646" x="10637838" y="1781175"/>
          <p14:tracePt t="62647" x="10645775" y="1778000"/>
          <p14:tracePt t="62648" x="10650538" y="1778000"/>
          <p14:tracePt t="62649" x="10653713" y="1773238"/>
          <p14:tracePt t="62650" x="10663238" y="1770063"/>
          <p14:tracePt t="62651" x="10666413" y="1765300"/>
          <p14:tracePt t="62652" x="10671175" y="1762125"/>
          <p14:tracePt t="62653" x="10674350" y="1757363"/>
          <p14:tracePt t="62654" x="10682288" y="1754188"/>
          <p14:tracePt t="62656" x="10687050" y="1749425"/>
          <p14:tracePt t="62658" x="10694988" y="1746250"/>
          <p14:tracePt t="62660" x="10706100" y="1733550"/>
          <p14:tracePt t="62661" x="10710863" y="1728788"/>
          <p14:tracePt t="62662" x="10718800" y="1725613"/>
          <p14:tracePt t="62663" x="10721975" y="1720850"/>
          <p14:tracePt t="62664" x="10726738" y="1720850"/>
          <p14:tracePt t="62665" x="10734675" y="1717675"/>
          <p14:tracePt t="62666" x="10737850" y="1717675"/>
          <p14:tracePt t="62667" x="10742613" y="1712913"/>
          <p14:tracePt t="62668" x="10750550" y="1712913"/>
          <p14:tracePt t="62670" x="10755313" y="1709738"/>
          <p14:tracePt t="62671" x="10755313" y="1704975"/>
          <p14:tracePt t="62671" x="10758488" y="1701800"/>
          <p14:tracePt t="62673" x="10763250" y="1697038"/>
          <p14:tracePt t="62673" x="10766425" y="1697038"/>
          <p14:tracePt t="62675" x="10774363" y="1689100"/>
          <p14:tracePt t="62677" x="10782300" y="1689100"/>
          <p14:tracePt t="62677" x="10787063" y="1685925"/>
          <p14:tracePt t="62678" x="10790238" y="1681163"/>
          <p14:tracePt t="62679" x="10795000" y="1677988"/>
          <p14:tracePt t="62680" x="10798175" y="1677988"/>
          <p14:tracePt t="62681" x="10802938" y="1677988"/>
          <p14:tracePt t="62682" x="10810875" y="1673225"/>
          <p14:tracePt t="62683" x="10810875" y="1670050"/>
          <p14:tracePt t="62684" x="10814050" y="1670050"/>
          <p14:tracePt t="62685" x="10818813" y="1665288"/>
          <p14:tracePt t="62687" x="10826750" y="1662113"/>
          <p14:tracePt t="62688" x="10829925" y="1657350"/>
          <p14:tracePt t="62690" x="10834688" y="1657350"/>
          <p14:tracePt t="62690" x="10839450" y="1654175"/>
          <p14:tracePt t="62692" x="10842625" y="1649413"/>
          <p14:tracePt t="62692" x="10847388" y="1644650"/>
          <p14:tracePt t="62693" x="10850563" y="1641475"/>
          <p14:tracePt t="62694" x="10855325" y="1641475"/>
          <p14:tracePt t="62695" x="10858500" y="1636713"/>
          <p14:tracePt t="62698" x="10863263" y="1633538"/>
          <p14:tracePt t="62698" x="10866438" y="1628775"/>
          <p14:tracePt t="62699" x="10871200" y="1628775"/>
          <p14:tracePt t="62701" x="10874375" y="1628775"/>
          <p14:tracePt t="62702" x="10879138" y="1625600"/>
          <p14:tracePt t="62702" x="10882313" y="1620838"/>
          <p14:tracePt t="62703" x="10887075" y="1620838"/>
          <p14:tracePt t="62704" x="10890250" y="1620838"/>
          <p14:tracePt t="62706" x="10895013" y="1617663"/>
          <p14:tracePt t="62707" x="10898188" y="1612900"/>
          <p14:tracePt t="62709" x="10898188" y="1609725"/>
          <p14:tracePt t="62709" x="10902950" y="1604963"/>
          <p14:tracePt t="62710" x="10906125" y="1604963"/>
          <p14:tracePt t="62712" x="10910888" y="1601788"/>
          <p14:tracePt t="62714" x="10914063" y="1601788"/>
          <p14:tracePt t="62714" x="10918825" y="1597025"/>
          <p14:tracePt t="62717" x="10926763" y="1593850"/>
          <p14:tracePt t="62718" x="10926763" y="1589088"/>
          <p14:tracePt t="62719" x="10931525" y="1589088"/>
          <p14:tracePt t="62721" x="10934700" y="1589088"/>
          <p14:tracePt t="62724" x="10939463" y="1585913"/>
          <p14:tracePt t="62726" x="10942638" y="1581150"/>
          <p14:tracePt t="62728" x="10947400" y="1581150"/>
          <p14:tracePt t="62729" x="10950575" y="1577975"/>
          <p14:tracePt t="62733" x="10955338" y="1573213"/>
          <p14:tracePt t="62734" x="10958513" y="1570038"/>
          <p14:tracePt t="62736" x="10963275" y="1570038"/>
          <p14:tracePt t="62739" x="10966450" y="1565275"/>
          <p14:tracePt t="62741" x="10971213" y="1565275"/>
          <p14:tracePt t="62742" x="10971213" y="1562100"/>
          <p14:tracePt t="62745" x="10974388" y="1562100"/>
          <p14:tracePt t="62748" x="10979150" y="1557338"/>
          <p14:tracePt t="62751" x="10979150" y="1552575"/>
          <p14:tracePt t="62757" x="10982325" y="1549400"/>
          <p14:tracePt t="62766" x="10987088" y="1549400"/>
          <p14:tracePt t="62776" x="10990263" y="1549400"/>
          <p14:tracePt t="62781" x="10990263" y="1544638"/>
          <p14:tracePt t="62781" x="10995025" y="1544638"/>
          <p14:tracePt t="62794" x="10998200" y="1544638"/>
          <p14:tracePt t="62858" x="10995025" y="1544638"/>
          <p14:tracePt t="62867" x="10995025" y="1549400"/>
          <p14:tracePt t="62870" x="10995025" y="1552575"/>
          <p14:tracePt t="62870" x="10990263" y="1552575"/>
          <p14:tracePt t="62873" x="10990263" y="1557338"/>
          <p14:tracePt t="62874" x="10987088" y="1557338"/>
          <p14:tracePt t="62875" x="10987088" y="1562100"/>
          <p14:tracePt t="62878" x="10987088" y="1565275"/>
          <p14:tracePt t="62879" x="10982325" y="1565275"/>
          <p14:tracePt t="62880" x="10982325" y="1570038"/>
          <p14:tracePt t="62880" x="10982325" y="1573213"/>
          <p14:tracePt t="62882" x="10982325" y="1577975"/>
          <p14:tracePt t="62883" x="10979150" y="1577975"/>
          <p14:tracePt t="62884" x="10979150" y="1581150"/>
          <p14:tracePt t="62885" x="10974388" y="1585913"/>
          <p14:tracePt t="62890" x="10966450" y="1593850"/>
          <p14:tracePt t="62891" x="10963275" y="1597025"/>
          <p14:tracePt t="62894" x="10958513" y="1601788"/>
          <p14:tracePt t="62894" x="10958513" y="1604963"/>
          <p14:tracePt t="62896" x="10955338" y="1604963"/>
          <p14:tracePt t="62897" x="10955338" y="1609725"/>
          <p14:tracePt t="62897" x="10955338" y="1612900"/>
          <p14:tracePt t="62898" x="10950575" y="1617663"/>
          <p14:tracePt t="62899" x="10950575" y="1620838"/>
          <p14:tracePt t="62900" x="10947400" y="1625600"/>
          <p14:tracePt t="62901" x="10942638" y="1625600"/>
          <p14:tracePt t="62904" x="10942638" y="1628775"/>
          <p14:tracePt t="62905" x="10939463" y="1633538"/>
          <p14:tracePt t="62906" x="10934700" y="1641475"/>
          <p14:tracePt t="62908" x="10931525" y="1644650"/>
          <p14:tracePt t="62909" x="10926763" y="1654175"/>
          <p14:tracePt t="62910" x="10922000" y="1657350"/>
          <p14:tracePt t="62913" x="10918825" y="1662113"/>
          <p14:tracePt t="62913" x="10918825" y="1665288"/>
          <p14:tracePt t="62914" x="10914063" y="1665288"/>
          <p14:tracePt t="62915" x="10910888" y="1670050"/>
          <p14:tracePt t="62916" x="10910888" y="1677988"/>
          <p14:tracePt t="62917" x="10906125" y="1681163"/>
          <p14:tracePt t="62918" x="10902950" y="1685925"/>
          <p14:tracePt t="62919" x="10902950" y="1689100"/>
          <p14:tracePt t="62921" x="10898188" y="1693863"/>
          <p14:tracePt t="62921" x="10898188" y="1697038"/>
          <p14:tracePt t="62923" x="10895013" y="1701800"/>
          <p14:tracePt t="62923" x="10890250" y="1704975"/>
          <p14:tracePt t="62925" x="10887075" y="1712913"/>
          <p14:tracePt t="62925" x="10882313" y="1717675"/>
          <p14:tracePt t="62926" x="10879138" y="1717675"/>
          <p14:tracePt t="62927" x="10874375" y="1720850"/>
          <p14:tracePt t="62928" x="10871200" y="1728788"/>
          <p14:tracePt t="62929" x="10866438" y="1741488"/>
          <p14:tracePt t="62931" x="10863263" y="1746250"/>
          <p14:tracePt t="62932" x="10858500" y="1749425"/>
          <p14:tracePt t="62933" x="10855325" y="1757363"/>
          <p14:tracePt t="62934" x="10850563" y="1762125"/>
          <p14:tracePt t="62935" x="10847388" y="1770063"/>
          <p14:tracePt t="62937" x="10842625" y="1773238"/>
          <p14:tracePt t="62937" x="10839450" y="1778000"/>
          <p14:tracePt t="62938" x="10834688" y="1785938"/>
          <p14:tracePt t="62939" x="10834688" y="1789113"/>
          <p14:tracePt t="62940" x="10829925" y="1797050"/>
          <p14:tracePt t="62943" x="10821988" y="1804988"/>
          <p14:tracePt t="62945" x="10814050" y="1817688"/>
          <p14:tracePt t="62946" x="10810875" y="1825625"/>
          <p14:tracePt t="62946" x="10806113" y="1833563"/>
          <p14:tracePt t="62947" x="10795000" y="1838325"/>
          <p14:tracePt t="62948" x="10790238" y="1846263"/>
          <p14:tracePt t="62949" x="10787063" y="1854200"/>
          <p14:tracePt t="62951" x="10782300" y="1857375"/>
          <p14:tracePt t="62953" x="10774363" y="1870075"/>
          <p14:tracePt t="62953" x="10771188" y="1878013"/>
          <p14:tracePt t="62954" x="10763250" y="1881188"/>
          <p14:tracePt t="62956" x="10758488" y="1889125"/>
          <p14:tracePt t="62957" x="10755313" y="1901825"/>
          <p14:tracePt t="62958" x="10750550" y="1905000"/>
          <p14:tracePt t="62961" x="10734675" y="1930400"/>
          <p14:tracePt t="62961" x="10729913" y="1938338"/>
          <p14:tracePt t="62962" x="10721975" y="1946275"/>
          <p14:tracePt t="62963" x="10718800" y="1949450"/>
          <p14:tracePt t="62964" x="10710863" y="1962150"/>
          <p14:tracePt t="62965" x="10706100" y="1965325"/>
          <p14:tracePt t="62966" x="10702925" y="1973263"/>
          <p14:tracePt t="62967" x="10694988" y="1981200"/>
          <p14:tracePt t="62968" x="10690225" y="1993900"/>
          <p14:tracePt t="62969" x="10679113" y="2001838"/>
          <p14:tracePt t="62970" x="10674350" y="2009775"/>
          <p14:tracePt t="62971" x="10671175" y="2017713"/>
          <p14:tracePt t="62973" x="10663238" y="2033588"/>
          <p14:tracePt t="62973" x="10658475" y="2038350"/>
          <p14:tracePt t="62976" x="10645775" y="2057400"/>
          <p14:tracePt t="62978" x="10637838" y="2070100"/>
          <p14:tracePt t="62978" x="10626725" y="2085975"/>
          <p14:tracePt t="62979" x="10621963" y="2093913"/>
          <p14:tracePt t="62980" x="10614025" y="2097088"/>
          <p14:tracePt t="62982" x="10610850" y="2106613"/>
          <p14:tracePt t="62983" x="10606088" y="2114550"/>
          <p14:tracePt t="62983" x="10594975" y="2122488"/>
          <p14:tracePt t="62984" x="10590213" y="2133600"/>
          <p14:tracePt t="62986" x="10582275" y="2141538"/>
          <p14:tracePt t="62986" x="10579100" y="2149475"/>
          <p14:tracePt t="62987" x="10574338" y="2157413"/>
          <p14:tracePt t="62989" x="10566400" y="2170113"/>
          <p14:tracePt t="62990" x="10561638" y="2178050"/>
          <p14:tracePt t="62991" x="10550525" y="2185988"/>
          <p14:tracePt t="62991" x="10545763" y="2193925"/>
          <p14:tracePt t="62995" x="10529888" y="2217738"/>
          <p14:tracePt t="62996" x="10521950" y="2233613"/>
          <p14:tracePt t="62997" x="10518775" y="2241550"/>
          <p14:tracePt t="62999" x="10510838" y="2249488"/>
          <p14:tracePt t="62999" x="10506075" y="2257425"/>
          <p14:tracePt t="63000" x="10502900" y="2265363"/>
          <p14:tracePt t="63001" x="10498138" y="2270125"/>
          <p14:tracePt t="63002" x="10490200" y="2278063"/>
          <p14:tracePt t="63003" x="10487025" y="2281238"/>
          <p14:tracePt t="63004" x="10482263" y="2290763"/>
          <p14:tracePt t="63006" x="10479088" y="2298700"/>
          <p14:tracePt t="63007" x="10474325" y="2301875"/>
          <p14:tracePt t="63007" x="10469563" y="2309813"/>
          <p14:tracePt t="63011" x="10458450" y="2325688"/>
          <p14:tracePt t="63012" x="10453688" y="2330450"/>
          <p14:tracePt t="63013" x="10450513" y="2338388"/>
          <p14:tracePt t="63015" x="10442575" y="2349500"/>
          <p14:tracePt t="63015" x="10437813" y="2354263"/>
          <p14:tracePt t="63016" x="10437813" y="2357438"/>
          <p14:tracePt t="63017" x="10434638" y="2362200"/>
          <p14:tracePt t="63018" x="10429875" y="2365375"/>
          <p14:tracePt t="63019" x="10426700" y="2373313"/>
          <p14:tracePt t="63020" x="10421938" y="2373313"/>
          <p14:tracePt t="63021" x="10421938" y="2378075"/>
          <p14:tracePt t="63023" x="10421938" y="2382838"/>
          <p14:tracePt t="63023" x="10418763" y="2386013"/>
          <p14:tracePt t="63026" x="10414000" y="2393950"/>
          <p14:tracePt t="63026" x="10410825" y="2398713"/>
          <p14:tracePt t="63027" x="10410825" y="2401888"/>
          <p14:tracePt t="63028" x="10406063" y="2401888"/>
          <p14:tracePt t="63031" x="10398125" y="2414588"/>
          <p14:tracePt t="63032" x="10398125" y="2417763"/>
          <p14:tracePt t="63033" x="10394950" y="2422525"/>
          <p14:tracePt t="63034" x="10390188" y="2422525"/>
          <p14:tracePt t="63035" x="10390188" y="2425700"/>
          <p14:tracePt t="63036" x="10387013" y="2425700"/>
          <p14:tracePt t="63037" x="10387013" y="2430463"/>
          <p14:tracePt t="63038" x="10382250" y="2433638"/>
          <p14:tracePt t="63039" x="10382250" y="2438400"/>
          <p14:tracePt t="63041" x="10377488" y="2441575"/>
          <p14:tracePt t="63043" x="10377488" y="2446338"/>
          <p14:tracePt t="63046" x="10374313" y="2454275"/>
          <p14:tracePt t="63046" x="10369550" y="2457450"/>
          <p14:tracePt t="63048" x="10369550" y="2462213"/>
          <p14:tracePt t="63049" x="10366375" y="2462213"/>
          <p14:tracePt t="63051" x="10366375" y="2465388"/>
          <p14:tracePt t="63053" x="10361613" y="2470150"/>
          <p14:tracePt t="63056" x="10361613" y="2474913"/>
          <p14:tracePt t="63057" x="10358438" y="2474913"/>
          <p14:tracePt t="63058" x="10358438" y="2478088"/>
          <p14:tracePt t="63061" x="10353675" y="2482850"/>
          <p14:tracePt t="63062" x="10353675" y="2486025"/>
          <p14:tracePt t="63064" x="10353675" y="2490788"/>
          <p14:tracePt t="63067" x="10350500" y="2493963"/>
          <p14:tracePt t="63069" x="10350500" y="2498725"/>
          <p14:tracePt t="63071" x="10345738" y="2501900"/>
          <p14:tracePt t="63077" x="10345738" y="2506663"/>
          <p14:tracePt t="63078" x="10342563" y="2506663"/>
          <p14:tracePt t="63079" x="10342563" y="2509838"/>
          <p14:tracePt t="63081" x="10342563" y="2514600"/>
          <p14:tracePt t="63084" x="10337800" y="2517775"/>
          <p14:tracePt t="63085" x="10337800" y="2522538"/>
          <p14:tracePt t="63087" x="10337800" y="2525713"/>
          <p14:tracePt t="63089" x="10337800" y="2530475"/>
          <p14:tracePt t="63091" x="10337800" y="2533650"/>
          <p14:tracePt t="63094" x="10337800" y="2538413"/>
          <p14:tracePt t="63094" x="10337800" y="2541588"/>
          <p14:tracePt t="63097" x="10337800" y="2546350"/>
          <p14:tracePt t="63098" x="10337800" y="2549525"/>
          <p14:tracePt t="63099" x="10337800" y="2554288"/>
          <p14:tracePt t="63100" x="10337800" y="2557463"/>
          <p14:tracePt t="63101" x="10337800" y="2562225"/>
          <p14:tracePt t="63102" x="10337800" y="2566988"/>
          <p14:tracePt t="63103" x="10337800" y="2570163"/>
          <p14:tracePt t="63104" x="10334625" y="2574925"/>
          <p14:tracePt t="63106" x="10334625" y="2578100"/>
          <p14:tracePt t="63107" x="10334625" y="2582863"/>
          <p14:tracePt t="63109" x="10334625" y="2586038"/>
          <p14:tracePt t="63109" x="10334625" y="2590800"/>
          <p14:tracePt t="63111" x="10334625" y="2593975"/>
          <p14:tracePt t="63111" x="10334625" y="2598738"/>
          <p14:tracePt t="63112" x="10334625" y="2601913"/>
          <p14:tracePt t="63113" x="10334625" y="2606675"/>
          <p14:tracePt t="63114" x="10334625" y="2614613"/>
          <p14:tracePt t="63115" x="10334625" y="2617788"/>
          <p14:tracePt t="63116" x="10334625" y="2622550"/>
          <p14:tracePt t="63117" x="10334625" y="2625725"/>
          <p14:tracePt t="63118" x="10334625" y="2630488"/>
          <p14:tracePt t="63119" x="10334625" y="2633663"/>
          <p14:tracePt t="63120" x="10334625" y="2638425"/>
          <p14:tracePt t="63121" x="10334625" y="2646363"/>
          <p14:tracePt t="63123" x="10334625" y="2649538"/>
          <p14:tracePt t="63123" x="10334625" y="2654300"/>
          <p14:tracePt t="63124" x="10334625" y="2662238"/>
          <p14:tracePt t="63126" x="10334625" y="2670175"/>
          <p14:tracePt t="63126" x="10334625" y="2674938"/>
          <p14:tracePt t="63127" x="10334625" y="2682875"/>
          <p14:tracePt t="63128" x="10334625" y="2686050"/>
          <p14:tracePt t="63129" x="10334625" y="2693988"/>
          <p14:tracePt t="63130" x="10337800" y="2701925"/>
          <p14:tracePt t="63131" x="10337800" y="2706688"/>
          <p14:tracePt t="63132" x="10337800" y="2714625"/>
          <p14:tracePt t="63133" x="10337800" y="2717800"/>
          <p14:tracePt t="63134" x="10342563" y="2725738"/>
          <p14:tracePt t="63135" x="10342563" y="2733675"/>
          <p14:tracePt t="63136" x="10342563" y="2738438"/>
          <p14:tracePt t="63137" x="10345738" y="2746375"/>
          <p14:tracePt t="63138" x="10345738" y="2751138"/>
          <p14:tracePt t="63140" x="10350500" y="2759075"/>
          <p14:tracePt t="63141" x="10350500" y="2767013"/>
          <p14:tracePt t="63141" x="10353675" y="2770188"/>
          <p14:tracePt t="63142" x="10353675" y="2774950"/>
          <p14:tracePt t="63143" x="10353675" y="2778125"/>
          <p14:tracePt t="63144" x="10358438" y="2786063"/>
          <p14:tracePt t="63145" x="10358438" y="2794000"/>
          <p14:tracePt t="63146" x="10358438" y="2798763"/>
          <p14:tracePt t="63147" x="10358438" y="2806700"/>
          <p14:tracePt t="63148" x="10361613" y="2809875"/>
          <p14:tracePt t="63149" x="10361613" y="2814638"/>
          <p14:tracePt t="63150" x="10366375" y="2822575"/>
          <p14:tracePt t="63152" x="10366375" y="2830513"/>
          <p14:tracePt t="63152" x="10369550" y="2833688"/>
          <p14:tracePt t="63154" x="10369550" y="2838450"/>
          <p14:tracePt t="63155" x="10374313" y="2846388"/>
          <p14:tracePt t="63156" x="10377488" y="2859088"/>
          <p14:tracePt t="63157" x="10382250" y="2862263"/>
          <p14:tracePt t="63158" x="10387013" y="2870200"/>
          <p14:tracePt t="63159" x="10390188" y="2874963"/>
          <p14:tracePt t="63160" x="10390188" y="2882900"/>
          <p14:tracePt t="63161" x="10394950" y="2886075"/>
          <p14:tracePt t="63162" x="10398125" y="2890838"/>
          <p14:tracePt t="63163" x="10402888" y="2894013"/>
          <p14:tracePt t="63164" x="10406063" y="2901950"/>
          <p14:tracePt t="63165" x="10410825" y="2901950"/>
          <p14:tracePt t="63167" x="10410825" y="2906713"/>
          <p14:tracePt t="63167" x="10414000" y="2914650"/>
          <p14:tracePt t="63168" x="10418763" y="2917825"/>
          <p14:tracePt t="63169" x="10426700" y="2922588"/>
          <p14:tracePt t="63171" x="10426700" y="2927350"/>
          <p14:tracePt t="63171" x="10429875" y="2930525"/>
          <p14:tracePt t="63173" x="10434638" y="2938463"/>
          <p14:tracePt t="63173" x="10437813" y="2943225"/>
          <p14:tracePt t="63175" x="10437813" y="2946400"/>
          <p14:tracePt t="63176" x="10442575" y="2951163"/>
          <p14:tracePt t="63176" x="10445750" y="2954338"/>
          <p14:tracePt t="63177" x="10450513" y="2959100"/>
          <p14:tracePt t="63178" x="10450513" y="2962275"/>
          <p14:tracePt t="63179" x="10458450" y="2967038"/>
          <p14:tracePt t="63180" x="10461625" y="2970213"/>
          <p14:tracePt t="63181" x="10466388" y="2970213"/>
          <p14:tracePt t="63182" x="10469563" y="2974975"/>
          <p14:tracePt t="63183" x="10474325" y="2978150"/>
          <p14:tracePt t="63184" x="10479088" y="2982913"/>
          <p14:tracePt t="63185" x="10482263" y="2986088"/>
          <p14:tracePt t="63187" x="10487025" y="2990850"/>
          <p14:tracePt t="63188" x="10487025" y="2994025"/>
          <p14:tracePt t="63189" x="10490200" y="2994025"/>
          <p14:tracePt t="63191" x="10494963" y="2998788"/>
          <p14:tracePt t="63192" x="10494963" y="3001963"/>
          <p14:tracePt t="63193" x="10498138" y="3001963"/>
          <p14:tracePt t="63194" x="10502900" y="3006725"/>
          <p14:tracePt t="63194" x="10506075" y="3006725"/>
          <p14:tracePt t="63195" x="10510838" y="3009900"/>
          <p14:tracePt t="63197" x="10514013" y="3009900"/>
          <p14:tracePt t="63199" x="10518775" y="3009900"/>
          <p14:tracePt t="63201" x="10521950" y="3009900"/>
          <p14:tracePt t="63203" x="10526713" y="3014663"/>
          <p14:tracePt t="63204" x="10526713" y="3019425"/>
          <p14:tracePt t="63206" x="10529888" y="3022600"/>
          <p14:tracePt t="63209" x="10534650" y="3022600"/>
          <p14:tracePt t="63211" x="10537825" y="3027363"/>
          <p14:tracePt t="63213" x="10542588" y="3027363"/>
          <p14:tracePt t="63218" x="10545763" y="3027363"/>
          <p14:tracePt t="63219" x="10545763" y="3030538"/>
          <p14:tracePt t="63227" x="10550525" y="3030538"/>
          <p14:tracePt t="63238" x="10553700" y="3030538"/>
          <p14:tracePt t="63242" x="10553700" y="3035300"/>
          <p14:tracePt t="63245" x="10558463" y="3035300"/>
          <p14:tracePt t="63259" x="10561638" y="3035300"/>
          <p14:tracePt t="63286" x="10566400" y="3038475"/>
          <p14:tracePt t="63296" x="10571163" y="3038475"/>
          <p14:tracePt t="63302" x="10574338" y="3038475"/>
          <p14:tracePt t="63306" x="10579100" y="3038475"/>
          <p14:tracePt t="63308" x="10582275" y="3038475"/>
          <p14:tracePt t="63312" x="10587038" y="3038475"/>
          <p14:tracePt t="63318" x="10590213" y="3038475"/>
          <p14:tracePt t="63321" x="10594975" y="3035300"/>
          <p14:tracePt t="63323" x="10598150" y="3035300"/>
          <p14:tracePt t="63326" x="10602913" y="3035300"/>
          <p14:tracePt t="63327" x="10606088" y="3030538"/>
          <p14:tracePt t="63330" x="10610850" y="3027363"/>
          <p14:tracePt t="63334" x="10610850" y="3022600"/>
          <p14:tracePt t="63337" x="10610850" y="3019425"/>
          <p14:tracePt t="63338" x="10614025" y="3019425"/>
          <p14:tracePt t="63340" x="10618788" y="3014663"/>
          <p14:tracePt t="63342" x="10621963" y="3014663"/>
          <p14:tracePt t="63344" x="10621963" y="3009900"/>
          <p14:tracePt t="63346" x="10626725" y="3006725"/>
          <p14:tracePt t="63347" x="10626725" y="3001963"/>
          <p14:tracePt t="63349" x="10626725" y="2998788"/>
          <p14:tracePt t="63352" x="10626725" y="2994025"/>
          <p14:tracePt t="63354" x="10626725" y="2990850"/>
          <p14:tracePt t="63357" x="10626725" y="2986088"/>
          <p14:tracePt t="63358" x="10626725" y="2982913"/>
          <p14:tracePt t="63360" x="10626725" y="2978150"/>
          <p14:tracePt t="63361" x="10626725" y="2974975"/>
          <p14:tracePt t="63364" x="10626725" y="2970213"/>
          <p14:tracePt t="63365" x="10626725" y="2967038"/>
          <p14:tracePt t="63366" x="10626725" y="2962275"/>
          <p14:tracePt t="63367" x="10626725" y="2959100"/>
          <p14:tracePt t="63368" x="10626725" y="2954338"/>
          <p14:tracePt t="63369" x="10626725" y="2951163"/>
          <p14:tracePt t="63370" x="10626725" y="2946400"/>
          <p14:tracePt t="63371" x="10626725" y="2943225"/>
          <p14:tracePt t="63373" x="10626725" y="2938463"/>
          <p14:tracePt t="63374" x="10626725" y="2930525"/>
          <p14:tracePt t="63374" x="10626725" y="2927350"/>
          <p14:tracePt t="63376" x="10626725" y="2917825"/>
          <p14:tracePt t="63377" x="10626725" y="2914650"/>
          <p14:tracePt t="63378" x="10626725" y="2906713"/>
          <p14:tracePt t="63379" x="10626725" y="2901950"/>
          <p14:tracePt t="63380" x="10626725" y="2894013"/>
          <p14:tracePt t="63381" x="10626725" y="2890838"/>
          <p14:tracePt t="63382" x="10626725" y="2886075"/>
          <p14:tracePt t="63383" x="10626725" y="2878138"/>
          <p14:tracePt t="63384" x="10626725" y="2874963"/>
          <p14:tracePt t="63385" x="10626725" y="2867025"/>
          <p14:tracePt t="63386" x="10626725" y="2859088"/>
          <p14:tracePt t="63387" x="10626725" y="2854325"/>
          <p14:tracePt t="63388" x="10621963" y="2851150"/>
          <p14:tracePt t="63390" x="10621963" y="2843213"/>
          <p14:tracePt t="63390" x="10618788" y="2833688"/>
          <p14:tracePt t="63391" x="10618788" y="2830513"/>
          <p14:tracePt t="63393" x="10618788" y="2822575"/>
          <p14:tracePt t="63393" x="10614025" y="2822575"/>
          <p14:tracePt t="63394" x="10614025" y="2814638"/>
          <p14:tracePt t="63395" x="10614025" y="2809875"/>
          <p14:tracePt t="63396" x="10610850" y="2801938"/>
          <p14:tracePt t="63397" x="10610850" y="2794000"/>
          <p14:tracePt t="63398" x="10610850" y="2790825"/>
          <p14:tracePt t="63399" x="10606088" y="2786063"/>
          <p14:tracePt t="63400" x="10606088" y="2778125"/>
          <p14:tracePt t="63401" x="10602913" y="2770188"/>
          <p14:tracePt t="63402" x="10598150" y="2767013"/>
          <p14:tracePt t="63404" x="10598150" y="2759075"/>
          <p14:tracePt t="63404" x="10594975" y="2754313"/>
          <p14:tracePt t="63406" x="10590213" y="2741613"/>
          <p14:tracePt t="63407" x="10590213" y="2738438"/>
          <p14:tracePt t="63408" x="10590213" y="2730500"/>
          <p14:tracePt t="63409" x="10587038" y="2725738"/>
          <p14:tracePt t="63411" x="10582275" y="2722563"/>
          <p14:tracePt t="63411" x="10579100" y="2714625"/>
          <p14:tracePt t="63412" x="10579100" y="2706688"/>
          <p14:tracePt t="63413" x="10574338" y="2701925"/>
          <p14:tracePt t="63415" x="10571163" y="2698750"/>
          <p14:tracePt t="63416" x="10566400" y="2690813"/>
          <p14:tracePt t="63417" x="10561638" y="2686050"/>
          <p14:tracePt t="63418" x="10561638" y="2682875"/>
          <p14:tracePt t="63419" x="10558463" y="2678113"/>
          <p14:tracePt t="63420" x="10553700" y="2674938"/>
          <p14:tracePt t="63421" x="10550525" y="2667000"/>
          <p14:tracePt t="63423" x="10545763" y="2662238"/>
          <p14:tracePt t="63423" x="10542588" y="2659063"/>
          <p14:tracePt t="63425" x="10542588" y="2654300"/>
          <p14:tracePt t="63425" x="10537825" y="2649538"/>
          <p14:tracePt t="63426" x="10534650" y="2646363"/>
          <p14:tracePt t="63429" x="10529888" y="2641600"/>
          <p14:tracePt t="63430" x="10526713" y="2638425"/>
          <p14:tracePt t="63431" x="10521950" y="2633663"/>
          <p14:tracePt t="63432" x="10518775" y="2633663"/>
          <p14:tracePt t="63433" x="10518775" y="2630488"/>
          <p14:tracePt t="63434" x="10514013" y="2625725"/>
          <p14:tracePt t="63437" x="10510838" y="2625725"/>
          <p14:tracePt t="63437" x="10510838" y="2622550"/>
          <p14:tracePt t="63438" x="10506075" y="2622550"/>
          <p14:tracePt t="63440" x="10502900" y="2622550"/>
          <p14:tracePt t="63440" x="10502900" y="2617788"/>
          <p14:tracePt t="63442" x="10498138" y="2617788"/>
          <p14:tracePt t="63448" x="10498138" y="2614613"/>
          <p14:tracePt t="63454" x="10494963" y="2614613"/>
          <p14:tracePt t="63492" x="10490200" y="2614613"/>
          <p14:tracePt t="63494" x="10487025" y="2614613"/>
          <p14:tracePt t="63495" x="10487025" y="2617788"/>
          <p14:tracePt t="63496" x="10482263" y="2617788"/>
          <p14:tracePt t="63499" x="10479088" y="2617788"/>
          <p14:tracePt t="63501" x="10479088" y="2622550"/>
          <p14:tracePt t="63501" x="10474325" y="2622550"/>
          <p14:tracePt t="63502" x="10469563" y="2622550"/>
          <p14:tracePt t="63503" x="10469563" y="2625725"/>
          <p14:tracePt t="63504" x="10466388" y="2625725"/>
          <p14:tracePt t="63506" x="10466388" y="2630488"/>
          <p14:tracePt t="63508" x="10461625" y="2633663"/>
          <p14:tracePt t="63510" x="10458450" y="2638425"/>
          <p14:tracePt t="63511" x="10453688" y="2641600"/>
          <p14:tracePt t="63513" x="10453688" y="2646363"/>
          <p14:tracePt t="63514" x="10450513" y="2649538"/>
          <p14:tracePt t="63516" x="10445750" y="2654300"/>
          <p14:tracePt t="63517" x="10445750" y="2659063"/>
          <p14:tracePt t="63518" x="10442575" y="2659063"/>
          <p14:tracePt t="63519" x="10442575" y="2662238"/>
          <p14:tracePt t="63520" x="10442575" y="2667000"/>
          <p14:tracePt t="63521" x="10437813" y="2667000"/>
          <p14:tracePt t="63523" x="10437813" y="2670175"/>
          <p14:tracePt t="63524" x="10434638" y="2674938"/>
          <p14:tracePt t="63526" x="10429875" y="2678113"/>
          <p14:tracePt t="63526" x="10429875" y="2682875"/>
          <p14:tracePt t="63528" x="10426700" y="2686050"/>
          <p14:tracePt t="63530" x="10426700" y="2690813"/>
          <p14:tracePt t="63531" x="10426700" y="2693988"/>
          <p14:tracePt t="63532" x="10421938" y="2698750"/>
          <p14:tracePt t="63533" x="10421938" y="2701925"/>
          <p14:tracePt t="63535" x="10421938" y="2706688"/>
          <p14:tracePt t="63536" x="10418763" y="2709863"/>
          <p14:tracePt t="63538" x="10414000" y="2714625"/>
          <p14:tracePt t="63539" x="10414000" y="2717800"/>
          <p14:tracePt t="63541" x="10414000" y="2722563"/>
          <p14:tracePt t="63544" x="10414000" y="2725738"/>
          <p14:tracePt t="63545" x="10410825" y="2730500"/>
          <p14:tracePt t="63547" x="10410825" y="2733675"/>
          <p14:tracePt t="63548" x="10410825" y="2738438"/>
          <p14:tracePt t="63550" x="10406063" y="2741613"/>
          <p14:tracePt t="63551" x="10406063" y="2746375"/>
          <p14:tracePt t="63553" x="10406063" y="2751138"/>
          <p14:tracePt t="63554" x="10406063" y="2754313"/>
          <p14:tracePt t="63556" x="10402888" y="2759075"/>
          <p14:tracePt t="63558" x="10402888" y="2762250"/>
          <p14:tracePt t="63562" x="10398125" y="2767013"/>
          <p14:tracePt t="63563" x="10398125" y="2770188"/>
          <p14:tracePt t="63565" x="10398125" y="2774950"/>
          <p14:tracePt t="63566" x="10394950" y="2774950"/>
          <p14:tracePt t="63567" x="10394950" y="2778125"/>
          <p14:tracePt t="63571" x="10394950" y="2782888"/>
          <p14:tracePt t="63573" x="10394950" y="2786063"/>
          <p14:tracePt t="63576" x="10394950" y="2790825"/>
          <p14:tracePt t="63578" x="10394950" y="2794000"/>
          <p14:tracePt t="63581" x="10390188" y="2794000"/>
          <p14:tracePt t="63582" x="10390188" y="2798763"/>
          <p14:tracePt t="63586" x="10390188" y="2801938"/>
          <p14:tracePt t="63593" x="10390188" y="2806700"/>
          <p14:tracePt t="63599" x="10390188" y="2809875"/>
          <p14:tracePt t="63603" x="10390188" y="2814638"/>
          <p14:tracePt t="63608" x="10390188" y="2817813"/>
          <p14:tracePt t="63613" x="10387013" y="2817813"/>
          <p14:tracePt t="63614" x="10387013" y="2822575"/>
          <p14:tracePt t="63618" x="10387013" y="2825750"/>
          <p14:tracePt t="63623" x="10387013" y="2830513"/>
          <p14:tracePt t="63627" x="10387013" y="2833688"/>
          <p14:tracePt t="63634" x="10387013" y="2838450"/>
          <p14:tracePt t="63637" x="10382250" y="2838450"/>
          <p14:tracePt t="63638" x="10382250" y="2843213"/>
          <p14:tracePt t="63642" x="10382250" y="2846388"/>
          <p14:tracePt t="63650" x="10382250" y="2851150"/>
          <p14:tracePt t="63654" x="10377488" y="2851150"/>
          <p14:tracePt t="63657" x="10377488" y="2854325"/>
          <p14:tracePt t="63661" x="10377488" y="2859088"/>
          <p14:tracePt t="63661" x="10374313" y="2859088"/>
          <p14:tracePt t="63662" x="10374313" y="2862263"/>
          <p14:tracePt t="63665" x="10374313" y="2867025"/>
          <p14:tracePt t="63668" x="10374313" y="2870200"/>
          <p14:tracePt t="63670" x="10374313" y="2874963"/>
          <p14:tracePt t="63673" x="10374313" y="2878138"/>
          <p14:tracePt t="63676" x="10374313" y="2882900"/>
          <p14:tracePt t="63678" x="10374313" y="2886075"/>
          <p14:tracePt t="63679" x="10369550" y="2886075"/>
          <p14:tracePt t="63683" x="10369550" y="2890838"/>
          <p14:tracePt t="63685" x="10369550" y="2894013"/>
          <p14:tracePt t="63688" x="10369550" y="2898775"/>
          <p14:tracePt t="63692" x="10369550" y="2901950"/>
          <p14:tracePt t="63692" x="10366375" y="2901950"/>
          <p14:tracePt t="63693" x="10366375" y="2906713"/>
          <p14:tracePt t="63694" x="10366375" y="2909888"/>
          <p14:tracePt t="63696" x="10366375" y="2914650"/>
          <p14:tracePt t="63699" x="10366375" y="2917825"/>
          <p14:tracePt t="63701" x="10361613" y="2922588"/>
          <p14:tracePt t="63703" x="10361613" y="2927350"/>
          <p14:tracePt t="63707" x="10361613" y="2930525"/>
          <p14:tracePt t="63707" x="10358438" y="2935288"/>
          <p14:tracePt t="63709" x="10358438" y="2938463"/>
          <p14:tracePt t="63710" x="10358438" y="2943225"/>
          <p14:tracePt t="63712" x="10358438" y="2951163"/>
          <p14:tracePt t="63714" x="10353675" y="2954338"/>
          <p14:tracePt t="63715" x="10353675" y="2959100"/>
          <p14:tracePt t="63717" x="10353675" y="2962275"/>
          <p14:tracePt t="63718" x="10353675" y="2967038"/>
          <p14:tracePt t="63719" x="10353675" y="2970213"/>
          <p14:tracePt t="63722" x="10350500" y="2970213"/>
          <p14:tracePt t="63723" x="10350500" y="2974975"/>
          <p14:tracePt t="63724" x="10350500" y="2978150"/>
          <p14:tracePt t="63725" x="10350500" y="2982913"/>
          <p14:tracePt t="63726" x="10350500" y="2986088"/>
          <p14:tracePt t="63727" x="10345738" y="2990850"/>
          <p14:tracePt t="63728" x="10345738" y="2994025"/>
          <p14:tracePt t="63729" x="10345738" y="2998788"/>
          <p14:tracePt t="63730" x="10345738" y="3001963"/>
          <p14:tracePt t="63731" x="10345738" y="3006725"/>
          <p14:tracePt t="63733" x="10345738" y="3009900"/>
          <p14:tracePt t="63733" x="10345738" y="3014663"/>
          <p14:tracePt t="63736" x="10345738" y="3019425"/>
          <p14:tracePt t="63737" x="10345738" y="3027363"/>
          <p14:tracePt t="63738" x="10342563" y="3027363"/>
          <p14:tracePt t="63739" x="10342563" y="3030538"/>
          <p14:tracePt t="63740" x="10342563" y="3035300"/>
          <p14:tracePt t="63741" x="10342563" y="3038475"/>
          <p14:tracePt t="63743" x="10342563" y="3043238"/>
          <p14:tracePt t="63743" x="10342563" y="3046413"/>
          <p14:tracePt t="63744" x="10342563" y="3051175"/>
          <p14:tracePt t="63745" x="10342563" y="3054350"/>
          <p14:tracePt t="63746" x="10337800" y="3059113"/>
          <p14:tracePt t="63747" x="10337800" y="3062288"/>
          <p14:tracePt t="63749" x="10337800" y="3067050"/>
          <p14:tracePt t="63749" x="10337800" y="3070225"/>
          <p14:tracePt t="63750" x="10337800" y="3074988"/>
          <p14:tracePt t="63751" x="10337800" y="3078163"/>
          <p14:tracePt t="63752" x="10337800" y="3082925"/>
          <p14:tracePt t="63753" x="10337800" y="3086100"/>
          <p14:tracePt t="63754" x="10337800" y="3090863"/>
          <p14:tracePt t="63756" x="10337800" y="3094038"/>
          <p14:tracePt t="63757" x="10337800" y="3098800"/>
          <p14:tracePt t="63758" x="10337800" y="3101975"/>
          <p14:tracePt t="63759" x="10337800" y="3106738"/>
          <p14:tracePt t="63760" x="10337800" y="3111500"/>
          <p14:tracePt t="63761" x="10334625" y="3114675"/>
          <p14:tracePt t="63762" x="10334625" y="3122613"/>
          <p14:tracePt t="63763" x="10334625" y="3127375"/>
          <p14:tracePt t="63764" x="10334625" y="3130550"/>
          <p14:tracePt t="63765" x="10334625" y="3135313"/>
          <p14:tracePt t="63766" x="10334625" y="3138488"/>
          <p14:tracePt t="63767" x="10334625" y="3143250"/>
          <p14:tracePt t="63768" x="10334625" y="3146425"/>
          <p14:tracePt t="63769" x="10334625" y="3151188"/>
          <p14:tracePt t="63771" x="10334625" y="3154363"/>
          <p14:tracePt t="63773" x="10334625" y="3159125"/>
          <p14:tracePt t="63773" x="10334625" y="3162300"/>
          <p14:tracePt t="63774" x="10334625" y="3167063"/>
          <p14:tracePt t="63775" x="10334625" y="3170238"/>
          <p14:tracePt t="63776" x="10334625" y="3175000"/>
          <p14:tracePt t="63777" x="10334625" y="3182938"/>
          <p14:tracePt t="63778" x="10334625" y="3186113"/>
          <p14:tracePt t="63780" x="10334625" y="3190875"/>
          <p14:tracePt t="63781" x="10334625" y="3194050"/>
          <p14:tracePt t="63782" x="10334625" y="3198813"/>
          <p14:tracePt t="63783" x="10334625" y="3203575"/>
          <p14:tracePt t="63784" x="10334625" y="3206750"/>
          <p14:tracePt t="63785" x="10334625" y="3211513"/>
          <p14:tracePt t="63786" x="10334625" y="3214688"/>
          <p14:tracePt t="63787" x="10334625" y="3219450"/>
          <p14:tracePt t="63788" x="10334625" y="3222625"/>
          <p14:tracePt t="63789" x="10334625" y="3227388"/>
          <p14:tracePt t="63791" x="10334625" y="3230563"/>
          <p14:tracePt t="63792" x="10334625" y="3235325"/>
          <p14:tracePt t="63793" x="10334625" y="3238500"/>
          <p14:tracePt t="63794" x="10334625" y="3243263"/>
          <p14:tracePt t="63797" x="10334625" y="3251200"/>
          <p14:tracePt t="63797" x="10334625" y="3254375"/>
          <p14:tracePt t="63798" x="10334625" y="3259138"/>
          <p14:tracePt t="63799" x="10337800" y="3259138"/>
          <p14:tracePt t="63800" x="10337800" y="3262313"/>
          <p14:tracePt t="63801" x="10337800" y="3267075"/>
          <p14:tracePt t="63803" x="10337800" y="3270250"/>
          <p14:tracePt t="63804" x="10337800" y="3275013"/>
          <p14:tracePt t="63806" x="10337800" y="3278188"/>
          <p14:tracePt t="63807" x="10342563" y="3282950"/>
          <p14:tracePt t="63808" x="10342563" y="3286125"/>
          <p14:tracePt t="63810" x="10342563" y="3290888"/>
          <p14:tracePt t="63811" x="10345738" y="3295650"/>
          <p14:tracePt t="63813" x="10345738" y="3298825"/>
          <p14:tracePt t="63815" x="10350500" y="3303588"/>
          <p14:tracePt t="63816" x="10350500" y="3306763"/>
          <p14:tracePt t="63817" x="10350500" y="3311525"/>
          <p14:tracePt t="63818" x="10353675" y="3311525"/>
          <p14:tracePt t="63819" x="10353675" y="3314700"/>
          <p14:tracePt t="63821" x="10358438" y="3319463"/>
          <p14:tracePt t="63826" x="10361613" y="3322638"/>
          <p14:tracePt t="63828" x="10366375" y="3327400"/>
          <p14:tracePt t="63829" x="10369550" y="3330575"/>
          <p14:tracePt t="63832" x="10369550" y="3335338"/>
          <p14:tracePt t="63834" x="10374313" y="3338513"/>
          <p14:tracePt t="63836" x="10377488" y="3343275"/>
          <p14:tracePt t="63838" x="10377488" y="3346450"/>
          <p14:tracePt t="63838" x="10382250" y="3346450"/>
          <p14:tracePt t="63839" x="10382250" y="3351213"/>
          <p14:tracePt t="63841" x="10387013" y="3351213"/>
          <p14:tracePt t="63841" x="10390188" y="3354388"/>
          <p14:tracePt t="63842" x="10390188" y="3359150"/>
          <p14:tracePt t="63843" x="10394950" y="3359150"/>
          <p14:tracePt t="63844" x="10398125" y="3359150"/>
          <p14:tracePt t="63846" x="10402888" y="3362325"/>
          <p14:tracePt t="63847" x="10406063" y="3362325"/>
          <p14:tracePt t="63849" x="10410825" y="3367088"/>
          <p14:tracePt t="63852" x="10414000" y="3370263"/>
          <p14:tracePt t="63853" x="10418763" y="3370263"/>
          <p14:tracePt t="63854" x="10421938" y="3370263"/>
          <p14:tracePt t="63855" x="10426700" y="3370263"/>
          <p14:tracePt t="63857" x="10429875" y="3375025"/>
          <p14:tracePt t="63858" x="10437813" y="3375025"/>
          <p14:tracePt t="63859" x="10442575" y="3375025"/>
          <p14:tracePt t="63860" x="10445750" y="3378200"/>
          <p14:tracePt t="63861" x="10450513" y="3378200"/>
          <p14:tracePt t="63862" x="10453688" y="3378200"/>
          <p14:tracePt t="63864" x="10458450" y="3378200"/>
          <p14:tracePt t="63866" x="10461625" y="3378200"/>
          <p14:tracePt t="63867" x="10466388" y="3378200"/>
          <p14:tracePt t="63868" x="10469563" y="3378200"/>
          <p14:tracePt t="63869" x="10474325" y="3378200"/>
          <p14:tracePt t="63870" x="10479088" y="3378200"/>
          <p14:tracePt t="63871" x="10482263" y="3378200"/>
          <p14:tracePt t="63873" x="10487025" y="3378200"/>
          <p14:tracePt t="63874" x="10490200" y="3378200"/>
          <p14:tracePt t="63875" x="10494963" y="3378200"/>
          <p14:tracePt t="63876" x="10498138" y="3378200"/>
          <p14:tracePt t="63878" x="10502900" y="3378200"/>
          <p14:tracePt t="63880" x="10506075" y="3378200"/>
          <p14:tracePt t="63881" x="10510838" y="3378200"/>
          <p14:tracePt t="63883" x="10514013" y="3378200"/>
          <p14:tracePt t="63884" x="10518775" y="3378200"/>
          <p14:tracePt t="63887" x="10521950" y="3378200"/>
          <p14:tracePt t="63890" x="10526713" y="3378200"/>
          <p14:tracePt t="64994" x="10521950" y="3378200"/>
          <p14:tracePt t="64997" x="10518775" y="3378200"/>
          <p14:tracePt t="65000" x="10510838" y="3378200"/>
          <p14:tracePt t="65002" x="10502900" y="3378200"/>
          <p14:tracePt t="65004" x="10498138" y="3378200"/>
          <p14:tracePt t="65005" x="10490200" y="3378200"/>
          <p14:tracePt t="65007" x="10482263" y="3378200"/>
          <p14:tracePt t="65008" x="10479088" y="3378200"/>
          <p14:tracePt t="65010" x="10466388" y="3378200"/>
          <p14:tracePt t="65011" x="10461625" y="3378200"/>
          <p14:tracePt t="65014" x="10442575" y="3378200"/>
          <p14:tracePt t="65015" x="10437813" y="3382963"/>
          <p14:tracePt t="65017" x="10429875" y="3382963"/>
          <p14:tracePt t="65018" x="10426700" y="3382963"/>
          <p14:tracePt t="65020" x="10418763" y="3387725"/>
          <p14:tracePt t="65021" x="10414000" y="3387725"/>
          <p14:tracePt t="65021" x="10410825" y="3387725"/>
          <p14:tracePt t="65023" x="10406063" y="3387725"/>
          <p14:tracePt t="65024" x="10402888" y="3390900"/>
          <p14:tracePt t="65026" x="10398125" y="3390900"/>
          <p14:tracePt t="65026" x="10398125" y="3395663"/>
          <p14:tracePt t="65037" x="10398125" y="3398838"/>
          <p14:tracePt t="65041" x="10394950" y="3398838"/>
          <p14:tracePt t="65044" x="10394950" y="3403600"/>
          <p14:tracePt t="65047" x="10394950" y="3406775"/>
          <p14:tracePt t="65049" x="10394950" y="3411538"/>
          <p14:tracePt t="65050" x="10390188" y="3414713"/>
          <p14:tracePt t="65051" x="10390188" y="3419475"/>
          <p14:tracePt t="65053" x="10390188" y="3422650"/>
          <p14:tracePt t="65054" x="10387013" y="3427413"/>
          <p14:tracePt t="65055" x="10387013" y="3430588"/>
          <p14:tracePt t="65057" x="10387013" y="3435350"/>
          <p14:tracePt t="65058" x="10387013" y="3438525"/>
          <p14:tracePt t="65058" x="10382250" y="3438525"/>
          <p14:tracePt t="65061" x="10382250" y="3443288"/>
          <p14:tracePt t="65062" x="10382250" y="3446463"/>
          <p14:tracePt t="65063" x="10382250" y="3451225"/>
          <p14:tracePt t="65063" x="10382250" y="3454400"/>
          <p14:tracePt t="65064" x="10377488" y="3459163"/>
          <p14:tracePt t="65065" x="10377488" y="3462338"/>
          <p14:tracePt t="65066" x="10377488" y="3467100"/>
          <p14:tracePt t="65067" x="10377488" y="3470275"/>
          <p14:tracePt t="65068" x="10377488" y="3475038"/>
          <p14:tracePt t="65069" x="10374313" y="3479800"/>
          <p14:tracePt t="65071" x="10374313" y="3482975"/>
          <p14:tracePt t="65073" x="10369550" y="3487738"/>
          <p14:tracePt t="65074" x="10369550" y="3495675"/>
          <p14:tracePt t="65075" x="10366375" y="3498850"/>
          <p14:tracePt t="65076" x="10366375" y="3503613"/>
          <p14:tracePt t="65077" x="10361613" y="3506788"/>
          <p14:tracePt t="65079" x="10361613" y="3511550"/>
          <p14:tracePt t="65080" x="10361613" y="3514725"/>
          <p14:tracePt t="65080" x="10358438" y="3519488"/>
          <p14:tracePt t="65082" x="10358438" y="3522663"/>
          <p14:tracePt t="65084" x="10353675" y="3527425"/>
          <p14:tracePt t="65084" x="10353675" y="3530600"/>
          <p14:tracePt t="65086" x="10353675" y="3535363"/>
          <p14:tracePt t="65086" x="10350500" y="3538538"/>
          <p14:tracePt t="65087" x="10350500" y="3543300"/>
          <p14:tracePt t="65088" x="10345738" y="3546475"/>
          <p14:tracePt t="65090" x="10342563" y="3551238"/>
          <p14:tracePt t="65091" x="10342563" y="3554413"/>
          <p14:tracePt t="65092" x="10337800" y="3559175"/>
          <p14:tracePt t="65094" x="10334625" y="3562350"/>
          <p14:tracePt t="65095" x="10329863" y="3571875"/>
          <p14:tracePt t="65096" x="10329863" y="3575050"/>
          <p14:tracePt t="65096" x="10326688" y="3579813"/>
          <p14:tracePt t="65097" x="10321925" y="3582988"/>
          <p14:tracePt t="65098" x="10321925" y="3587750"/>
          <p14:tracePt t="65099" x="10318750" y="3590925"/>
          <p14:tracePt t="65100" x="10318750" y="3595688"/>
          <p14:tracePt t="65101" x="10313988" y="3598863"/>
          <p14:tracePt t="65102" x="10310813" y="3598863"/>
          <p14:tracePt t="65103" x="10310813" y="3603625"/>
          <p14:tracePt t="65104" x="10310813" y="3611563"/>
          <p14:tracePt t="65105" x="10306050" y="3614738"/>
          <p14:tracePt t="65108" x="10302875" y="3619500"/>
          <p14:tracePt t="65109" x="10298113" y="3622675"/>
          <p14:tracePt t="65110" x="10298113" y="3627438"/>
          <p14:tracePt t="65111" x="10293350" y="3627438"/>
          <p14:tracePt t="65112" x="10290175" y="3630613"/>
          <p14:tracePt t="65112" x="10290175" y="3635375"/>
          <p14:tracePt t="65113" x="10290175" y="3638550"/>
          <p14:tracePt t="65114" x="10285413" y="3643313"/>
          <p14:tracePt t="65115" x="10282238" y="3646488"/>
          <p14:tracePt t="65116" x="10282238" y="3651250"/>
          <p14:tracePt t="65117" x="10277475" y="3654425"/>
          <p14:tracePt t="65118" x="10274300" y="3654425"/>
          <p14:tracePt t="65120" x="10269538" y="3659188"/>
          <p14:tracePt t="65121" x="10269538" y="3663950"/>
          <p14:tracePt t="65123" x="10269538" y="3667125"/>
          <p14:tracePt t="65125" x="10266363" y="3671888"/>
          <p14:tracePt t="65125" x="10266363" y="3675063"/>
          <p14:tracePt t="65127" x="10261600" y="3679825"/>
          <p14:tracePt t="65129" x="10261600" y="3683000"/>
          <p14:tracePt t="65129" x="10258425" y="3687763"/>
          <p14:tracePt t="65132" x="10258425" y="3690938"/>
          <p14:tracePt t="65132" x="10258425" y="3695700"/>
          <p14:tracePt t="65133" x="10253663" y="3695700"/>
          <p14:tracePt t="65135" x="10253663" y="3698875"/>
          <p14:tracePt t="65136" x="10250488" y="3703638"/>
          <p14:tracePt t="65139" x="10245725" y="3706813"/>
          <p14:tracePt t="65140" x="10245725" y="3711575"/>
          <p14:tracePt t="65141" x="10242550" y="3711575"/>
          <p14:tracePt t="65142" x="10242550" y="3714750"/>
          <p14:tracePt t="65143" x="10242550" y="3719513"/>
          <p14:tracePt t="65144" x="10237788" y="3719513"/>
          <p14:tracePt t="65145" x="10237788" y="3722688"/>
          <p14:tracePt t="65146" x="10237788" y="3727450"/>
          <p14:tracePt t="65148" x="10234613" y="3730625"/>
          <p14:tracePt t="65148" x="10234613" y="3735388"/>
          <p14:tracePt t="65152" x="10229850" y="3738563"/>
          <p14:tracePt t="65154" x="10229850" y="3743325"/>
          <p14:tracePt t="65156" x="10226675" y="3743325"/>
          <p14:tracePt t="65157" x="10226675" y="3746500"/>
          <p14:tracePt t="65159" x="10226675" y="3751263"/>
          <p14:tracePt t="65159" x="10221913" y="3751263"/>
          <p14:tracePt t="65161" x="10221913" y="3756025"/>
          <p14:tracePt t="65163" x="10221913" y="3759200"/>
          <p14:tracePt t="65165" x="10218738" y="3763963"/>
          <p14:tracePt t="65167" x="10218738" y="3767138"/>
          <p14:tracePt t="65169" x="10213975" y="3767138"/>
          <p14:tracePt t="65170" x="10213975" y="3771900"/>
          <p14:tracePt t="65174" x="10210800" y="3775075"/>
          <p14:tracePt t="65177" x="10206038" y="3775075"/>
          <p14:tracePt t="65178" x="10206038" y="3779838"/>
          <p14:tracePt t="65181" x="10201275" y="3779838"/>
          <p14:tracePt t="65183" x="10201275" y="3783013"/>
          <p14:tracePt t="65187" x="10201275" y="3787775"/>
          <p14:tracePt t="65188" x="10198100" y="3787775"/>
          <p14:tracePt t="65207" x="10193338" y="3787775"/>
          <p14:tracePt t="65220" x="10190163" y="3787775"/>
          <p14:tracePt t="65290" x="10193338" y="3787775"/>
          <p14:tracePt t="65298" x="10198100" y="3787775"/>
          <p14:tracePt t="65321" x="10201275" y="3787775"/>
          <p14:tracePt t="65332" x="10206038" y="3787775"/>
          <p14:tracePt t="65334" x="10206038" y="3783013"/>
          <p14:tracePt t="65335" x="10210800" y="3783013"/>
          <p14:tracePt t="65341" x="10213975" y="3779838"/>
          <p14:tracePt t="65346" x="10218738" y="3779838"/>
          <p14:tracePt t="65347" x="10221913" y="3779838"/>
          <p14:tracePt t="65356" x="10226675" y="3779838"/>
          <p14:tracePt t="65358" x="10229850" y="3779838"/>
          <p14:tracePt t="65361" x="10229850" y="3775075"/>
          <p14:tracePt t="65363" x="10234613" y="3775075"/>
          <p14:tracePt t="65367" x="10237788" y="3775075"/>
          <p14:tracePt t="65371" x="10242550" y="3775075"/>
          <p14:tracePt t="65375" x="10245725" y="3775075"/>
          <p14:tracePt t="65380" x="10250488" y="3775075"/>
          <p14:tracePt t="65467" x="10250488" y="3771900"/>
          <p14:tracePt t="65676" x="10253663" y="3771900"/>
          <p14:tracePt t="66084" x="10250488" y="3771900"/>
          <p14:tracePt t="66086" x="10245725" y="3771900"/>
          <p14:tracePt t="66089" x="10242550" y="3771900"/>
          <p14:tracePt t="66091" x="10237788" y="3771900"/>
          <p14:tracePt t="66095" x="10229850" y="3771900"/>
          <p14:tracePt t="66098" x="10226675" y="3771900"/>
          <p14:tracePt t="66108" x="10221913" y="3771900"/>
          <p14:tracePt t="66111" x="10218738" y="3771900"/>
          <p14:tracePt t="66114" x="10218738" y="3767138"/>
          <p14:tracePt t="66116" x="10213975" y="3767138"/>
          <p14:tracePt t="66120" x="10213975" y="3763963"/>
          <p14:tracePt t="66125" x="10213975" y="3759200"/>
          <p14:tracePt t="66131" x="10210800" y="3756025"/>
          <p14:tracePt t="66133" x="10210800" y="3751263"/>
          <p14:tracePt t="66135" x="10210800" y="3746500"/>
          <p14:tracePt t="66136" x="10206038" y="3746500"/>
          <p14:tracePt t="66138" x="10206038" y="3738563"/>
          <p14:tracePt t="66140" x="10198100" y="3738563"/>
          <p14:tracePt t="66145" x="10185400" y="3714750"/>
          <p14:tracePt t="66147" x="10182225" y="3703638"/>
          <p14:tracePt t="66149" x="10177463" y="3690938"/>
          <p14:tracePt t="66150" x="10169525" y="3683000"/>
          <p14:tracePt t="66151" x="10169525" y="3679825"/>
          <p14:tracePt t="66154" x="10158413" y="3659188"/>
          <p14:tracePt t="66156" x="10145713" y="3638550"/>
          <p14:tracePt t="66159" x="10134600" y="3619500"/>
          <p14:tracePt t="66161" x="10121900" y="3587750"/>
          <p14:tracePt t="66163" x="10118725" y="3571875"/>
          <p14:tracePt t="66163" x="10113963" y="3562350"/>
          <p14:tracePt t="66164" x="10101263" y="3546475"/>
          <p14:tracePt t="66165" x="10098088" y="3538538"/>
          <p14:tracePt t="66166" x="10093325" y="3527425"/>
          <p14:tracePt t="66167" x="10090150" y="3514725"/>
          <p14:tracePt t="66168" x="10082213" y="3506788"/>
          <p14:tracePt t="66169" x="10077450" y="3495675"/>
          <p14:tracePt t="66171" x="10066338" y="3479800"/>
          <p14:tracePt t="66171" x="10061575" y="3470275"/>
          <p14:tracePt t="66173" x="10058400" y="3454400"/>
          <p14:tracePt t="66174" x="10050463" y="3446463"/>
          <p14:tracePt t="66174" x="10037763" y="3427413"/>
          <p14:tracePt t="66176" x="10034588" y="3414713"/>
          <p14:tracePt t="66177" x="10026650" y="3403600"/>
          <p14:tracePt t="66177" x="10017125" y="3390900"/>
          <p14:tracePt t="66178" x="10009188" y="3375025"/>
          <p14:tracePt t="66180" x="10001250" y="3354388"/>
          <p14:tracePt t="66180" x="9990138" y="3346450"/>
          <p14:tracePt t="66181" x="9985375" y="3330575"/>
          <p14:tracePt t="66182" x="9977438" y="3319463"/>
          <p14:tracePt t="66183" x="9966325" y="3303588"/>
          <p14:tracePt t="66184" x="9958388" y="3282950"/>
          <p14:tracePt t="66185" x="9945688" y="3275013"/>
          <p14:tracePt t="66186" x="9937750" y="3259138"/>
          <p14:tracePt t="66187" x="9929813" y="3243263"/>
          <p14:tracePt t="66188" x="9917113" y="3230563"/>
          <p14:tracePt t="66190" x="9909175" y="3214688"/>
          <p14:tracePt t="66190" x="9898063" y="3194050"/>
          <p14:tracePt t="66192" x="9882188" y="3175000"/>
          <p14:tracePt t="66194" x="9861550" y="3143250"/>
          <p14:tracePt t="66195" x="9845675" y="3122613"/>
          <p14:tracePt t="66195" x="9837738" y="3111500"/>
          <p14:tracePt t="66196" x="9829800" y="3094038"/>
          <p14:tracePt t="66197" x="9817100" y="3078163"/>
          <p14:tracePt t="66198" x="9809163" y="3067050"/>
          <p14:tracePt t="66199" x="9793288" y="3046413"/>
          <p14:tracePt t="66200" x="9777413" y="3030538"/>
          <p14:tracePt t="66201" x="9769475" y="3009900"/>
          <p14:tracePt t="66202" x="9753600" y="2994025"/>
          <p14:tracePt t="66203" x="9740900" y="2978150"/>
          <p14:tracePt t="66204" x="9729788" y="2959100"/>
          <p14:tracePt t="66205" x="9717088" y="2943225"/>
          <p14:tracePt t="66206" x="9701213" y="2930525"/>
          <p14:tracePt t="66207" x="9693275" y="2914650"/>
          <p14:tracePt t="66210" x="9669463" y="2878138"/>
          <p14:tracePt t="66210" x="9653588" y="2867025"/>
          <p14:tracePt t="66211" x="9645650" y="2851150"/>
          <p14:tracePt t="66212" x="9632950" y="2833688"/>
          <p14:tracePt t="66213" x="9625013" y="2822575"/>
          <p14:tracePt t="66214" x="9609138" y="2806700"/>
          <p14:tracePt t="66215" x="9601200" y="2794000"/>
          <p14:tracePt t="66216" x="9590088" y="2778125"/>
          <p14:tracePt t="66217" x="9582150" y="2762250"/>
          <p14:tracePt t="66218" x="9574213" y="2754313"/>
          <p14:tracePt t="66219" x="9556750" y="2733675"/>
          <p14:tracePt t="66220" x="9545638" y="2717800"/>
          <p14:tracePt t="66221" x="9537700" y="2709863"/>
          <p14:tracePt t="66223" x="9529763" y="2693988"/>
          <p14:tracePt t="66224" x="9525000" y="2682875"/>
          <p14:tracePt t="66224" x="9509125" y="2667000"/>
          <p14:tracePt t="66226" x="9505950" y="2654300"/>
          <p14:tracePt t="66228" x="9490075" y="2630488"/>
          <p14:tracePt t="66229" x="9480550" y="2622550"/>
          <p14:tracePt t="66229" x="9472613" y="2606675"/>
          <p14:tracePt t="66230" x="9461500" y="2590800"/>
          <p14:tracePt t="66231" x="9456738" y="2578100"/>
          <p14:tracePt t="66232" x="9448800" y="2570163"/>
          <p14:tracePt t="66233" x="9445625" y="2554288"/>
          <p14:tracePt t="66234" x="9432925" y="2541588"/>
          <p14:tracePt t="66235" x="9429750" y="2525713"/>
          <p14:tracePt t="66236" x="9421813" y="2517775"/>
          <p14:tracePt t="66237" x="9417050" y="2501900"/>
          <p14:tracePt t="66238" x="9409113" y="2493963"/>
          <p14:tracePt t="66240" x="9405938" y="2482850"/>
          <p14:tracePt t="66240" x="9398000" y="2465388"/>
          <p14:tracePt t="66242" x="9393238" y="2449513"/>
          <p14:tracePt t="66243" x="9380538" y="2441575"/>
          <p14:tracePt t="66244" x="9377363" y="2430463"/>
          <p14:tracePt t="66244" x="9369425" y="2414588"/>
          <p14:tracePt t="66245" x="9364663" y="2401888"/>
          <p14:tracePt t="66246" x="9353550" y="2390775"/>
          <p14:tracePt t="66247" x="9348788" y="2378075"/>
          <p14:tracePt t="66249" x="9345613" y="2370138"/>
          <p14:tracePt t="66249" x="9340850" y="2354263"/>
          <p14:tracePt t="66250" x="9332913" y="2338388"/>
          <p14:tracePt t="66251" x="9324975" y="2325688"/>
          <p14:tracePt t="66252" x="9321800" y="2317750"/>
          <p14:tracePt t="66253" x="9313863" y="2306638"/>
          <p14:tracePt t="66254" x="9309100" y="2293938"/>
          <p14:tracePt t="66255" x="9296400" y="2278063"/>
          <p14:tracePt t="66256" x="9293225" y="2265363"/>
          <p14:tracePt t="66257" x="9285288" y="2249488"/>
          <p14:tracePt t="66259" x="9280525" y="2241550"/>
          <p14:tracePt t="66261" x="9264650" y="2214563"/>
          <p14:tracePt t="66262" x="9256713" y="2198688"/>
          <p14:tracePt t="66262" x="9253538" y="2189163"/>
          <p14:tracePt t="66263" x="9248775" y="2178050"/>
          <p14:tracePt t="66264" x="9237663" y="2162175"/>
          <p14:tracePt t="66265" x="9229725" y="2146300"/>
          <p14:tracePt t="66266" x="9224963" y="2133600"/>
          <p14:tracePt t="66267" x="9221788" y="2125663"/>
          <p14:tracePt t="66268" x="9209088" y="2109788"/>
          <p14:tracePt t="66269" x="9204325" y="2097088"/>
          <p14:tracePt t="66270" x="9196388" y="2081213"/>
          <p14:tracePt t="66271" x="9188450" y="2070100"/>
          <p14:tracePt t="66273" x="9180513" y="2054225"/>
          <p14:tracePt t="66274" x="9177338" y="2046288"/>
          <p14:tracePt t="66274" x="9172575" y="2030413"/>
          <p14:tracePt t="66277" x="9153525" y="2001838"/>
          <p14:tracePt t="66278" x="9148763" y="1985963"/>
          <p14:tracePt t="66279" x="9145588" y="1978025"/>
          <p14:tracePt t="66279" x="9132888" y="1965325"/>
          <p14:tracePt t="66280" x="9124950" y="1949450"/>
          <p14:tracePt t="66281" x="9120188" y="1938338"/>
          <p14:tracePt t="66282" x="9117013" y="1925638"/>
          <p14:tracePt t="66283" x="9109075" y="1912938"/>
          <p14:tracePt t="66284" x="9104313" y="1905000"/>
          <p14:tracePt t="66285" x="9096375" y="1889125"/>
          <p14:tracePt t="66286" x="9093200" y="1881188"/>
          <p14:tracePt t="66287" x="9088438" y="1865313"/>
          <p14:tracePt t="66288" x="9085263" y="1857375"/>
          <p14:tracePt t="66290" x="9077325" y="1849438"/>
          <p14:tracePt t="66290" x="9072563" y="1833563"/>
          <p14:tracePt t="66291" x="9069388" y="1825625"/>
          <p14:tracePt t="66293" x="9064625" y="1817688"/>
          <p14:tracePt t="66294" x="9064625" y="1809750"/>
          <p14:tracePt t="66295" x="9056688" y="1785938"/>
          <p14:tracePt t="66296" x="9053513" y="1778000"/>
          <p14:tracePt t="66297" x="9048750" y="1770063"/>
          <p14:tracePt t="66298" x="9045575" y="1762125"/>
          <p14:tracePt t="66299" x="9045575" y="1754188"/>
          <p14:tracePt t="66300" x="9032875" y="1741488"/>
          <p14:tracePt t="66301" x="9032875" y="1733550"/>
          <p14:tracePt t="66302" x="9028113" y="1725613"/>
          <p14:tracePt t="66303" x="9024938" y="1720850"/>
          <p14:tracePt t="66304" x="9020175" y="1712913"/>
          <p14:tracePt t="66305" x="9017000" y="1704975"/>
          <p14:tracePt t="66306" x="9017000" y="1697038"/>
          <p14:tracePt t="66307" x="9012238" y="1689100"/>
          <p14:tracePt t="66310" x="9009063" y="1685925"/>
          <p14:tracePt t="66312" x="8996363" y="1662113"/>
          <p14:tracePt t="66312" x="8993188" y="1657350"/>
          <p14:tracePt t="66313" x="8993188" y="1649413"/>
          <p14:tracePt t="66314" x="8988425" y="1641475"/>
          <p14:tracePt t="66315" x="8985250" y="1628775"/>
          <p14:tracePt t="66316" x="8980488" y="1625600"/>
          <p14:tracePt t="66317" x="8977313" y="1617663"/>
          <p14:tracePt t="66318" x="8972550" y="1609725"/>
          <p14:tracePt t="66319" x="8969375" y="1604963"/>
          <p14:tracePt t="66320" x="8964613" y="1597025"/>
          <p14:tracePt t="66321" x="8961438" y="1589088"/>
          <p14:tracePt t="66323" x="8953500" y="1577975"/>
          <p14:tracePt t="66325" x="8948738" y="1570038"/>
          <p14:tracePt t="66326" x="8940800" y="1557338"/>
          <p14:tracePt t="66328" x="8936038" y="1549400"/>
          <p14:tracePt t="66328" x="8932863" y="1544638"/>
          <p14:tracePt t="66329" x="8928100" y="1536700"/>
          <p14:tracePt t="66330" x="8924925" y="1528763"/>
          <p14:tracePt t="66331" x="8920163" y="1525588"/>
          <p14:tracePt t="66332" x="8916988" y="1517650"/>
          <p14:tracePt t="66333" x="8912225" y="1512888"/>
          <p14:tracePt t="66334" x="8909050" y="1504950"/>
          <p14:tracePt t="66335" x="8904288" y="1497013"/>
          <p14:tracePt t="66336" x="8896350" y="1489075"/>
          <p14:tracePt t="66337" x="8896350" y="1485900"/>
          <p14:tracePt t="66338" x="8893175" y="1477963"/>
          <p14:tracePt t="66340" x="8888413" y="1473200"/>
          <p14:tracePt t="66340" x="8885238" y="1465263"/>
          <p14:tracePt t="66343" x="8877300" y="1452563"/>
          <p14:tracePt t="66344" x="8869363" y="1441450"/>
          <p14:tracePt t="66345" x="8869363" y="1436688"/>
          <p14:tracePt t="66346" x="8864600" y="1428750"/>
          <p14:tracePt t="66347" x="8861425" y="1425575"/>
          <p14:tracePt t="66348" x="8856663" y="1417638"/>
          <p14:tracePt t="66349" x="8853488" y="1412875"/>
          <p14:tracePt t="66350" x="8853488" y="1404938"/>
          <p14:tracePt t="66351" x="8848725" y="1397000"/>
          <p14:tracePt t="66352" x="8843963" y="1393825"/>
          <p14:tracePt t="66353" x="8843963" y="1389063"/>
          <p14:tracePt t="66354" x="8840788" y="1385888"/>
          <p14:tracePt t="66355" x="8836025" y="1377950"/>
          <p14:tracePt t="66356" x="8836025" y="1373188"/>
          <p14:tracePt t="66357" x="8832850" y="1365250"/>
          <p14:tracePt t="66359" x="8828088" y="1357313"/>
          <p14:tracePt t="66360" x="8828088" y="1349375"/>
          <p14:tracePt t="66361" x="8824913" y="1349375"/>
          <p14:tracePt t="66362" x="8824913" y="1344613"/>
          <p14:tracePt t="66363" x="8824913" y="1336675"/>
          <p14:tracePt t="66364" x="8820150" y="1333500"/>
          <p14:tracePt t="66365" x="8820150" y="1328738"/>
          <p14:tracePt t="66366" x="8816975" y="1320800"/>
          <p14:tracePt t="66367" x="8816975" y="1317625"/>
          <p14:tracePt t="66368" x="8816975" y="1312863"/>
          <p14:tracePt t="66369" x="8812213" y="1309688"/>
          <p14:tracePt t="66370" x="8812213" y="1301750"/>
          <p14:tracePt t="66371" x="8812213" y="1296988"/>
          <p14:tracePt t="66373" x="8809038" y="1293813"/>
          <p14:tracePt t="66375" x="8809038" y="1289050"/>
          <p14:tracePt t="66376" x="8809038" y="1285875"/>
          <p14:tracePt t="66377" x="8804275" y="1276350"/>
          <p14:tracePt t="66377" x="8804275" y="1273175"/>
          <p14:tracePt t="66378" x="8801100" y="1268413"/>
          <p14:tracePt t="66379" x="8801100" y="1265238"/>
          <p14:tracePt t="66380" x="8796338" y="1257300"/>
          <p14:tracePt t="66381" x="8796338" y="1252538"/>
          <p14:tracePt t="66382" x="8793163" y="1249363"/>
          <p14:tracePt t="66384" x="8793163" y="1244600"/>
          <p14:tracePt t="66385" x="8793163" y="1241425"/>
          <p14:tracePt t="66386" x="8788400" y="1233488"/>
          <p14:tracePt t="66387" x="8788400" y="1228725"/>
          <p14:tracePt t="66388" x="8788400" y="1225550"/>
          <p14:tracePt t="66390" x="8785225" y="1225550"/>
          <p14:tracePt t="66391" x="8785225" y="1220788"/>
          <p14:tracePt t="66392" x="8780463" y="1217613"/>
          <p14:tracePt t="66393" x="8780463" y="1212850"/>
          <p14:tracePt t="66394" x="8780463" y="1209675"/>
          <p14:tracePt t="66395" x="8780463" y="1204913"/>
          <p14:tracePt t="66396" x="8780463" y="1201738"/>
          <p14:tracePt t="66397" x="8777288" y="1196975"/>
          <p14:tracePt t="66399" x="8777288" y="1193800"/>
          <p14:tracePt t="66400" x="8777288" y="1189038"/>
          <p14:tracePt t="66401" x="8777288" y="1184275"/>
          <p14:tracePt t="66404" x="8777288" y="1181100"/>
          <p14:tracePt t="66406" x="8777288" y="1176338"/>
          <p14:tracePt t="66407" x="8772525" y="1176338"/>
          <p14:tracePt t="66407" x="8772525" y="1173163"/>
          <p14:tracePt t="66409" x="8772525" y="1168400"/>
          <p14:tracePt t="66410" x="8772525" y="1165225"/>
          <p14:tracePt t="66411" x="8772525" y="1160463"/>
          <p14:tracePt t="66412" x="8772525" y="1157288"/>
          <p14:tracePt t="66414" x="8772525" y="1152525"/>
          <p14:tracePt t="66416" x="8772525" y="1149350"/>
          <p14:tracePt t="66417" x="8772525" y="1144588"/>
          <p14:tracePt t="66420" x="8772525" y="1141413"/>
          <p14:tracePt t="66423" x="8772525" y="1136650"/>
          <p14:tracePt t="66424" x="8772525" y="1133475"/>
          <p14:tracePt t="66426" x="8772525" y="1128713"/>
          <p14:tracePt t="66429" x="8772525" y="1125538"/>
          <p14:tracePt t="66430" x="8772525" y="1120775"/>
          <p14:tracePt t="66432" x="8772525" y="1117600"/>
          <p14:tracePt t="66435" x="8772525" y="1112838"/>
          <p14:tracePt t="66437" x="8772525" y="1109663"/>
          <p14:tracePt t="66440" x="8772525" y="1104900"/>
          <p14:tracePt t="66449" x="8769350" y="1104900"/>
          <p14:tracePt t="66508" x="8764588" y="1104900"/>
          <p14:tracePt t="66514" x="8761413" y="1112838"/>
          <p14:tracePt t="66516" x="8761413" y="1117600"/>
          <p14:tracePt t="66517" x="8756650" y="1120775"/>
          <p14:tracePt t="66518" x="8756650" y="1125538"/>
          <p14:tracePt t="66519" x="8751888" y="1128713"/>
          <p14:tracePt t="66520" x="8748713" y="1133475"/>
          <p14:tracePt t="66522" x="8743950" y="1136650"/>
          <p14:tracePt t="66523" x="8740775" y="1144588"/>
          <p14:tracePt t="66525" x="8736013" y="1149350"/>
          <p14:tracePt t="66525" x="8732838" y="1152525"/>
          <p14:tracePt t="66527" x="8728075" y="1160463"/>
          <p14:tracePt t="66527" x="8724900" y="1173163"/>
          <p14:tracePt t="66528" x="8720138" y="1173163"/>
          <p14:tracePt t="66529" x="8716963" y="1181100"/>
          <p14:tracePt t="66531" x="8712200" y="1193800"/>
          <p14:tracePt t="66531" x="8709025" y="1201738"/>
          <p14:tracePt t="66532" x="8704263" y="1209675"/>
          <p14:tracePt t="66533" x="8696325" y="1212850"/>
          <p14:tracePt t="66534" x="8693150" y="1220788"/>
          <p14:tracePt t="66535" x="8688388" y="1228725"/>
          <p14:tracePt t="66537" x="8677275" y="1244600"/>
          <p14:tracePt t="66537" x="8672513" y="1252538"/>
          <p14:tracePt t="66539" x="8667750" y="1260475"/>
          <p14:tracePt t="66540" x="8664575" y="1273175"/>
          <p14:tracePt t="66541" x="8656638" y="1281113"/>
          <p14:tracePt t="66542" x="8648700" y="1289050"/>
          <p14:tracePt t="66545" x="8628063" y="1317625"/>
          <p14:tracePt t="66546" x="8624888" y="1325563"/>
          <p14:tracePt t="66546" x="8612188" y="1341438"/>
          <p14:tracePt t="66547" x="8609013" y="1349375"/>
          <p14:tracePt t="66548" x="8601075" y="1352550"/>
          <p14:tracePt t="66549" x="8596313" y="1360488"/>
          <p14:tracePt t="66550" x="8588375" y="1368425"/>
          <p14:tracePt t="66551" x="8585200" y="1373188"/>
          <p14:tracePt t="66552" x="8575675" y="1385888"/>
          <p14:tracePt t="66553" x="8572500" y="1389063"/>
          <p14:tracePt t="66554" x="8564563" y="1397000"/>
          <p14:tracePt t="66555" x="8559800" y="1401763"/>
          <p14:tracePt t="66556" x="8551863" y="1412875"/>
          <p14:tracePt t="66557" x="8543925" y="1420813"/>
          <p14:tracePt t="66559" x="8528050" y="1433513"/>
          <p14:tracePt t="66561" x="8520113" y="1436688"/>
          <p14:tracePt t="66561" x="8512175" y="1444625"/>
          <p14:tracePt t="66562" x="8504238" y="1449388"/>
          <p14:tracePt t="66563" x="8501063" y="1452563"/>
          <p14:tracePt t="66564" x="8493125" y="1457325"/>
          <p14:tracePt t="66565" x="8483600" y="1460500"/>
          <p14:tracePt t="66566" x="8472488" y="1473200"/>
          <p14:tracePt t="66567" x="8467725" y="1473200"/>
          <p14:tracePt t="66568" x="8459788" y="1477963"/>
          <p14:tracePt t="66569" x="8456613" y="1477963"/>
          <p14:tracePt t="66570" x="8448675" y="1481138"/>
          <p14:tracePt t="66571" x="8440738" y="1489075"/>
          <p14:tracePt t="66573" x="8432800" y="1493838"/>
          <p14:tracePt t="66574" x="8428038" y="1497013"/>
          <p14:tracePt t="66574" x="8420100" y="1497013"/>
          <p14:tracePt t="66577" x="8404225" y="1504950"/>
          <p14:tracePt t="66580" x="8383588" y="1509713"/>
          <p14:tracePt t="66580" x="8375650" y="1512888"/>
          <p14:tracePt t="66582" x="8367713" y="1517650"/>
          <p14:tracePt t="66582" x="8356600" y="1517650"/>
          <p14:tracePt t="66583" x="8348663" y="1517650"/>
          <p14:tracePt t="66584" x="8348663" y="1520825"/>
          <p14:tracePt t="66585" x="8340725" y="1520825"/>
          <p14:tracePt t="66586" x="8328025" y="1525588"/>
          <p14:tracePt t="66587" x="8320088" y="1525588"/>
          <p14:tracePt t="66588" x="8312150" y="1528763"/>
          <p14:tracePt t="66590" x="8304213" y="1528763"/>
          <p14:tracePt t="66590" x="8299450" y="1528763"/>
          <p14:tracePt t="66594" x="8275638" y="1533525"/>
          <p14:tracePt t="66594" x="8267700" y="1533525"/>
          <p14:tracePt t="66595" x="8259763" y="1536700"/>
          <p14:tracePt t="66596" x="8251825" y="1536700"/>
          <p14:tracePt t="66597" x="8243888" y="1536700"/>
          <p14:tracePt t="66598" x="8235950" y="1536700"/>
          <p14:tracePt t="66599" x="8228013" y="1536700"/>
          <p14:tracePt t="66601" x="8220075" y="1536700"/>
          <p14:tracePt t="66601" x="8215313" y="1536700"/>
          <p14:tracePt t="66602" x="8204200" y="1536700"/>
          <p14:tracePt t="66603" x="8199438" y="1536700"/>
          <p14:tracePt t="66604" x="8191500" y="1536700"/>
          <p14:tracePt t="66605" x="8183563" y="1536700"/>
          <p14:tracePt t="66606" x="8167688" y="1536700"/>
          <p14:tracePt t="66608" x="8159750" y="1536700"/>
          <p14:tracePt t="66609" x="8151813" y="1536700"/>
          <p14:tracePt t="66609" x="8143875" y="1536700"/>
          <p14:tracePt t="66611" x="8135938" y="1536700"/>
          <p14:tracePt t="66611" x="8128000" y="1536700"/>
          <p14:tracePt t="66612" x="8120063" y="1536700"/>
          <p14:tracePt t="66613" x="8112125" y="1536700"/>
          <p14:tracePt t="66614" x="8104188" y="1536700"/>
          <p14:tracePt t="66615" x="8088313" y="1536700"/>
          <p14:tracePt t="66616" x="8075613" y="1533525"/>
          <p14:tracePt t="66617" x="8067675" y="1528763"/>
          <p14:tracePt t="66618" x="8059738" y="1528763"/>
          <p14:tracePt t="66619" x="8048625" y="1525588"/>
          <p14:tracePt t="66620" x="8040688" y="1525588"/>
          <p14:tracePt t="66621" x="8031163" y="1525588"/>
          <p14:tracePt t="66623" x="8012113" y="1512888"/>
          <p14:tracePt t="66624" x="7996238" y="1509713"/>
          <p14:tracePt t="66625" x="7988300" y="1509713"/>
          <p14:tracePt t="66626" x="7975600" y="1504950"/>
          <p14:tracePt t="66627" x="7964488" y="1501775"/>
          <p14:tracePt t="66628" x="7951788" y="1501775"/>
          <p14:tracePt t="66629" x="7943850" y="1497013"/>
          <p14:tracePt t="66630" x="7935913" y="1493838"/>
          <p14:tracePt t="66631" x="7920038" y="1485900"/>
          <p14:tracePt t="66632" x="7907338" y="1481138"/>
          <p14:tracePt t="66633" x="7899400" y="1481138"/>
          <p14:tracePt t="66634" x="7888288" y="1477963"/>
          <p14:tracePt t="66635" x="7875588" y="1473200"/>
          <p14:tracePt t="66636" x="7859713" y="1470025"/>
          <p14:tracePt t="66637" x="7851775" y="1465263"/>
          <p14:tracePt t="66638" x="7843838" y="1460500"/>
          <p14:tracePt t="66640" x="7835900" y="1457325"/>
          <p14:tracePt t="66640" x="7820025" y="1457325"/>
          <p14:tracePt t="66642" x="7812088" y="1452563"/>
          <p14:tracePt t="66642" x="7799388" y="1444625"/>
          <p14:tracePt t="66643" x="7788275" y="1441450"/>
          <p14:tracePt t="66644" x="7780338" y="1436688"/>
          <p14:tracePt t="66645" x="7772400" y="1436688"/>
          <p14:tracePt t="66646" x="7762875" y="1433513"/>
          <p14:tracePt t="66647" x="7754938" y="1428750"/>
          <p14:tracePt t="66648" x="7747000" y="1428750"/>
          <p14:tracePt t="66649" x="7739063" y="1425575"/>
          <p14:tracePt t="66650" x="7727950" y="1420813"/>
          <p14:tracePt t="66652" x="7720013" y="1417638"/>
          <p14:tracePt t="66653" x="7707313" y="1412875"/>
          <p14:tracePt t="66655" x="7704138" y="1412875"/>
          <p14:tracePt t="66656" x="7704138" y="1409700"/>
          <p14:tracePt t="66657" x="7696200" y="1409700"/>
          <p14:tracePt t="66657" x="7691438" y="1404938"/>
          <p14:tracePt t="66659" x="7688263" y="1404938"/>
          <p14:tracePt t="66660" x="7680325" y="1401763"/>
          <p14:tracePt t="66661" x="7675563" y="1401763"/>
          <p14:tracePt t="66661" x="7670800" y="1397000"/>
          <p14:tracePt t="66662" x="7667625" y="1397000"/>
          <p14:tracePt t="66664" x="7662863" y="1393825"/>
          <p14:tracePt t="66665" x="7659688" y="1393825"/>
          <p14:tracePt t="66667" x="7654925" y="1393825"/>
          <p14:tracePt t="66669" x="7654925" y="1389063"/>
          <p14:tracePt t="66671" x="7651750" y="1389063"/>
          <p14:tracePt t="66675" x="7651750" y="1385888"/>
          <p14:tracePt t="66688" x="7646988" y="1385888"/>
          <p14:tracePt t="66747" x="7646988" y="1389063"/>
          <p14:tracePt t="66753" x="7646988" y="1393825"/>
          <p14:tracePt t="66755" x="7646988" y="1397000"/>
          <p14:tracePt t="66758" x="7646988" y="1401763"/>
          <p14:tracePt t="66760" x="7646988" y="1404938"/>
          <p14:tracePt t="66762" x="7646988" y="1409700"/>
          <p14:tracePt t="66763" x="7646988" y="1412875"/>
          <p14:tracePt t="66766" x="7651750" y="1412875"/>
          <p14:tracePt t="66767" x="7651750" y="1417638"/>
          <p14:tracePt t="66768" x="7651750" y="1420813"/>
          <p14:tracePt t="66769" x="7651750" y="1425575"/>
          <p14:tracePt t="66771" x="7654925" y="1428750"/>
          <p14:tracePt t="66772" x="7654925" y="1433513"/>
          <p14:tracePt t="66773" x="7654925" y="1441450"/>
          <p14:tracePt t="66775" x="7659688" y="1441450"/>
          <p14:tracePt t="66776" x="7659688" y="1444625"/>
          <p14:tracePt t="66778" x="7659688" y="1452563"/>
          <p14:tracePt t="66779" x="7662863" y="1452563"/>
          <p14:tracePt t="66780" x="7662863" y="1457325"/>
          <p14:tracePt t="66781" x="7667625" y="1457325"/>
          <p14:tracePt t="66782" x="7667625" y="1460500"/>
          <p14:tracePt t="66783" x="7667625" y="1465263"/>
          <p14:tracePt t="66784" x="7670800" y="1465263"/>
          <p14:tracePt t="66786" x="7670800" y="1470025"/>
          <p14:tracePt t="66787" x="7675563" y="1473200"/>
          <p14:tracePt t="66790" x="7675563" y="1477963"/>
          <p14:tracePt t="66792" x="7675563" y="1481138"/>
          <p14:tracePt t="66795" x="7675563" y="1485900"/>
          <p14:tracePt t="66797" x="7680325" y="1489075"/>
          <p14:tracePt t="66800" x="7683500" y="1489075"/>
          <p14:tracePt t="66801" x="7683500" y="1493838"/>
          <p14:tracePt t="66808" x="7688263" y="1493838"/>
          <p14:tracePt t="66918" x="7688263" y="1497013"/>
          <p14:tracePt t="66922" x="7688263" y="1501775"/>
          <p14:tracePt t="66925" x="7688263" y="1504950"/>
          <p14:tracePt t="66927" x="7688263" y="1509713"/>
          <p14:tracePt t="66929" x="7688263" y="1512888"/>
          <p14:tracePt t="66930" x="7688263" y="1517650"/>
          <p14:tracePt t="66932" x="7688263" y="1520825"/>
          <p14:tracePt t="66934" x="7688263" y="1525588"/>
          <p14:tracePt t="66936" x="7688263" y="1533525"/>
          <p14:tracePt t="66939" x="7688263" y="1536700"/>
          <p14:tracePt t="66941" x="7688263" y="1541463"/>
          <p14:tracePt t="66943" x="7688263" y="1544638"/>
          <p14:tracePt t="66944" x="7688263" y="1549400"/>
          <p14:tracePt t="66945" x="7688263" y="1552575"/>
          <p14:tracePt t="66947" x="7688263" y="1557338"/>
          <p14:tracePt t="66949" x="7688263" y="1565275"/>
          <p14:tracePt t="66951" x="7688263" y="1570038"/>
          <p14:tracePt t="66953" x="7688263" y="1573213"/>
          <p14:tracePt t="66954" x="7688263" y="1577975"/>
          <p14:tracePt t="66954" x="7688263" y="1581150"/>
          <p14:tracePt t="66956" x="7688263" y="1585913"/>
          <p14:tracePt t="66957" x="7688263" y="1589088"/>
          <p14:tracePt t="66958" x="7688263" y="1593850"/>
          <p14:tracePt t="66959" x="7688263" y="1597025"/>
          <p14:tracePt t="66960" x="7688263" y="1601788"/>
          <p14:tracePt t="66961" x="7688263" y="1604963"/>
          <p14:tracePt t="66962" x="7688263" y="1609725"/>
          <p14:tracePt t="66963" x="7688263" y="1612900"/>
          <p14:tracePt t="66965" x="7688263" y="1617663"/>
          <p14:tracePt t="66966" x="7688263" y="1620838"/>
          <p14:tracePt t="66967" x="7688263" y="1625600"/>
          <p14:tracePt t="66969" x="7688263" y="1636713"/>
          <p14:tracePt t="66969" x="7688263" y="1641475"/>
          <p14:tracePt t="66971" x="7688263" y="1644650"/>
          <p14:tracePt t="66971" x="7688263" y="1649413"/>
          <p14:tracePt t="66973" x="7688263" y="1662113"/>
          <p14:tracePt t="66974" x="7688263" y="1665288"/>
          <p14:tracePt t="66977" x="7688263" y="1673225"/>
          <p14:tracePt t="66978" x="7688263" y="1677988"/>
          <p14:tracePt t="66978" x="7688263" y="1685925"/>
          <p14:tracePt t="66979" x="7688263" y="1689100"/>
          <p14:tracePt t="66980" x="7688263" y="1697038"/>
          <p14:tracePt t="66981" x="7688263" y="1701800"/>
          <p14:tracePt t="66983" x="7688263" y="1709738"/>
          <p14:tracePt t="66983" x="7688263" y="1712913"/>
          <p14:tracePt t="66984" x="7688263" y="1720850"/>
          <p14:tracePt t="66985" x="7688263" y="1728788"/>
          <p14:tracePt t="66986" x="7688263" y="1733550"/>
          <p14:tracePt t="66987" x="7688263" y="1741488"/>
          <p14:tracePt t="66988" x="7688263" y="1749425"/>
          <p14:tracePt t="66990" x="7688263" y="1754188"/>
          <p14:tracePt t="66990" x="7688263" y="1762125"/>
          <p14:tracePt t="66991" x="7688263" y="1765300"/>
          <p14:tracePt t="66993" x="7688263" y="1770063"/>
          <p14:tracePt t="66994" x="7688263" y="1781175"/>
          <p14:tracePt t="66995" x="7688263" y="1789113"/>
          <p14:tracePt t="66995" x="7688263" y="1797050"/>
          <p14:tracePt t="66997" x="7688263" y="1801813"/>
          <p14:tracePt t="66999" x="7688263" y="1820863"/>
          <p14:tracePt t="66999" x="7688263" y="1830388"/>
          <p14:tracePt t="67000" x="7691438" y="1838325"/>
          <p14:tracePt t="67001" x="7691438" y="1841500"/>
          <p14:tracePt t="67002" x="7691438" y="1849438"/>
          <p14:tracePt t="67003" x="7691438" y="1857375"/>
          <p14:tracePt t="67004" x="7691438" y="1865313"/>
          <p14:tracePt t="67005" x="7691438" y="1873250"/>
          <p14:tracePt t="67007" x="7691438" y="1881188"/>
          <p14:tracePt t="67008" x="7696200" y="1889125"/>
          <p14:tracePt t="67008" x="7696200" y="1897063"/>
          <p14:tracePt t="67010" x="7696200" y="1905000"/>
          <p14:tracePt t="67010" x="7699375" y="1917700"/>
          <p14:tracePt t="67012" x="7699375" y="1925638"/>
          <p14:tracePt t="67012" x="7699375" y="1930400"/>
          <p14:tracePt t="67013" x="7699375" y="1933575"/>
          <p14:tracePt t="67015" x="7704138" y="1949450"/>
          <p14:tracePt t="67015" x="7704138" y="1957388"/>
          <p14:tracePt t="67016" x="7707313" y="1965325"/>
          <p14:tracePt t="67017" x="7707313" y="1973263"/>
          <p14:tracePt t="67018" x="7707313" y="1978025"/>
          <p14:tracePt t="67019" x="7707313" y="1989138"/>
          <p14:tracePt t="67020" x="7712075" y="1997075"/>
          <p14:tracePt t="67021" x="7712075" y="2009775"/>
          <p14:tracePt t="67023" x="7712075" y="2017713"/>
          <p14:tracePt t="67024" x="7712075" y="2025650"/>
          <p14:tracePt t="67025" x="7715250" y="2033588"/>
          <p14:tracePt t="67025" x="7715250" y="2041525"/>
          <p14:tracePt t="67026" x="7715250" y="2049463"/>
          <p14:tracePt t="67027" x="7720013" y="2057400"/>
          <p14:tracePt t="67028" x="7727950" y="2065338"/>
          <p14:tracePt t="67029" x="7727950" y="2081213"/>
          <p14:tracePt t="67030" x="7731125" y="2089150"/>
          <p14:tracePt t="67031" x="7731125" y="2097088"/>
          <p14:tracePt t="67032" x="7735888" y="2106613"/>
          <p14:tracePt t="67033" x="7735888" y="2114550"/>
          <p14:tracePt t="67034" x="7739063" y="2122488"/>
          <p14:tracePt t="67035" x="7739063" y="2138363"/>
          <p14:tracePt t="67036" x="7743825" y="2146300"/>
          <p14:tracePt t="67037" x="7743825" y="2154238"/>
          <p14:tracePt t="67038" x="7747000" y="2162175"/>
          <p14:tracePt t="67040" x="7751763" y="2178050"/>
          <p14:tracePt t="67040" x="7754938" y="2185988"/>
          <p14:tracePt t="67042" x="7754938" y="2193925"/>
          <p14:tracePt t="67042" x="7759700" y="2201863"/>
          <p14:tracePt t="67043" x="7762875" y="2209800"/>
          <p14:tracePt t="67045" x="7775575" y="2233613"/>
          <p14:tracePt t="67046" x="7780338" y="2241550"/>
          <p14:tracePt t="67047" x="7783513" y="2249488"/>
          <p14:tracePt t="67048" x="7783513" y="2257425"/>
          <p14:tracePt t="67049" x="7791450" y="2273300"/>
          <p14:tracePt t="67050" x="7796213" y="2281238"/>
          <p14:tracePt t="67051" x="7799388" y="2290763"/>
          <p14:tracePt t="67052" x="7799388" y="2298700"/>
          <p14:tracePt t="67053" x="7807325" y="2309813"/>
          <p14:tracePt t="67054" x="7812088" y="2322513"/>
          <p14:tracePt t="67055" x="7815263" y="2330450"/>
          <p14:tracePt t="67056" x="7820025" y="2346325"/>
          <p14:tracePt t="67057" x="7823200" y="2354263"/>
          <p14:tracePt t="67059" x="7827963" y="2362200"/>
          <p14:tracePt t="67060" x="7831138" y="2370138"/>
          <p14:tracePt t="67061" x="7835900" y="2382838"/>
          <p14:tracePt t="67061" x="7839075" y="2390775"/>
          <p14:tracePt t="67062" x="7847013" y="2398713"/>
          <p14:tracePt t="67063" x="7851775" y="2409825"/>
          <p14:tracePt t="67064" x="7859713" y="2425700"/>
          <p14:tracePt t="67065" x="7864475" y="2433638"/>
          <p14:tracePt t="67066" x="7864475" y="2441575"/>
          <p14:tracePt t="67067" x="7875588" y="2457450"/>
          <p14:tracePt t="67068" x="7880350" y="2465388"/>
          <p14:tracePt t="67069" x="7883525" y="2474913"/>
          <p14:tracePt t="67070" x="7891463" y="2490788"/>
          <p14:tracePt t="67071" x="7896225" y="2501900"/>
          <p14:tracePt t="67073" x="7907338" y="2525713"/>
          <p14:tracePt t="67074" x="7915275" y="2541588"/>
          <p14:tracePt t="67077" x="7927975" y="2562225"/>
          <p14:tracePt t="67079" x="7939088" y="2586038"/>
          <p14:tracePt t="67079" x="7948613" y="2601913"/>
          <p14:tracePt t="67080" x="7956550" y="2609850"/>
          <p14:tracePt t="67081" x="7964488" y="2617788"/>
          <p14:tracePt t="67082" x="7967663" y="2633663"/>
          <p14:tracePt t="67083" x="7972425" y="2641600"/>
          <p14:tracePt t="67084" x="7980363" y="2654300"/>
          <p14:tracePt t="67085" x="7983538" y="2667000"/>
          <p14:tracePt t="67086" x="7988300" y="2674938"/>
          <p14:tracePt t="67087" x="7991475" y="2682875"/>
          <p14:tracePt t="67088" x="8004175" y="2698750"/>
          <p14:tracePt t="67090" x="8012113" y="2706688"/>
          <p14:tracePt t="67090" x="8015288" y="2717800"/>
          <p14:tracePt t="67092" x="8031163" y="2738438"/>
          <p14:tracePt t="67094" x="8035925" y="2746375"/>
          <p14:tracePt t="67095" x="8043863" y="2762250"/>
          <p14:tracePt t="67095" x="8051800" y="2770188"/>
          <p14:tracePt t="67096" x="8059738" y="2782888"/>
          <p14:tracePt t="67097" x="8067675" y="2794000"/>
          <p14:tracePt t="67098" x="8072438" y="2801938"/>
          <p14:tracePt t="67099" x="8083550" y="2822575"/>
          <p14:tracePt t="67100" x="8088313" y="2830513"/>
          <p14:tracePt t="67101" x="8096250" y="2838450"/>
          <p14:tracePt t="67102" x="8099425" y="2854325"/>
          <p14:tracePt t="67103" x="8107363" y="2862263"/>
          <p14:tracePt t="67104" x="8120063" y="2882900"/>
          <p14:tracePt t="67106" x="8128000" y="2894013"/>
          <p14:tracePt t="67107" x="8132763" y="2906713"/>
          <p14:tracePt t="67108" x="8143875" y="2922588"/>
          <p14:tracePt t="67109" x="8159750" y="2946400"/>
          <p14:tracePt t="67111" x="8175625" y="2967038"/>
          <p14:tracePt t="67112" x="8188325" y="2978150"/>
          <p14:tracePt t="67112" x="8196263" y="2994025"/>
          <p14:tracePt t="67113" x="8212138" y="3009900"/>
          <p14:tracePt t="67114" x="8228013" y="3030538"/>
          <p14:tracePt t="67115" x="8235950" y="3046413"/>
          <p14:tracePt t="67116" x="8251825" y="3067050"/>
          <p14:tracePt t="67117" x="8267700" y="3082925"/>
          <p14:tracePt t="67118" x="8275638" y="3094038"/>
          <p14:tracePt t="67119" x="8291513" y="3119438"/>
          <p14:tracePt t="67120" x="8320088" y="3146425"/>
          <p14:tracePt t="67121" x="8332788" y="3162300"/>
          <p14:tracePt t="67123" x="8372475" y="3206750"/>
          <p14:tracePt t="67125" x="8404225" y="3238500"/>
          <p14:tracePt t="67127" x="8443913" y="3286125"/>
          <p14:tracePt t="67128" x="8467725" y="3306763"/>
          <p14:tracePt t="67129" x="8493125" y="3330575"/>
          <p14:tracePt t="67130" x="8512175" y="3354388"/>
          <p14:tracePt t="67130" x="8551863" y="3395663"/>
          <p14:tracePt t="67131" x="8575675" y="3419475"/>
          <p14:tracePt t="67132" x="8609013" y="3451225"/>
          <p14:tracePt t="67133" x="8632825" y="3479800"/>
          <p14:tracePt t="67134" x="8672513" y="3519488"/>
          <p14:tracePt t="67135" x="8704263" y="3551238"/>
          <p14:tracePt t="67136" x="8736013" y="3575050"/>
          <p14:tracePt t="67137" x="8764588" y="3606800"/>
          <p14:tracePt t="67138" x="8796338" y="3638550"/>
          <p14:tracePt t="67140" x="8836025" y="3671888"/>
          <p14:tracePt t="67140" x="8885238" y="3719513"/>
          <p14:tracePt t="67142" x="8916988" y="3751263"/>
          <p14:tracePt t="67144" x="8988425" y="3814763"/>
          <p14:tracePt t="67144" x="9045575" y="3863975"/>
          <p14:tracePt t="67145" x="9085263" y="3903663"/>
          <p14:tracePt t="67146" x="9117013" y="3935413"/>
          <p14:tracePt t="67147" x="9153525" y="3967163"/>
          <p14:tracePt t="67148" x="9193213" y="3998913"/>
          <p14:tracePt t="67149" x="9240838" y="4043363"/>
          <p14:tracePt t="67150" x="9296400" y="4083050"/>
          <p14:tracePt t="67151" x="9337675" y="4124325"/>
          <p14:tracePt t="67152" x="9377363" y="4156075"/>
          <p14:tracePt t="67153" x="9413875" y="4187825"/>
          <p14:tracePt t="67154" x="9477375" y="4240213"/>
          <p14:tracePt t="67155" x="9517063" y="4271963"/>
          <p14:tracePt t="67156" x="9556750" y="4295775"/>
          <p14:tracePt t="67157" x="9598025" y="4332288"/>
          <p14:tracePt t="67159" x="9640888" y="4364038"/>
          <p14:tracePt t="67160" x="9737725" y="4435475"/>
          <p14:tracePt t="67161" x="9777413" y="4471988"/>
          <p14:tracePt t="67162" x="9817100" y="4503738"/>
          <p14:tracePt t="67163" x="9853613" y="4535488"/>
          <p14:tracePt t="67164" x="9909175" y="4576763"/>
          <p14:tracePt t="67165" x="9950450" y="4611688"/>
          <p14:tracePt t="67166" x="9990138" y="4635500"/>
          <p14:tracePt t="67167" x="10026650" y="4659313"/>
          <p14:tracePt t="67168" x="10066338" y="4695825"/>
          <p14:tracePt t="67169" x="10098088" y="4719638"/>
          <p14:tracePt t="67171" x="10145713" y="4751388"/>
          <p14:tracePt t="67171" x="10182225" y="4779963"/>
          <p14:tracePt t="67172" x="10213975" y="4808538"/>
          <p14:tracePt t="67173" x="10245725" y="4835525"/>
          <p14:tracePt t="67174" x="10293350" y="4868863"/>
          <p14:tracePt t="67176" x="10353675" y="4911725"/>
          <p14:tracePt t="67177" x="10382250" y="4935538"/>
          <p14:tracePt t="67178" x="10406063" y="4960938"/>
          <p14:tracePt t="67179" x="10437813" y="4976813"/>
          <p14:tracePt t="67180" x="10474325" y="5008563"/>
          <p14:tracePt t="67181" x="10506075" y="5027613"/>
          <p14:tracePt t="67182" x="10529888" y="5045075"/>
          <p14:tracePt t="67183" x="10558463" y="5060950"/>
          <p14:tracePt t="67184" x="10590213" y="5092700"/>
          <p14:tracePt t="67185" x="10610850" y="5108575"/>
          <p14:tracePt t="67186" x="10634663" y="5129213"/>
          <p14:tracePt t="67187" x="10658475" y="5145088"/>
          <p14:tracePt t="67188" x="10679113" y="5153025"/>
          <p14:tracePt t="67190" x="10698163" y="5168900"/>
          <p14:tracePt t="67190" x="10729913" y="5187950"/>
          <p14:tracePt t="67192" x="10766425" y="5221288"/>
          <p14:tracePt t="67194" x="10787063" y="5229225"/>
          <p14:tracePt t="67195" x="10802938" y="5240338"/>
          <p14:tracePt t="67195" x="10829925" y="5260975"/>
          <p14:tracePt t="67196" x="10847388" y="5272088"/>
          <p14:tracePt t="67197" x="10858500" y="5280025"/>
          <p14:tracePt t="67198" x="10874375" y="5295900"/>
          <p14:tracePt t="67199" x="10887075" y="5305425"/>
          <p14:tracePt t="67200" x="10910888" y="5321300"/>
          <p14:tracePt t="67201" x="10918825" y="5332413"/>
          <p14:tracePt t="67202" x="10934700" y="5340350"/>
          <p14:tracePt t="67203" x="10947400" y="5348288"/>
          <p14:tracePt t="67204" x="10955338" y="5353050"/>
          <p14:tracePt t="67205" x="10971213" y="5368925"/>
          <p14:tracePt t="67206" x="10979150" y="5376863"/>
          <p14:tracePt t="67207" x="10995025" y="5387975"/>
          <p14:tracePt t="67209" x="11002963" y="5392738"/>
          <p14:tracePt t="67210" x="11010900" y="5400675"/>
          <p14:tracePt t="67211" x="11026775" y="5413375"/>
          <p14:tracePt t="67211" x="11034713" y="5416550"/>
          <p14:tracePt t="67212" x="11042650" y="5424488"/>
          <p14:tracePt t="67213" x="11055350" y="5429250"/>
          <p14:tracePt t="67214" x="11058525" y="5432425"/>
          <p14:tracePt t="67215" x="11071225" y="5440363"/>
          <p14:tracePt t="67216" x="11074400" y="5445125"/>
          <p14:tracePt t="67217" x="11082338" y="5448300"/>
          <p14:tracePt t="67218" x="11090275" y="5453063"/>
          <p14:tracePt t="67219" x="11095038" y="5456238"/>
          <p14:tracePt t="67220" x="11102975" y="5461000"/>
          <p14:tracePt t="67221" x="11106150" y="5464175"/>
          <p14:tracePt t="67222" x="11110913" y="5468938"/>
          <p14:tracePt t="67224" x="11118850" y="5472113"/>
          <p14:tracePt t="67224" x="11118850" y="5476875"/>
          <p14:tracePt t="67226" x="11123613" y="5476875"/>
          <p14:tracePt t="67227" x="11126788" y="5480050"/>
          <p14:tracePt t="67228" x="11134725" y="5484813"/>
          <p14:tracePt t="67230" x="11139488" y="5484813"/>
          <p14:tracePt t="67231" x="11142663" y="5484813"/>
          <p14:tracePt t="67232" x="11142663" y="5489575"/>
          <p14:tracePt t="67233" x="11147425" y="5489575"/>
          <p14:tracePt t="67236" x="11147425" y="5492750"/>
          <p14:tracePt t="67237" x="11150600" y="5492750"/>
          <p14:tracePt t="67294" x="11150600" y="5489575"/>
          <p14:tracePt t="67312" x="11150600" y="5484813"/>
          <p14:tracePt t="67318" x="11150600" y="5480050"/>
          <p14:tracePt t="67324" x="11150600" y="5476875"/>
          <p14:tracePt t="67329" x="11150600" y="5472113"/>
          <p14:tracePt t="67335" x="11150600" y="5468938"/>
          <p14:tracePt t="67338" x="11150600" y="5464175"/>
          <p14:tracePt t="67342" x="11150600" y="5461000"/>
          <p14:tracePt t="67344" x="11150600" y="5456238"/>
          <p14:tracePt t="67347" x="11150600" y="5453063"/>
          <p14:tracePt t="67349" x="11150600" y="5448300"/>
          <p14:tracePt t="67351" x="11150600" y="5445125"/>
          <p14:tracePt t="67352" x="11147425" y="5445125"/>
          <p14:tracePt t="67355" x="11147425" y="5440363"/>
          <p14:tracePt t="67358" x="11142663" y="5437188"/>
          <p14:tracePt t="67361" x="11139488" y="5429250"/>
          <p14:tracePt t="67363" x="11134725" y="5424488"/>
          <p14:tracePt t="67365" x="11134725" y="5421313"/>
          <p14:tracePt t="67366" x="11131550" y="5421313"/>
          <p14:tracePt t="67367" x="11131550" y="5416550"/>
          <p14:tracePt t="67369" x="11131550" y="5413375"/>
          <p14:tracePt t="67370" x="11126788" y="5413375"/>
          <p14:tracePt t="67371" x="11126788" y="5408613"/>
          <p14:tracePt t="67372" x="11123613" y="5408613"/>
          <p14:tracePt t="67373" x="11123613" y="5405438"/>
          <p14:tracePt t="67378" x="11123613" y="5400675"/>
          <p14:tracePt t="67379" x="11118850" y="5400675"/>
          <p14:tracePt t="67381" x="11115675" y="5397500"/>
          <p14:tracePt t="67383" x="11110913" y="5392738"/>
          <p14:tracePt t="67385" x="11106150" y="5392738"/>
          <p14:tracePt t="67387" x="11106150" y="5387975"/>
          <p14:tracePt t="67389" x="11102975" y="5387975"/>
          <p14:tracePt t="67390" x="11102975" y="5384800"/>
          <p14:tracePt t="67393" x="11098213" y="5380038"/>
          <p14:tracePt t="67399" x="11095038" y="5380038"/>
          <p14:tracePt t="67401" x="11095038" y="5376863"/>
          <p14:tracePt t="67410" x="11090275" y="5376863"/>
          <p14:tracePt t="67442" x="11087100" y="5376863"/>
          <p14:tracePt t="67445" x="11082338" y="5376863"/>
          <p14:tracePt t="67450" x="11079163" y="5380038"/>
          <p14:tracePt t="67455" x="11079163" y="5384800"/>
          <p14:tracePt t="67458" x="11074400" y="5387975"/>
          <p14:tracePt t="67460" x="11071225" y="5392738"/>
          <p14:tracePt t="67462" x="11066463" y="5392738"/>
          <p14:tracePt t="67463" x="11066463" y="5397500"/>
          <p14:tracePt t="67465" x="11063288" y="5397500"/>
          <p14:tracePt t="67466" x="11063288" y="5400675"/>
          <p14:tracePt t="67467" x="11058525" y="5400675"/>
          <p14:tracePt t="67469" x="11055350" y="5400675"/>
          <p14:tracePt t="67470" x="11055350" y="5405438"/>
          <p14:tracePt t="67471" x="11055350" y="5408613"/>
          <p14:tracePt t="67472" x="11050588" y="5408613"/>
          <p14:tracePt t="67474" x="11050588" y="5413375"/>
          <p14:tracePt t="67476" x="11047413" y="5416550"/>
          <p14:tracePt t="67477" x="11047413" y="5421313"/>
          <p14:tracePt t="67478" x="11042650" y="5421313"/>
          <p14:tracePt t="67479" x="11042650" y="5424488"/>
          <p14:tracePt t="67481" x="11039475" y="5429250"/>
          <p14:tracePt t="67482" x="11039475" y="5432425"/>
          <p14:tracePt t="67484" x="11034713" y="5437188"/>
          <p14:tracePt t="67484" x="11031538" y="5440363"/>
          <p14:tracePt t="67486" x="11026775" y="5440363"/>
          <p14:tracePt t="67487" x="11026775" y="5445125"/>
          <p14:tracePt t="67488" x="11023600" y="5445125"/>
          <p14:tracePt t="67490" x="11018838" y="5453063"/>
          <p14:tracePt t="67491" x="11014075" y="5456238"/>
          <p14:tracePt t="67492" x="11010900" y="5461000"/>
          <p14:tracePt t="67493" x="11006138" y="5464175"/>
          <p14:tracePt t="67495" x="11002963" y="5464175"/>
          <p14:tracePt t="67496" x="10998200" y="5468938"/>
          <p14:tracePt t="67497" x="10998200" y="5472113"/>
          <p14:tracePt t="67498" x="10998200" y="5476875"/>
          <p14:tracePt t="67499" x="10995025" y="5480050"/>
          <p14:tracePt t="67499" x="10990263" y="5484813"/>
          <p14:tracePt t="67500" x="10987088" y="5484813"/>
          <p14:tracePt t="67501" x="10987088" y="5489575"/>
          <p14:tracePt t="67502" x="10982325" y="5492750"/>
          <p14:tracePt t="67503" x="10979150" y="5497513"/>
          <p14:tracePt t="67504" x="10974388" y="5500688"/>
          <p14:tracePt t="67505" x="10971213" y="5505450"/>
          <p14:tracePt t="67507" x="10966450" y="5513388"/>
          <p14:tracePt t="67507" x="10966450" y="5516563"/>
          <p14:tracePt t="67509" x="10958513" y="5524500"/>
          <p14:tracePt t="67510" x="10955338" y="5529263"/>
          <p14:tracePt t="67512" x="10955338" y="5532438"/>
          <p14:tracePt t="67512" x="10950575" y="5540375"/>
          <p14:tracePt t="67514" x="10947400" y="5545138"/>
          <p14:tracePt t="67515" x="10942638" y="5548313"/>
          <p14:tracePt t="67516" x="10942638" y="5553075"/>
          <p14:tracePt t="67517" x="10939463" y="5561013"/>
          <p14:tracePt t="67518" x="10939463" y="5564188"/>
          <p14:tracePt t="67519" x="10934700" y="5568950"/>
          <p14:tracePt t="67520" x="10931525" y="5572125"/>
          <p14:tracePt t="67521" x="10926763" y="5576888"/>
          <p14:tracePt t="67523" x="10922000" y="5589588"/>
          <p14:tracePt t="67525" x="10918825" y="5592763"/>
          <p14:tracePt t="67527" x="10914063" y="5600700"/>
          <p14:tracePt t="67527" x="10910888" y="5605463"/>
          <p14:tracePt t="67528" x="10906125" y="5608638"/>
          <p14:tracePt t="67530" x="10902950" y="5616575"/>
          <p14:tracePt t="67530" x="10902950" y="5621338"/>
          <p14:tracePt t="67531" x="10898188" y="5624513"/>
          <p14:tracePt t="67532" x="10895013" y="5632450"/>
          <p14:tracePt t="67533" x="10895013" y="5637213"/>
          <p14:tracePt t="67534" x="10895013" y="5640388"/>
          <p14:tracePt t="67535" x="10890250" y="5648325"/>
          <p14:tracePt t="67536" x="10887075" y="5653088"/>
          <p14:tracePt t="67537" x="10887075" y="5661025"/>
          <p14:tracePt t="67538" x="10882313" y="5664200"/>
          <p14:tracePt t="67540" x="10879138" y="5668963"/>
          <p14:tracePt t="67540" x="10879138" y="5673725"/>
          <p14:tracePt t="67543" x="10871200" y="5681663"/>
          <p14:tracePt t="67543" x="10871200" y="5684838"/>
          <p14:tracePt t="67545" x="10866438" y="5697538"/>
          <p14:tracePt t="67546" x="10863263" y="5700713"/>
          <p14:tracePt t="67547" x="10858500" y="5705475"/>
          <p14:tracePt t="67548" x="10858500" y="5708650"/>
          <p14:tracePt t="67549" x="10855325" y="5716588"/>
          <p14:tracePt t="67550" x="10850563" y="5721350"/>
          <p14:tracePt t="67551" x="10850563" y="5724525"/>
          <p14:tracePt t="67552" x="10847388" y="5729288"/>
          <p14:tracePt t="67553" x="10842625" y="5732463"/>
          <p14:tracePt t="67555" x="10842625" y="5740400"/>
          <p14:tracePt t="67557" x="10839450" y="5745163"/>
          <p14:tracePt t="67557" x="10839450" y="5748338"/>
          <p14:tracePt t="67559" x="10834688" y="5753100"/>
          <p14:tracePt t="67560" x="10829925" y="5756275"/>
          <p14:tracePt t="67560" x="10829925" y="5761038"/>
          <p14:tracePt t="67561" x="10826750" y="5765800"/>
          <p14:tracePt t="67562" x="10821988" y="5768975"/>
          <p14:tracePt t="67563" x="10821988" y="5773738"/>
          <p14:tracePt t="67564" x="10818813" y="5776913"/>
          <p14:tracePt t="67565" x="10818813" y="5781675"/>
          <p14:tracePt t="67566" x="10814050" y="5781675"/>
          <p14:tracePt t="67567" x="10810875" y="5784850"/>
          <p14:tracePt t="67569" x="10810875" y="5789613"/>
          <p14:tracePt t="67569" x="10806113" y="5792788"/>
          <p14:tracePt t="67570" x="10806113" y="5797550"/>
          <p14:tracePt t="67571" x="10802938" y="5800725"/>
          <p14:tracePt t="67573" x="10798175" y="5808663"/>
          <p14:tracePt t="67576" x="10798175" y="5813425"/>
          <p14:tracePt t="67578" x="10795000" y="5821363"/>
          <p14:tracePt t="67578" x="10790238" y="5821363"/>
          <p14:tracePt t="67580" x="10787063" y="5821363"/>
          <p14:tracePt t="67581" x="10787063" y="5824538"/>
          <p14:tracePt t="67582" x="10782300" y="5829300"/>
          <p14:tracePt t="67584" x="10779125" y="5832475"/>
          <p14:tracePt t="67585" x="10774363" y="5832475"/>
          <p14:tracePt t="67586" x="10774363" y="5837238"/>
          <p14:tracePt t="67587" x="10771188" y="5840413"/>
          <p14:tracePt t="67590" x="10771188" y="5845175"/>
          <p14:tracePt t="67591" x="10766425" y="5845175"/>
          <p14:tracePt t="67593" x="10763250" y="5853113"/>
          <p14:tracePt t="67595" x="10758488" y="5857875"/>
          <p14:tracePt t="67598" x="10758488" y="5861050"/>
          <p14:tracePt t="67601" x="10755313" y="5861050"/>
          <p14:tracePt t="67605" x="10755313" y="5865813"/>
          <p14:tracePt t="67609" x="10750550" y="5865813"/>
          <p14:tracePt t="67609" x="10750550" y="5868988"/>
          <p14:tracePt t="67612" x="10750550" y="5873750"/>
          <p14:tracePt t="67613" x="10745788" y="5873750"/>
          <p14:tracePt t="67619" x="10745788" y="5876925"/>
          <p14:tracePt t="67620" x="10742613" y="5876925"/>
          <p14:tracePt t="67627" x="10742613" y="5881688"/>
          <p14:tracePt t="67631" x="10737850" y="5881688"/>
          <p14:tracePt t="67713" x="10737850" y="5884863"/>
          <p14:tracePt t="67720" x="10734675" y="5889625"/>
          <p14:tracePt t="67723" x="10734675" y="5892800"/>
          <p14:tracePt t="67725" x="10734675" y="5897563"/>
          <p14:tracePt t="67727" x="10729913" y="5900738"/>
          <p14:tracePt t="67733" x="10726738" y="5900738"/>
          <p14:tracePt t="67737" x="10721975" y="5905500"/>
          <p14:tracePt t="67739" x="10721975" y="5908675"/>
          <p14:tracePt t="67743" x="10718800" y="5913438"/>
          <p14:tracePt t="67746" x="10718800" y="5916613"/>
          <p14:tracePt t="67749" x="10718800" y="5921375"/>
          <p14:tracePt t="67752" x="10714038" y="5921375"/>
          <p14:tracePt t="67753" x="10714038" y="5924550"/>
          <p14:tracePt t="67754" x="10710863" y="5924550"/>
          <p14:tracePt t="67756" x="10710863" y="5929313"/>
          <p14:tracePt t="67759" x="10706100" y="5932488"/>
          <p14:tracePt t="67762" x="10702925" y="5932488"/>
          <p14:tracePt t="67764" x="10698163" y="5937250"/>
          <p14:tracePt t="67765" x="10698163" y="5940425"/>
          <p14:tracePt t="67766" x="10694988" y="5940425"/>
          <p14:tracePt t="67769" x="10690225" y="5940425"/>
          <p14:tracePt t="67770" x="10690225" y="5945188"/>
          <p14:tracePt t="67771" x="10687050" y="5945188"/>
          <p14:tracePt t="67773" x="10682288" y="5949950"/>
          <p14:tracePt t="67775" x="10679113" y="5953125"/>
          <p14:tracePt t="67778" x="10679113" y="5957888"/>
          <p14:tracePt t="67779" x="10674350" y="5957888"/>
          <p14:tracePt t="67780" x="10671175" y="5957888"/>
          <p14:tracePt t="67782" x="10666413" y="5961063"/>
          <p14:tracePt t="67783" x="10663238" y="5961063"/>
          <p14:tracePt t="67784" x="10658475" y="5961063"/>
          <p14:tracePt t="67785" x="10658475" y="5965825"/>
          <p14:tracePt t="67786" x="10653713" y="5965825"/>
          <p14:tracePt t="67788" x="10650538" y="5965825"/>
          <p14:tracePt t="67788" x="10645775" y="5969000"/>
          <p14:tracePt t="67791" x="10642600" y="5973763"/>
          <p14:tracePt t="67792" x="10637838" y="5973763"/>
          <p14:tracePt t="67794" x="10637838" y="5976938"/>
          <p14:tracePt t="67794" x="10634663" y="5976938"/>
          <p14:tracePt t="67796" x="10629900" y="5976938"/>
          <p14:tracePt t="67797" x="10626725" y="5981700"/>
          <p14:tracePt t="67797" x="10621963" y="5981700"/>
          <p14:tracePt t="67798" x="10618788" y="5981700"/>
          <p14:tracePt t="67799" x="10614025" y="5981700"/>
          <p14:tracePt t="67802" x="10610850" y="5984875"/>
          <p14:tracePt t="67802" x="10606088" y="5984875"/>
          <p14:tracePt t="67804" x="10602913" y="5989638"/>
          <p14:tracePt t="67804" x="10598150" y="5989638"/>
          <p14:tracePt t="67807" x="10598150" y="5992813"/>
          <p14:tracePt t="67809" x="10590213" y="5997575"/>
          <p14:tracePt t="67810" x="10587038" y="5997575"/>
          <p14:tracePt t="67811" x="10582275" y="5997575"/>
          <p14:tracePt t="67812" x="10579100" y="5997575"/>
          <p14:tracePt t="67813" x="10579100" y="6000750"/>
          <p14:tracePt t="67813" x="10574338" y="6000750"/>
          <p14:tracePt t="67814" x="10571163" y="6005513"/>
          <p14:tracePt t="67815" x="10566400" y="6005513"/>
          <p14:tracePt t="67817" x="10566400" y="6008688"/>
          <p14:tracePt t="67817" x="10561638" y="6008688"/>
          <p14:tracePt t="67818" x="10558463" y="6008688"/>
          <p14:tracePt t="67819" x="10558463" y="6013450"/>
          <p14:tracePt t="67821" x="10553700" y="6013450"/>
          <p14:tracePt t="67822" x="10553700" y="6016625"/>
          <p14:tracePt t="67824" x="10550525" y="6016625"/>
          <p14:tracePt t="67825" x="10542588" y="6016625"/>
          <p14:tracePt t="67827" x="10542588" y="6021388"/>
          <p14:tracePt t="67828" x="10537825" y="6021388"/>
          <p14:tracePt t="67829" x="10534650" y="6021388"/>
          <p14:tracePt t="67829" x="10529888" y="6021388"/>
          <p14:tracePt t="67830" x="10526713" y="6021388"/>
          <p14:tracePt t="67831" x="10521950" y="6021388"/>
          <p14:tracePt t="67834" x="10518775" y="6021388"/>
          <p14:tracePt t="67835" x="10514013" y="6021388"/>
          <p14:tracePt t="67835" x="10514013" y="6024563"/>
          <p14:tracePt t="67837" x="10510838" y="6024563"/>
          <p14:tracePt t="67838" x="10506075" y="6029325"/>
          <p14:tracePt t="67842" x="10498138" y="6029325"/>
          <p14:tracePt t="67843" x="10494963" y="6029325"/>
          <p14:tracePt t="67844" x="10494963" y="6032500"/>
          <p14:tracePt t="67845" x="10490200" y="6032500"/>
          <p14:tracePt t="67845" x="10487025" y="6032500"/>
          <p14:tracePt t="67846" x="10482263" y="6032500"/>
          <p14:tracePt t="67847" x="10479088" y="6037263"/>
          <p14:tracePt t="67848" x="10474325" y="6037263"/>
          <p14:tracePt t="67849" x="10474325" y="6042025"/>
          <p14:tracePt t="67851" x="10469563" y="6042025"/>
          <p14:tracePt t="67854" x="10466388" y="6045200"/>
          <p14:tracePt t="67854" x="10461625" y="6045200"/>
          <p14:tracePt t="67855" x="10458450" y="6045200"/>
          <p14:tracePt t="67858" x="10450513" y="6049963"/>
          <p14:tracePt t="67859" x="10445750" y="6049963"/>
          <p14:tracePt t="67860" x="10442575" y="6049963"/>
          <p14:tracePt t="67861" x="10437813" y="6053138"/>
          <p14:tracePt t="67863" x="10434638" y="6053138"/>
          <p14:tracePt t="67865" x="10429875" y="6053138"/>
          <p14:tracePt t="67867" x="10429875" y="6057900"/>
          <p14:tracePt t="67868" x="10426700" y="6057900"/>
          <p14:tracePt t="67869" x="10421938" y="6061075"/>
          <p14:tracePt t="67871" x="10418763" y="6061075"/>
          <p14:tracePt t="67874" x="10414000" y="6065838"/>
          <p14:tracePt t="67876" x="10410825" y="6065838"/>
          <p14:tracePt t="67876" x="10406063" y="6065838"/>
          <p14:tracePt t="67879" x="10402888" y="6065838"/>
          <p14:tracePt t="67882" x="10398125" y="6065838"/>
          <p14:tracePt t="67884" x="10394950" y="6065838"/>
          <p14:tracePt t="67888" x="10394950" y="6069013"/>
          <p14:tracePt t="67890" x="10390188" y="6069013"/>
          <p14:tracePt t="67893" x="10387013" y="6069013"/>
          <p14:tracePt t="67909" x="10377488" y="6073775"/>
          <p14:tracePt t="67914" x="10374313" y="6076950"/>
          <p14:tracePt t="67921" x="10369550" y="6081713"/>
          <p14:tracePt t="67923" x="10366375" y="6081713"/>
          <p14:tracePt t="67928" x="10361613" y="6081713"/>
          <p14:tracePt t="67930" x="10361613" y="6084888"/>
          <p14:tracePt t="67933" x="10358438" y="6084888"/>
          <p14:tracePt t="67941" x="10353675" y="6089650"/>
          <p14:tracePt t="67956" x="10353675" y="6092825"/>
          <p14:tracePt t="67970" x="10353675" y="6097588"/>
          <p14:tracePt t="67980" x="10353675" y="6100763"/>
          <p14:tracePt t="67986" x="10353675" y="6105525"/>
          <p14:tracePt t="67996" x="10353675" y="6108700"/>
          <p14:tracePt t="68000" x="10353675" y="6113463"/>
          <p14:tracePt t="68003" x="10353675" y="6116638"/>
          <p14:tracePt t="68007" x="10353675" y="6121400"/>
          <p14:tracePt t="68011" x="10350500" y="6121400"/>
          <p14:tracePt t="68012" x="10350500" y="6124575"/>
          <p14:tracePt t="68018" x="10350500" y="6129338"/>
          <p14:tracePt t="68021" x="10350500" y="6134100"/>
          <p14:tracePt t="68024" x="10350500" y="6137275"/>
          <p14:tracePt t="68029" x="10350500" y="6142038"/>
          <p14:tracePt t="68034" x="10350500" y="6145213"/>
          <p14:tracePt t="68048" x="10350500" y="6149975"/>
          <p14:tracePt t="68059" x="10350500" y="6153150"/>
          <p14:tracePt t="68245" x="10350500" y="6157913"/>
          <p14:tracePt t="68247" x="10345738" y="6157913"/>
          <p14:tracePt t="68250" x="10342563" y="6157913"/>
          <p14:tracePt t="68251" x="10342563" y="6161088"/>
          <p14:tracePt t="68259" x="10337800" y="6161088"/>
          <p14:tracePt t="68260" x="10337800" y="6165850"/>
          <p14:tracePt t="68265" x="10337800" y="6169025"/>
          <p14:tracePt t="68269" x="10334625" y="6169025"/>
          <p14:tracePt t="68269" x="10334625" y="6173788"/>
          <p14:tracePt t="68273" x="10334625" y="6176963"/>
          <p14:tracePt t="68275" x="10329863" y="6176963"/>
          <p14:tracePt t="68277" x="10326688" y="6176963"/>
          <p14:tracePt t="68279" x="10326688" y="6181725"/>
          <p14:tracePt t="68280" x="10321925" y="6181725"/>
          <p14:tracePt t="68281" x="10318750" y="6181725"/>
          <p14:tracePt t="68283" x="10318750" y="6184900"/>
          <p14:tracePt t="68284" x="10313988" y="6184900"/>
          <p14:tracePt t="68288" x="10313988" y="6189663"/>
          <p14:tracePt t="68291" x="10310813" y="6189663"/>
          <p14:tracePt t="68293" x="10310813" y="6192838"/>
          <p14:tracePt t="68293" x="10306050" y="6192838"/>
          <p14:tracePt t="68297" x="10302875" y="6192838"/>
          <p14:tracePt t="68299" x="10302875" y="6197600"/>
          <p14:tracePt t="68301" x="10298113" y="6197600"/>
          <p14:tracePt t="68303" x="10293350" y="6200775"/>
          <p14:tracePt t="68307" x="10293350" y="6205538"/>
          <p14:tracePt t="68310" x="10290175" y="6205538"/>
          <p14:tracePt t="68312" x="10285413" y="6208713"/>
          <p14:tracePt t="68315" x="10282238" y="6208713"/>
          <p14:tracePt t="68317" x="10282238" y="6213475"/>
          <p14:tracePt t="68319" x="10277475" y="6213475"/>
          <p14:tracePt t="68322" x="10274300" y="6213475"/>
          <p14:tracePt t="68324" x="10274300" y="6216650"/>
          <p14:tracePt t="68327" x="10269538" y="6216650"/>
          <p14:tracePt t="68330" x="10269538" y="6221413"/>
          <p14:tracePt t="68330" x="10266363" y="6221413"/>
          <p14:tracePt t="68333" x="10261600" y="6221413"/>
          <p14:tracePt t="68333" x="10261600" y="6226175"/>
          <p14:tracePt t="68336" x="10258425" y="6226175"/>
          <p14:tracePt t="68337" x="10253663" y="6226175"/>
          <p14:tracePt t="68340" x="10250488" y="6226175"/>
          <p14:tracePt t="68342" x="10245725" y="6226175"/>
          <p14:tracePt t="68343" x="10245725" y="6229350"/>
          <p14:tracePt t="68343" x="10242550" y="6229350"/>
          <p14:tracePt t="68345" x="10237788" y="6229350"/>
          <p14:tracePt t="68345" x="10237788" y="6234113"/>
          <p14:tracePt t="68346" x="10234613" y="6234113"/>
          <p14:tracePt t="68351" x="10229850" y="6234113"/>
          <p14:tracePt t="68351" x="10226675" y="6237288"/>
          <p14:tracePt t="68355" x="10221913" y="6242050"/>
          <p14:tracePt t="68356" x="10218738" y="6242050"/>
          <p14:tracePt t="68357" x="10213975" y="6242050"/>
          <p14:tracePt t="68359" x="10210800" y="6245225"/>
          <p14:tracePt t="68360" x="10206038" y="6245225"/>
          <p14:tracePt t="68362" x="10201275" y="6249988"/>
          <p14:tracePt t="68362" x="10198100" y="6249988"/>
          <p14:tracePt t="68364" x="10193338" y="6249988"/>
          <p14:tracePt t="68365" x="10190163" y="6253163"/>
          <p14:tracePt t="68370" x="10185400" y="6253163"/>
          <p14:tracePt t="68371" x="10182225" y="6257925"/>
          <p14:tracePt t="68373" x="10177463" y="6257925"/>
          <p14:tracePt t="68374" x="10174288" y="6257925"/>
          <p14:tracePt t="68376" x="10169525" y="6257925"/>
          <p14:tracePt t="68378" x="10169525" y="6261100"/>
          <p14:tracePt t="68380" x="10166350" y="6261100"/>
          <p14:tracePt t="68381" x="10161588" y="6261100"/>
          <p14:tracePt t="68384" x="10161588" y="6265863"/>
          <p14:tracePt t="68384" x="10158413" y="6265863"/>
          <p14:tracePt t="68387" x="10153650" y="6265863"/>
          <p14:tracePt t="68389" x="10150475" y="6265863"/>
          <p14:tracePt t="68393" x="10145713" y="6265863"/>
          <p14:tracePt t="68397" x="10142538" y="6265863"/>
          <p14:tracePt t="68399" x="10137775" y="6265863"/>
          <p14:tracePt t="68402" x="10134600" y="6269038"/>
          <p14:tracePt t="68405" x="10129838" y="6269038"/>
          <p14:tracePt t="68407" x="10126663" y="6269038"/>
          <p14:tracePt t="68410" x="10126663" y="6273800"/>
          <p14:tracePt t="68410" x="10121900" y="6273800"/>
          <p14:tracePt t="68414" x="10118725" y="6273800"/>
          <p14:tracePt t="68417" x="10118725" y="6276975"/>
          <p14:tracePt t="68418" x="10113963" y="6276975"/>
          <p14:tracePt t="68422" x="10109200" y="6276975"/>
          <p14:tracePt t="68422" x="10109200" y="6281738"/>
          <p14:tracePt t="68426" x="10106025" y="6281738"/>
          <p14:tracePt t="68428" x="10106025" y="6284913"/>
          <p14:tracePt t="68429" x="10101263" y="6284913"/>
          <p14:tracePt t="68431" x="10098088" y="6284913"/>
          <p14:tracePt t="68433" x="10098088" y="6289675"/>
          <p14:tracePt t="68434" x="10093325" y="6289675"/>
          <p14:tracePt t="68437" x="10090150" y="6289675"/>
          <p14:tracePt t="68440" x="10090150" y="6292850"/>
          <p14:tracePt t="68441" x="10085388" y="6292850"/>
          <p14:tracePt t="68443" x="10082213" y="6292850"/>
          <p14:tracePt t="68445" x="10077450" y="6297613"/>
          <p14:tracePt t="68447" x="10074275" y="6297613"/>
          <p14:tracePt t="68447" x="10074275" y="6300788"/>
          <p14:tracePt t="68449" x="10069513" y="6300788"/>
          <p14:tracePt t="68452" x="10069513" y="6305550"/>
          <p14:tracePt t="68454" x="10066338" y="6305550"/>
          <p14:tracePt t="68454" x="10061575" y="6305550"/>
          <p14:tracePt t="68456" x="10058400" y="6305550"/>
          <p14:tracePt t="68459" x="10053638" y="6305550"/>
          <p14:tracePt t="68461" x="10050463" y="6310313"/>
          <p14:tracePt t="68462" x="10045700" y="6310313"/>
          <p14:tracePt t="68464" x="10042525" y="6310313"/>
          <p14:tracePt t="68465" x="10042525" y="6313488"/>
          <p14:tracePt t="68466" x="10037763" y="6313488"/>
          <p14:tracePt t="68469" x="10034588" y="6318250"/>
          <p14:tracePt t="68471" x="10029825" y="6318250"/>
          <p14:tracePt t="68475" x="10029825" y="6321425"/>
          <p14:tracePt t="68477" x="10026650" y="6321425"/>
          <p14:tracePt t="68477" x="10026650" y="6326188"/>
          <p14:tracePt t="68478" x="10021888" y="6326188"/>
          <p14:tracePt t="68483" x="10017125" y="6326188"/>
          <p14:tracePt t="68485" x="10013950" y="6329363"/>
          <p14:tracePt t="68487" x="10009188" y="6329363"/>
          <p14:tracePt t="68490" x="10009188" y="6334125"/>
          <p14:tracePt t="68491" x="10006013" y="6334125"/>
          <p14:tracePt t="68494" x="10001250" y="6334125"/>
          <p14:tracePt t="68495" x="10001250" y="6337300"/>
          <p14:tracePt t="68503" x="10001250" y="6342063"/>
          <p14:tracePt t="68504" x="9998075" y="6342063"/>
          <p14:tracePt t="68508" x="9993313" y="6342063"/>
          <p14:tracePt t="68514" x="9990138" y="6342063"/>
          <p14:tracePt t="68529" x="9990138" y="6345238"/>
          <p14:tracePt t="68555" x="9985375" y="6345238"/>
          <p14:tracePt t="68561" x="9982200" y="6345238"/>
          <p14:tracePt t="68564" x="9977438" y="6345238"/>
          <p14:tracePt t="68565" x="9974263" y="6345238"/>
          <p14:tracePt t="68567" x="9969500" y="6345238"/>
          <p14:tracePt t="68570" x="9969500" y="6350000"/>
          <p14:tracePt t="68571" x="9966325" y="6350000"/>
          <p14:tracePt t="68575" x="9961563" y="6350000"/>
          <p14:tracePt t="68578" x="9958388" y="6350000"/>
          <p14:tracePt t="68580" x="9953625" y="6350000"/>
          <p14:tracePt t="68582" x="9950450" y="6350000"/>
          <p14:tracePt t="68588" x="9945688" y="6350000"/>
          <p14:tracePt t="68590" x="9942513" y="6350000"/>
          <p14:tracePt t="68592" x="9937750" y="6350000"/>
          <p14:tracePt t="68593" x="9932988" y="6350000"/>
          <p14:tracePt t="68596" x="9929813" y="6350000"/>
          <p14:tracePt t="68597" x="9925050" y="6350000"/>
          <p14:tracePt t="68601" x="9921875" y="6350000"/>
          <p14:tracePt t="68603" x="9917113" y="6350000"/>
          <p14:tracePt t="68603" x="9913938" y="6350000"/>
          <p14:tracePt t="68605" x="9913938" y="6353175"/>
          <p14:tracePt t="68606" x="9909175" y="6353175"/>
          <p14:tracePt t="68608" x="9906000" y="6353175"/>
          <p14:tracePt t="68612" x="9901238" y="6353175"/>
          <p14:tracePt t="68612" x="9898063" y="6353175"/>
          <p14:tracePt t="68613" x="9893300" y="6353175"/>
          <p14:tracePt t="68615" x="9890125" y="6353175"/>
          <p14:tracePt t="68616" x="9885363" y="6353175"/>
          <p14:tracePt t="68617" x="9882188" y="6353175"/>
          <p14:tracePt t="68618" x="9877425" y="6353175"/>
          <p14:tracePt t="68620" x="9874250" y="6353175"/>
          <p14:tracePt t="68621" x="9869488" y="6357938"/>
          <p14:tracePt t="68622" x="9866313" y="6357938"/>
          <p14:tracePt t="68624" x="9861550" y="6357938"/>
          <p14:tracePt t="68625" x="9858375" y="6357938"/>
          <p14:tracePt t="68626" x="9853613" y="6357938"/>
          <p14:tracePt t="68627" x="9850438" y="6357938"/>
          <p14:tracePt t="68628" x="9845675" y="6357938"/>
          <p14:tracePt t="68629" x="9840913" y="6357938"/>
          <p14:tracePt t="68630" x="9837738" y="6357938"/>
          <p14:tracePt t="68631" x="9832975" y="6357938"/>
          <p14:tracePt t="68632" x="9829800" y="6357938"/>
          <p14:tracePt t="68633" x="9825038" y="6357938"/>
          <p14:tracePt t="68635" x="9821863" y="6361113"/>
          <p14:tracePt t="68636" x="9817100" y="6361113"/>
          <p14:tracePt t="68637" x="9813925" y="6361113"/>
          <p14:tracePt t="68638" x="9809163" y="6361113"/>
          <p14:tracePt t="68640" x="9805988" y="6361113"/>
          <p14:tracePt t="68641" x="9798050" y="6361113"/>
          <p14:tracePt t="68641" x="9793288" y="6361113"/>
          <p14:tracePt t="68642" x="9790113" y="6361113"/>
          <p14:tracePt t="68643" x="9785350" y="6361113"/>
          <p14:tracePt t="68644" x="9777413" y="6365875"/>
          <p14:tracePt t="68645" x="9774238" y="6365875"/>
          <p14:tracePt t="68647" x="9769475" y="6365875"/>
          <p14:tracePt t="68649" x="9761538" y="6365875"/>
          <p14:tracePt t="68650" x="9748838" y="6369050"/>
          <p14:tracePt t="68651" x="9745663" y="6369050"/>
          <p14:tracePt t="68652" x="9737725" y="6369050"/>
          <p14:tracePt t="68653" x="9729788" y="6369050"/>
          <p14:tracePt t="68655" x="9725025" y="6369050"/>
          <p14:tracePt t="68655" x="9717088" y="6369050"/>
          <p14:tracePt t="68656" x="9713913" y="6369050"/>
          <p14:tracePt t="68657" x="9705975" y="6373813"/>
          <p14:tracePt t="68658" x="9698038" y="6373813"/>
          <p14:tracePt t="68659" x="9690100" y="6373813"/>
          <p14:tracePt t="68660" x="9685338" y="6373813"/>
          <p14:tracePt t="68662" x="9677400" y="6373813"/>
          <p14:tracePt t="68662" x="9669463" y="6373813"/>
          <p14:tracePt t="68663" x="9666288" y="6373813"/>
          <p14:tracePt t="68664" x="9656763" y="6376988"/>
          <p14:tracePt t="68665" x="9653588" y="6376988"/>
          <p14:tracePt t="68666" x="9645650" y="6376988"/>
          <p14:tracePt t="68667" x="9637713" y="6376988"/>
          <p14:tracePt t="68668" x="9629775" y="6376988"/>
          <p14:tracePt t="68669" x="9621838" y="6376988"/>
          <p14:tracePt t="68671" x="9617075" y="6376988"/>
          <p14:tracePt t="68671" x="9609138" y="6381750"/>
          <p14:tracePt t="68672" x="9601200" y="6381750"/>
          <p14:tracePt t="68674" x="9593263" y="6381750"/>
          <p14:tracePt t="68674" x="9585325" y="6381750"/>
          <p14:tracePt t="68675" x="9577388" y="6381750"/>
          <p14:tracePt t="68677" x="9569450" y="6384925"/>
          <p14:tracePt t="68678" x="9561513" y="6384925"/>
          <p14:tracePt t="68679" x="9553575" y="6384925"/>
          <p14:tracePt t="68680" x="9545638" y="6384925"/>
          <p14:tracePt t="68681" x="9537700" y="6384925"/>
          <p14:tracePt t="68681" x="9529763" y="6384925"/>
          <p14:tracePt t="68682" x="9513888" y="6392863"/>
          <p14:tracePt t="68683" x="9505950" y="6392863"/>
          <p14:tracePt t="68684" x="9498013" y="6392863"/>
          <p14:tracePt t="68685" x="9490075" y="6392863"/>
          <p14:tracePt t="68688" x="9472613" y="6392863"/>
          <p14:tracePt t="68688" x="9456738" y="6392863"/>
          <p14:tracePt t="68690" x="9448800" y="6392863"/>
          <p14:tracePt t="68691" x="9440863" y="6397625"/>
          <p14:tracePt t="68691" x="9432925" y="6397625"/>
          <p14:tracePt t="68692" x="9421813" y="6397625"/>
          <p14:tracePt t="68694" x="9413875" y="6397625"/>
          <p14:tracePt t="68695" x="9398000" y="6397625"/>
          <p14:tracePt t="68695" x="9388475" y="6397625"/>
          <p14:tracePt t="68696" x="9380538" y="6397625"/>
          <p14:tracePt t="68697" x="9369425" y="6397625"/>
          <p14:tracePt t="68698" x="9361488" y="6397625"/>
          <p14:tracePt t="68700" x="9345613" y="6397625"/>
          <p14:tracePt t="68700" x="9337675" y="6397625"/>
          <p14:tracePt t="68702" x="9329738" y="6402388"/>
          <p14:tracePt t="68702" x="9317038" y="6402388"/>
          <p14:tracePt t="68703" x="9301163" y="6402388"/>
          <p14:tracePt t="68704" x="9293225" y="6402388"/>
          <p14:tracePt t="68705" x="9280525" y="6402388"/>
          <p14:tracePt t="68706" x="9272588" y="6402388"/>
          <p14:tracePt t="68707" x="9256713" y="6402388"/>
          <p14:tracePt t="68708" x="9245600" y="6402388"/>
          <p14:tracePt t="68709" x="9237663" y="6402388"/>
          <p14:tracePt t="68710" x="9229725" y="6402388"/>
          <p14:tracePt t="68711" x="9213850" y="6402388"/>
          <p14:tracePt t="68712" x="9201150" y="6402388"/>
          <p14:tracePt t="68713" x="9193213" y="6405563"/>
          <p14:tracePt t="68714" x="9185275" y="6405563"/>
          <p14:tracePt t="68715" x="9177338" y="6405563"/>
          <p14:tracePt t="68716" x="9169400" y="6405563"/>
          <p14:tracePt t="68717" x="9156700" y="6405563"/>
          <p14:tracePt t="68718" x="9145588" y="6405563"/>
          <p14:tracePt t="68719" x="9137650" y="6405563"/>
          <p14:tracePt t="68720" x="9129713" y="6405563"/>
          <p14:tracePt t="68721" x="9120188" y="6405563"/>
          <p14:tracePt t="68722" x="9104313" y="6410325"/>
          <p14:tracePt t="68723" x="9101138" y="6410325"/>
          <p14:tracePt t="68724" x="9096375" y="6410325"/>
          <p14:tracePt t="68726" x="9093200" y="6410325"/>
          <p14:tracePt t="68727" x="9085263" y="6410325"/>
          <p14:tracePt t="68727" x="9080500" y="6410325"/>
          <p14:tracePt t="68728" x="9072563" y="6410325"/>
          <p14:tracePt t="68729" x="9069388" y="6410325"/>
          <p14:tracePt t="68730" x="9061450" y="6410325"/>
          <p14:tracePt t="68731" x="9056688" y="6413500"/>
          <p14:tracePt t="68733" x="9053513" y="6413500"/>
          <p14:tracePt t="68733" x="9048750" y="6413500"/>
          <p14:tracePt t="68734" x="9045575" y="6413500"/>
          <p14:tracePt t="68735" x="9040813" y="6413500"/>
          <p14:tracePt t="68737" x="9037638" y="6413500"/>
          <p14:tracePt t="68738" x="9032875" y="6413500"/>
          <p14:tracePt t="68740" x="9028113" y="6413500"/>
          <p14:tracePt t="68742" x="9024938" y="6413500"/>
          <p14:tracePt t="68742" x="9020175" y="6418263"/>
          <p14:tracePt t="68745" x="9017000" y="6418263"/>
          <p14:tracePt t="68746" x="9012238" y="6418263"/>
          <p14:tracePt t="68751" x="9009063" y="6418263"/>
          <p14:tracePt t="68754" x="9004300" y="6418263"/>
          <p14:tracePt t="68813" x="9001125" y="6418263"/>
          <p14:tracePt t="68823" x="8996363" y="6418263"/>
          <p14:tracePt t="68826" x="8993188" y="6418263"/>
          <p14:tracePt t="68830" x="8985250" y="6418263"/>
          <p14:tracePt t="68831" x="8980488" y="6418263"/>
          <p14:tracePt t="68834" x="8972550" y="6418263"/>
          <p14:tracePt t="68836" x="8969375" y="6418263"/>
          <p14:tracePt t="68837" x="8964613" y="6418263"/>
          <p14:tracePt t="68839" x="8956675" y="6418263"/>
          <p14:tracePt t="68842" x="8953500" y="6418263"/>
          <p14:tracePt t="68843" x="8948738" y="6418263"/>
          <p14:tracePt t="68845" x="8945563" y="6418263"/>
          <p14:tracePt t="68847" x="8936038" y="6413500"/>
          <p14:tracePt t="68848" x="8932863" y="6413500"/>
          <p14:tracePt t="68850" x="8924925" y="6413500"/>
          <p14:tracePt t="68852" x="8920163" y="6410325"/>
          <p14:tracePt t="68853" x="8916988" y="6410325"/>
          <p14:tracePt t="68855" x="8912225" y="6410325"/>
          <p14:tracePt t="68856" x="8909050" y="6410325"/>
          <p14:tracePt t="68859" x="8893175" y="6405563"/>
          <p14:tracePt t="68861" x="8885238" y="6405563"/>
          <p14:tracePt t="68862" x="8880475" y="6405563"/>
          <p14:tracePt t="68863" x="8877300" y="6405563"/>
          <p14:tracePt t="68864" x="8872538" y="6405563"/>
          <p14:tracePt t="68865" x="8869363" y="6405563"/>
          <p14:tracePt t="68865" x="8864600" y="6402388"/>
          <p14:tracePt t="68867" x="8861425" y="6402388"/>
          <p14:tracePt t="68868" x="8853488" y="6402388"/>
          <p14:tracePt t="68869" x="8848725" y="6402388"/>
          <p14:tracePt t="68870" x="8843963" y="6402388"/>
          <p14:tracePt t="68871" x="8836025" y="6402388"/>
          <p14:tracePt t="68872" x="8832850" y="6402388"/>
          <p14:tracePt t="68874" x="8828088" y="6402388"/>
          <p14:tracePt t="68875" x="8820150" y="6397625"/>
          <p14:tracePt t="68876" x="8816975" y="6397625"/>
          <p14:tracePt t="68876" x="8812213" y="6397625"/>
          <p14:tracePt t="68877" x="8809038" y="6397625"/>
          <p14:tracePt t="68878" x="8801100" y="6397625"/>
          <p14:tracePt t="68879" x="8801100" y="6392863"/>
          <p14:tracePt t="68880" x="8796338" y="6392863"/>
          <p14:tracePt t="68881" x="8793163" y="6392863"/>
          <p14:tracePt t="68882" x="8788400" y="6392863"/>
          <p14:tracePt t="68883" x="8785225" y="6392863"/>
          <p14:tracePt t="68884" x="8777288" y="6392863"/>
          <p14:tracePt t="68885" x="8772525" y="6392863"/>
          <p14:tracePt t="68886" x="8769350" y="6389688"/>
          <p14:tracePt t="68887" x="8764588" y="6389688"/>
          <p14:tracePt t="68888" x="8756650" y="6389688"/>
          <p14:tracePt t="68890" x="8751888" y="6389688"/>
          <p14:tracePt t="68891" x="8748713" y="6389688"/>
          <p14:tracePt t="68892" x="8743950" y="6389688"/>
          <p14:tracePt t="68894" x="8740775" y="6389688"/>
          <p14:tracePt t="68908" x="8704263" y="6384925"/>
          <p14:tracePt t="68910" x="8701088" y="6384925"/>
          <p14:tracePt t="68914" x="8696325" y="6384925"/>
          <p14:tracePt t="68918" x="8693150" y="6384925"/>
          <p14:tracePt t="69009" x="8693150" y="6381750"/>
          <p14:tracePt t="69031" x="8693150" y="6376988"/>
          <p14:tracePt t="69033" x="8693150" y="6373813"/>
          <p14:tracePt t="69036" x="8693150" y="6369050"/>
          <p14:tracePt t="69037" x="8688388" y="6369050"/>
          <p14:tracePt t="69038" x="8688388" y="6365875"/>
          <p14:tracePt t="69040" x="8688388" y="6361113"/>
          <p14:tracePt t="69042" x="8688388" y="6357938"/>
          <p14:tracePt t="69044" x="8685213" y="6353175"/>
          <p14:tracePt t="69046" x="8685213" y="6350000"/>
          <p14:tracePt t="69047" x="8685213" y="6345238"/>
          <p14:tracePt t="69047" x="8680450" y="6345238"/>
          <p14:tracePt t="69049" x="8680450" y="6342063"/>
          <p14:tracePt t="69053" x="8677275" y="6337300"/>
          <p14:tracePt t="69054" x="8677275" y="6334125"/>
          <p14:tracePt t="69056" x="8672513" y="6334125"/>
          <p14:tracePt t="69057" x="8672513" y="6329363"/>
          <p14:tracePt t="69058" x="8672513" y="6326188"/>
          <p14:tracePt t="69060" x="8672513" y="6321425"/>
          <p14:tracePt t="69062" x="8672513" y="6318250"/>
          <p14:tracePt t="69062" x="8672513" y="6313488"/>
          <p14:tracePt t="69063" x="8667750" y="6313488"/>
          <p14:tracePt t="69064" x="8667750" y="6310313"/>
          <p14:tracePt t="69065" x="8667750" y="6305550"/>
          <p14:tracePt t="69066" x="8664575" y="6305550"/>
          <p14:tracePt t="69067" x="8664575" y="6300788"/>
          <p14:tracePt t="69069" x="8659813" y="6300788"/>
          <p14:tracePt t="69070" x="8659813" y="6297613"/>
          <p14:tracePt t="69071" x="8656638" y="6292850"/>
          <p14:tracePt t="69074" x="8651875" y="6289675"/>
          <p14:tracePt t="69075" x="8648700" y="6284913"/>
          <p14:tracePt t="69078" x="8648700" y="6276975"/>
          <p14:tracePt t="69079" x="8643938" y="6276975"/>
          <p14:tracePt t="69079" x="8643938" y="6273800"/>
          <p14:tracePt t="69080" x="8640763" y="6269038"/>
          <p14:tracePt t="69081" x="8636000" y="6269038"/>
          <p14:tracePt t="69082" x="8636000" y="6265863"/>
          <p14:tracePt t="69084" x="8632825" y="6265863"/>
          <p14:tracePt t="69084" x="8632825" y="6261100"/>
          <p14:tracePt t="69085" x="8628063" y="6261100"/>
          <p14:tracePt t="69088" x="8624888" y="6257925"/>
          <p14:tracePt t="69090" x="8620125" y="6253163"/>
          <p14:tracePt t="69093" x="8612188" y="6249988"/>
          <p14:tracePt t="69094" x="8609013" y="6242050"/>
          <p14:tracePt t="69097" x="8604250" y="6237288"/>
          <p14:tracePt t="69099" x="8601075" y="6237288"/>
          <p14:tracePt t="69100" x="8601075" y="6234113"/>
          <p14:tracePt t="69102" x="8596313" y="6229350"/>
          <p14:tracePt t="69102" x="8593138" y="6229350"/>
          <p14:tracePt t="69104" x="8588375" y="6226175"/>
          <p14:tracePt t="69109" x="8585200" y="6221413"/>
          <p14:tracePt t="69112" x="8580438" y="6221413"/>
          <p14:tracePt t="69117" x="8575675" y="6221413"/>
          <p14:tracePt t="69119" x="8575675" y="6216650"/>
          <p14:tracePt t="69120" x="8572500" y="6216650"/>
          <p14:tracePt t="69123" x="8567738" y="6216650"/>
          <p14:tracePt t="69127" x="8564563" y="6216650"/>
          <p14:tracePt t="69128" x="8564563" y="6213475"/>
          <p14:tracePt t="69130" x="8559800" y="6213475"/>
          <p14:tracePt t="69133" x="8556625" y="6213475"/>
          <p14:tracePt t="69134" x="8556625" y="6208713"/>
          <p14:tracePt t="69135" x="8551863" y="6208713"/>
          <p14:tracePt t="69140" x="8548688" y="6208713"/>
          <p14:tracePt t="69143" x="8548688" y="6205538"/>
          <p14:tracePt t="69144" x="8543925" y="6205538"/>
          <p14:tracePt t="69147" x="8540750" y="6205538"/>
          <p14:tracePt t="69149" x="8535988" y="6205538"/>
          <p14:tracePt t="69151" x="8532813" y="6205538"/>
          <p14:tracePt t="69153" x="8528050" y="6200775"/>
          <p14:tracePt t="69155" x="8524875" y="6200775"/>
          <p14:tracePt t="69157" x="8520113" y="6200775"/>
          <p14:tracePt t="69158" x="8516938" y="6200775"/>
          <p14:tracePt t="69160" x="8512175" y="6200775"/>
          <p14:tracePt t="69161" x="8509000" y="6200775"/>
          <p14:tracePt t="69164" x="8504238" y="6200775"/>
          <p14:tracePt t="69165" x="8501063" y="6200775"/>
          <p14:tracePt t="69166" x="8496300" y="6200775"/>
          <p14:tracePt t="69168" x="8493125" y="6200775"/>
          <p14:tracePt t="69168" x="8488363" y="6200775"/>
          <p14:tracePt t="69169" x="8483600" y="6200775"/>
          <p14:tracePt t="69171" x="8480425" y="6200775"/>
          <p14:tracePt t="69172" x="8475663" y="6200775"/>
          <p14:tracePt t="69173" x="8467725" y="6200775"/>
          <p14:tracePt t="69175" x="8464550" y="6200775"/>
          <p14:tracePt t="69175" x="8459788" y="6200775"/>
          <p14:tracePt t="69177" x="8456613" y="6200775"/>
          <p14:tracePt t="69177" x="8451850" y="6200775"/>
          <p14:tracePt t="69178" x="8443913" y="6200775"/>
          <p14:tracePt t="69179" x="8440738" y="6200775"/>
          <p14:tracePt t="69180" x="8435975" y="6200775"/>
          <p14:tracePt t="69181" x="8428038" y="6200775"/>
          <p14:tracePt t="69182" x="8424863" y="6200775"/>
          <p14:tracePt t="69183" x="8420100" y="6200775"/>
          <p14:tracePt t="69186" x="8408988" y="6200775"/>
          <p14:tracePt t="69188" x="8401050" y="6200775"/>
          <p14:tracePt t="69188" x="8396288" y="6200775"/>
          <p14:tracePt t="69191" x="8383588" y="6200775"/>
          <p14:tracePt t="69192" x="8375650" y="6200775"/>
          <p14:tracePt t="69193" x="8372475" y="6200775"/>
          <p14:tracePt t="69194" x="8364538" y="6200775"/>
          <p14:tracePt t="69195" x="8359775" y="6200775"/>
          <p14:tracePt t="69196" x="8351838" y="6200775"/>
          <p14:tracePt t="69196" x="8348663" y="6197600"/>
          <p14:tracePt t="69197" x="8343900" y="6197600"/>
          <p14:tracePt t="69198" x="8335963" y="6197600"/>
          <p14:tracePt t="69199" x="8328025" y="6197600"/>
          <p14:tracePt t="69200" x="8324850" y="6197600"/>
          <p14:tracePt t="69202" x="8320088" y="6197600"/>
          <p14:tracePt t="69203" x="8316913" y="6197600"/>
          <p14:tracePt t="69204" x="8307388" y="6197600"/>
          <p14:tracePt t="69204" x="8304213" y="6192838"/>
          <p14:tracePt t="69206" x="8296275" y="6192838"/>
          <p14:tracePt t="69207" x="8283575" y="6192838"/>
          <p14:tracePt t="69209" x="8275638" y="6192838"/>
          <p14:tracePt t="69209" x="8272463" y="6192838"/>
          <p14:tracePt t="69211" x="8264525" y="6192838"/>
          <p14:tracePt t="69211" x="8259763" y="6192838"/>
          <p14:tracePt t="69213" x="8251825" y="6189663"/>
          <p14:tracePt t="69214" x="8243888" y="6189663"/>
          <p14:tracePt t="69215" x="8240713" y="6189663"/>
          <p14:tracePt t="69216" x="8232775" y="6189663"/>
          <p14:tracePt t="69217" x="8224838" y="6189663"/>
          <p14:tracePt t="69218" x="8220075" y="6189663"/>
          <p14:tracePt t="69219" x="8212138" y="6189663"/>
          <p14:tracePt t="69220" x="8204200" y="6184900"/>
          <p14:tracePt t="69221" x="8199438" y="6184900"/>
          <p14:tracePt t="69221" x="8191500" y="6184900"/>
          <p14:tracePt t="69223" x="8183563" y="6181725"/>
          <p14:tracePt t="69224" x="8180388" y="6181725"/>
          <p14:tracePt t="69225" x="8175625" y="6181725"/>
          <p14:tracePt t="69226" x="8167688" y="6181725"/>
          <p14:tracePt t="69226" x="8159750" y="6176963"/>
          <p14:tracePt t="69227" x="8156575" y="6176963"/>
          <p14:tracePt t="69228" x="8151813" y="6176963"/>
          <p14:tracePt t="69230" x="8148638" y="6176963"/>
          <p14:tracePt t="69231" x="8143875" y="6173788"/>
          <p14:tracePt t="69231" x="8140700" y="6173788"/>
          <p14:tracePt t="69233" x="8132763" y="6173788"/>
          <p14:tracePt t="69233" x="8128000" y="6169025"/>
          <p14:tracePt t="69235" x="8123238" y="6169025"/>
          <p14:tracePt t="69235" x="8115300" y="6169025"/>
          <p14:tracePt t="69236" x="8112125" y="6169025"/>
          <p14:tracePt t="69237" x="8107363" y="6165850"/>
          <p14:tracePt t="69238" x="8104188" y="6165850"/>
          <p14:tracePt t="69240" x="8099425" y="6165850"/>
          <p14:tracePt t="69241" x="8091488" y="6165850"/>
          <p14:tracePt t="69243" x="8088313" y="6161088"/>
          <p14:tracePt t="69243" x="8083550" y="6161088"/>
          <p14:tracePt t="69245" x="8080375" y="6161088"/>
          <p14:tracePt t="69245" x="8072438" y="6161088"/>
          <p14:tracePt t="69246" x="8072438" y="6157913"/>
          <p14:tracePt t="69248" x="8067675" y="6157913"/>
          <p14:tracePt t="69249" x="8064500" y="6157913"/>
          <p14:tracePt t="69249" x="8059738" y="6153150"/>
          <p14:tracePt t="69250" x="8056563" y="6153150"/>
          <p14:tracePt t="69252" x="8051800" y="6153150"/>
          <p14:tracePt t="69252" x="8048625" y="6153150"/>
          <p14:tracePt t="69253" x="8043863" y="6153150"/>
          <p14:tracePt t="69254" x="8040688" y="6153150"/>
          <p14:tracePt t="69255" x="8035925" y="6153150"/>
          <p14:tracePt t="69257" x="8031163" y="6153150"/>
          <p14:tracePt t="69258" x="8027988" y="6153150"/>
          <p14:tracePt t="69259" x="8023225" y="6149975"/>
          <p14:tracePt t="69259" x="8020050" y="6149975"/>
          <p14:tracePt t="69260" x="8015288" y="6149975"/>
          <p14:tracePt t="69261" x="8012113" y="6145213"/>
          <p14:tracePt t="69262" x="8007350" y="6145213"/>
          <p14:tracePt t="69265" x="8004175" y="6142038"/>
          <p14:tracePt t="69265" x="7999413" y="6142038"/>
          <p14:tracePt t="69267" x="7996238" y="6142038"/>
          <p14:tracePt t="69268" x="7991475" y="6137275"/>
          <p14:tracePt t="69269" x="7988300" y="6137275"/>
          <p14:tracePt t="69270" x="7983538" y="6137275"/>
          <p14:tracePt t="69271" x="7980363" y="6137275"/>
          <p14:tracePt t="69273" x="7975600" y="6134100"/>
          <p14:tracePt t="69274" x="7972425" y="6134100"/>
          <p14:tracePt t="69275" x="7967663" y="6134100"/>
          <p14:tracePt t="69276" x="7964488" y="6134100"/>
          <p14:tracePt t="69276" x="7959725" y="6134100"/>
          <p14:tracePt t="69279" x="7956550" y="6129338"/>
          <p14:tracePt t="69280" x="7951788" y="6129338"/>
          <p14:tracePt t="69281" x="7948613" y="6129338"/>
          <p14:tracePt t="69283" x="7943850" y="6124575"/>
          <p14:tracePt t="69285" x="7939088" y="6124575"/>
          <p14:tracePt t="69285" x="7935913" y="6121400"/>
          <p14:tracePt t="69286" x="7931150" y="6121400"/>
          <p14:tracePt t="69288" x="7927975" y="6116638"/>
          <p14:tracePt t="69290" x="7923213" y="6116638"/>
          <p14:tracePt t="69291" x="7920038" y="6116638"/>
          <p14:tracePt t="69295" x="7915275" y="6116638"/>
          <p14:tracePt t="69296" x="7912100" y="6113463"/>
          <p14:tracePt t="69299" x="7907338" y="6113463"/>
          <p14:tracePt t="69299" x="7904163" y="6113463"/>
          <p14:tracePt t="69301" x="7899400" y="6113463"/>
          <p14:tracePt t="69303" x="7896225" y="6113463"/>
          <p14:tracePt t="69307" x="7891463" y="6113463"/>
          <p14:tracePt t="69309" x="7888288" y="6113463"/>
          <p14:tracePt t="69311" x="7883525" y="6113463"/>
          <p14:tracePt t="69317" x="7880350" y="6113463"/>
          <p14:tracePt t="69363" x="7875588" y="6113463"/>
          <p14:tracePt t="69376" x="7872413" y="6113463"/>
          <p14:tracePt t="69380" x="7867650" y="6113463"/>
          <p14:tracePt t="69385" x="7864475" y="6113463"/>
          <p14:tracePt t="69390" x="7859713" y="6113463"/>
          <p14:tracePt t="69397" x="7854950" y="6113463"/>
          <p14:tracePt t="69398" x="7851775" y="6116638"/>
          <p14:tracePt t="69400" x="7847013" y="6116638"/>
          <p14:tracePt t="69401" x="7847013" y="6121400"/>
          <p14:tracePt t="69403" x="7843838" y="6121400"/>
          <p14:tracePt t="69407" x="7843838" y="6124575"/>
          <p14:tracePt t="69407" x="7839075" y="6124575"/>
          <p14:tracePt t="69412" x="7835900" y="6129338"/>
          <p14:tracePt t="69417" x="7835900" y="6134100"/>
          <p14:tracePt t="69418" x="7831138" y="6134100"/>
          <p14:tracePt t="69421" x="7827963" y="6137275"/>
          <p14:tracePt t="69422" x="7823200" y="6137275"/>
          <p14:tracePt t="69424" x="7823200" y="6142038"/>
          <p14:tracePt t="69427" x="7820025" y="6142038"/>
          <p14:tracePt t="69430" x="7820025" y="6145213"/>
          <p14:tracePt t="69430" x="7815263" y="6145213"/>
          <p14:tracePt t="69432" x="7812088" y="6145213"/>
          <p14:tracePt t="69434" x="7812088" y="6149975"/>
          <p14:tracePt t="69435" x="7807325" y="6149975"/>
          <p14:tracePt t="69438" x="7804150" y="6149975"/>
          <p14:tracePt t="69442" x="7804150" y="6153150"/>
          <p14:tracePt t="69442" x="7799388" y="6153150"/>
          <p14:tracePt t="69447" x="7796213" y="6153150"/>
          <p14:tracePt t="69451" x="7796213" y="6157913"/>
          <p14:tracePt t="69453" x="7791450" y="6157913"/>
          <p14:tracePt t="69459" x="7788275" y="6157913"/>
          <p14:tracePt t="69464" x="7788275" y="6161088"/>
          <p14:tracePt t="69568" x="7791450" y="6161088"/>
          <p14:tracePt t="69574" x="7796213" y="6161088"/>
          <p14:tracePt t="69578" x="7799388" y="6161088"/>
          <p14:tracePt t="69580" x="7804150" y="6165850"/>
          <p14:tracePt t="69581" x="7807325" y="6165850"/>
          <p14:tracePt t="69583" x="7812088" y="6165850"/>
          <p14:tracePt t="69585" x="7815263" y="6165850"/>
          <p14:tracePt t="69588" x="7820025" y="6169025"/>
          <p14:tracePt t="69591" x="7823200" y="6169025"/>
          <p14:tracePt t="69593" x="7827963" y="6169025"/>
          <p14:tracePt t="69594" x="7831138" y="6169025"/>
          <p14:tracePt t="69597" x="7831138" y="6173788"/>
          <p14:tracePt t="69600" x="7835900" y="6173788"/>
          <p14:tracePt t="69604" x="7839075" y="6173788"/>
          <p14:tracePt t="69606" x="7843838" y="6173788"/>
          <p14:tracePt t="69609" x="7847013" y="6176963"/>
          <p14:tracePt t="69613" x="7851775" y="6176963"/>
          <p14:tracePt t="69616" x="7851775" y="6181725"/>
          <p14:tracePt t="69622" x="7854950" y="6181725"/>
          <p14:tracePt t="69628" x="7859713" y="6181725"/>
          <p14:tracePt t="69631" x="7859713" y="6184900"/>
          <p14:tracePt t="69644" x="7864475" y="6184900"/>
          <p14:tracePt t="69687" x="7864475" y="6189663"/>
          <p14:tracePt t="69897" x="7867650" y="6189663"/>
          <p14:tracePt t="69903" x="7872413" y="6189663"/>
          <p14:tracePt t="69906" x="7875588" y="6189663"/>
          <p14:tracePt t="69909" x="7875588" y="6192838"/>
          <p14:tracePt t="69910" x="7880350" y="6192838"/>
          <p14:tracePt t="69912" x="7883525" y="6192838"/>
          <p14:tracePt t="69914" x="7888288" y="6197600"/>
          <p14:tracePt t="69916" x="7891463" y="6197600"/>
          <p14:tracePt t="69918" x="7896225" y="6197600"/>
          <p14:tracePt t="69921" x="7899400" y="6197600"/>
          <p14:tracePt t="69923" x="7904163" y="6200775"/>
          <p14:tracePt t="69925" x="7907338" y="6200775"/>
          <p14:tracePt t="69929" x="7912100" y="6200775"/>
          <p14:tracePt t="69931" x="7915275" y="6200775"/>
          <p14:tracePt t="69937" x="7920038" y="6200775"/>
          <p14:tracePt t="69938" x="7923213" y="6200775"/>
          <p14:tracePt t="69939" x="7923213" y="6205538"/>
          <p14:tracePt t="69941" x="7927975" y="6205538"/>
          <p14:tracePt t="69943" x="7931150" y="6205538"/>
          <p14:tracePt t="69944" x="7935913" y="6205538"/>
          <p14:tracePt t="69946" x="7939088" y="6205538"/>
          <p14:tracePt t="69948" x="7943850" y="6205538"/>
          <p14:tracePt t="69950" x="7948613" y="6205538"/>
          <p14:tracePt t="69953" x="7956550" y="6205538"/>
          <p14:tracePt t="69958" x="7959725" y="6205538"/>
          <p14:tracePt t="69959" x="7964488" y="6205538"/>
          <p14:tracePt t="69961" x="7967663" y="6205538"/>
          <p14:tracePt t="69963" x="7972425" y="6205538"/>
          <p14:tracePt t="69965" x="7975600" y="6205538"/>
          <p14:tracePt t="69967" x="7980363" y="6205538"/>
          <p14:tracePt t="69969" x="7983538" y="6205538"/>
          <p14:tracePt t="69971" x="7988300" y="6205538"/>
          <p14:tracePt t="69975" x="7991475" y="6205538"/>
          <p14:tracePt t="69977" x="7996238" y="6200775"/>
          <p14:tracePt t="69982" x="7996238" y="6197600"/>
          <p14:tracePt t="69984" x="7999413" y="6197600"/>
          <p14:tracePt t="69986" x="8004175" y="6197600"/>
          <p14:tracePt t="69988" x="8004175" y="6192838"/>
          <p14:tracePt t="69989" x="8007350" y="6192838"/>
          <p14:tracePt t="69991" x="8012113" y="6192838"/>
          <p14:tracePt t="69995" x="8015288" y="6192838"/>
          <p14:tracePt t="69998" x="8020050" y="6192838"/>
          <p14:tracePt t="70000" x="8023225" y="6192838"/>
          <p14:tracePt t="70003" x="8027988" y="6189663"/>
          <p14:tracePt t="70008" x="8031163" y="6189663"/>
          <p14:tracePt t="70013" x="8035925" y="6189663"/>
          <p14:tracePt t="70016" x="8035925" y="6184900"/>
          <p14:tracePt t="70019" x="8040688" y="6184900"/>
          <p14:tracePt t="70022" x="8043863" y="6184900"/>
          <p14:tracePt t="70026" x="8048625" y="6184900"/>
          <p14:tracePt t="70029" x="8051800" y="6184900"/>
          <p14:tracePt t="70032" x="8056563" y="6181725"/>
          <p14:tracePt t="70035" x="8059738" y="6181725"/>
          <p14:tracePt t="70038" x="8064500" y="6181725"/>
          <p14:tracePt t="70041" x="8067675" y="6181725"/>
          <p14:tracePt t="70043" x="8072438" y="6181725"/>
          <p14:tracePt t="70047" x="8075613" y="6181725"/>
          <p14:tracePt t="70049" x="8075613" y="6176963"/>
          <p14:tracePt t="70053" x="8080375" y="6176963"/>
          <p14:tracePt t="70058" x="8083550" y="6176963"/>
          <p14:tracePt t="70060" x="8088313" y="6176963"/>
          <p14:tracePt t="70067" x="8091488" y="6176963"/>
          <p14:tracePt t="70075" x="8096250" y="6176963"/>
          <p14:tracePt t="70081" x="8099425" y="6176963"/>
          <p14:tracePt t="70086" x="8104188" y="6176963"/>
          <p14:tracePt t="70088" x="8107363" y="6176963"/>
          <p14:tracePt t="70091" x="8112125" y="6176963"/>
          <p14:tracePt t="70095" x="8115300" y="6176963"/>
          <p14:tracePt t="70098" x="8120063" y="6176963"/>
          <p14:tracePt t="70100" x="8123238" y="6176963"/>
          <p14:tracePt t="70103" x="8128000" y="6176963"/>
          <p14:tracePt t="70105" x="8132763" y="6173788"/>
          <p14:tracePt t="70109" x="8140700" y="6173788"/>
          <p14:tracePt t="70110" x="8143875" y="6173788"/>
          <p14:tracePt t="70112" x="8148638" y="6173788"/>
          <p14:tracePt t="70115" x="8151813" y="6173788"/>
          <p14:tracePt t="70117" x="8156575" y="6173788"/>
          <p14:tracePt t="70119" x="8159750" y="6173788"/>
          <p14:tracePt t="70121" x="8164513" y="6173788"/>
          <p14:tracePt t="70123" x="8167688" y="6173788"/>
          <p14:tracePt t="70126" x="8175625" y="6173788"/>
          <p14:tracePt t="70127" x="8180388" y="6173788"/>
          <p14:tracePt t="70129" x="8188325" y="6173788"/>
          <p14:tracePt t="70131" x="8191500" y="6173788"/>
          <p14:tracePt t="70133" x="8204200" y="6173788"/>
          <p14:tracePt t="70134" x="8207375" y="6173788"/>
          <p14:tracePt t="70136" x="8212138" y="6173788"/>
          <p14:tracePt t="70137" x="8215313" y="6173788"/>
          <p14:tracePt t="70138" x="8224838" y="6173788"/>
          <p14:tracePt t="70140" x="8228013" y="6173788"/>
          <p14:tracePt t="70142" x="8240713" y="6173788"/>
          <p14:tracePt t="70143" x="8243888" y="6173788"/>
          <p14:tracePt t="70144" x="8248650" y="6173788"/>
          <p14:tracePt t="70146" x="8259763" y="6173788"/>
          <p14:tracePt t="70149" x="8267700" y="6173788"/>
          <p14:tracePt t="70150" x="8272463" y="6173788"/>
          <p14:tracePt t="70151" x="8275638" y="6173788"/>
          <p14:tracePt t="70151" x="8280400" y="6173788"/>
          <p14:tracePt t="70152" x="8283575" y="6173788"/>
          <p14:tracePt t="70154" x="8288338" y="6173788"/>
          <p14:tracePt t="70155" x="8291513" y="6173788"/>
          <p14:tracePt t="70155" x="8296275" y="6173788"/>
          <p14:tracePt t="70157" x="8299450" y="6173788"/>
          <p14:tracePt t="70158" x="8304213" y="6173788"/>
          <p14:tracePt t="70159" x="8307388" y="6173788"/>
          <p14:tracePt t="70160" x="8312150" y="6169025"/>
          <p14:tracePt t="70161" x="8316913" y="6169025"/>
          <p14:tracePt t="70163" x="8320088" y="6169025"/>
          <p14:tracePt t="70164" x="8324850" y="6169025"/>
          <p14:tracePt t="70165" x="8328025" y="6169025"/>
          <p14:tracePt t="70166" x="8332788" y="6169025"/>
          <p14:tracePt t="70167" x="8335963" y="6169025"/>
          <p14:tracePt t="70170" x="8340725" y="6165850"/>
          <p14:tracePt t="70171" x="8343900" y="6165850"/>
          <p14:tracePt t="70172" x="8348663" y="6165850"/>
          <p14:tracePt t="70175" x="8351838" y="6161088"/>
          <p14:tracePt t="70177" x="8356600" y="6161088"/>
          <p14:tracePt t="70178" x="8359775" y="6161088"/>
          <p14:tracePt t="70180" x="8364538" y="6157913"/>
          <p14:tracePt t="70181" x="8367713" y="6157913"/>
          <p14:tracePt t="70182" x="8372475" y="6157913"/>
          <p14:tracePt t="70185" x="8375650" y="6153150"/>
          <p14:tracePt t="70187" x="8380413" y="6153150"/>
          <p14:tracePt t="70191" x="8383588" y="6153150"/>
          <p14:tracePt t="70195" x="8388350" y="6153150"/>
          <p14:tracePt t="70202" x="8391525" y="6149975"/>
          <p14:tracePt t="70207" x="8396288" y="6149975"/>
          <p14:tracePt t="70210" x="8396288" y="6145213"/>
          <p14:tracePt t="70215" x="8401050" y="6145213"/>
          <p14:tracePt t="70218" x="8401050" y="6142038"/>
          <p14:tracePt t="70218" x="8404225" y="6142038"/>
          <p14:tracePt t="70224" x="8408988" y="6142038"/>
          <p14:tracePt t="70225" x="8408988" y="6137275"/>
          <p14:tracePt t="70230" x="8408988" y="6134100"/>
          <p14:tracePt t="70236" x="8412163" y="6129338"/>
          <p14:tracePt t="70243" x="8416925" y="6129338"/>
          <p14:tracePt t="70244" x="8416925" y="6124575"/>
          <p14:tracePt t="70250" x="8416925" y="6121400"/>
          <p14:tracePt t="70252" x="8420100" y="6121400"/>
          <p14:tracePt t="70254" x="8420100" y="6116638"/>
          <p14:tracePt t="70261" x="8420100" y="6113463"/>
          <p14:tracePt t="70291" x="8424863" y="6113463"/>
          <p14:tracePt t="70434" x="8424863" y="6108700"/>
          <p14:tracePt t="70441" x="8420100" y="6105525"/>
          <p14:tracePt t="70444" x="8416925" y="6100763"/>
          <p14:tracePt t="70446" x="8416925" y="6097588"/>
          <p14:tracePt t="70449" x="8408988" y="6092825"/>
          <p14:tracePt t="70451" x="8404225" y="6092825"/>
          <p14:tracePt t="70453" x="8401050" y="6089650"/>
          <p14:tracePt t="70454" x="8396288" y="6089650"/>
          <p14:tracePt t="70455" x="8396288" y="6084888"/>
          <p14:tracePt t="70458" x="8391525" y="6081713"/>
          <p14:tracePt t="70460" x="8388350" y="6076950"/>
          <p14:tracePt t="70462" x="8383588" y="6076950"/>
          <p14:tracePt t="70465" x="8383588" y="6073775"/>
          <p14:tracePt t="70466" x="8380413" y="6073775"/>
          <p14:tracePt t="70468" x="8375650" y="6073775"/>
          <p14:tracePt t="70471" x="8375650" y="6069013"/>
          <p14:tracePt t="70472" x="8372475" y="6069013"/>
          <p14:tracePt t="70475" x="8367713" y="6069013"/>
          <p14:tracePt t="70477" x="8364538" y="6069013"/>
          <p14:tracePt t="70479" x="8364538" y="6065838"/>
          <p14:tracePt t="70481" x="8359775" y="6065838"/>
          <p14:tracePt t="70483" x="8359775" y="6061075"/>
          <p14:tracePt t="70485" x="8356600" y="6061075"/>
          <p14:tracePt t="70488" x="8351838" y="6061075"/>
          <p14:tracePt t="70489" x="8351838" y="6057900"/>
          <p14:tracePt t="70493" x="8348663" y="6057900"/>
          <p14:tracePt t="70496" x="8343900" y="6057900"/>
          <p14:tracePt t="70498" x="8343900" y="6053138"/>
          <p14:tracePt t="70502" x="8340725" y="6053138"/>
          <p14:tracePt t="70506" x="8340725" y="6049963"/>
          <p14:tracePt t="70510" x="8335963" y="6049963"/>
          <p14:tracePt t="70512" x="8335963" y="6045200"/>
          <p14:tracePt t="70518" x="8332788" y="6045200"/>
          <p14:tracePt t="70521" x="8328025" y="6045200"/>
          <p14:tracePt t="70533" x="8324850" y="6045200"/>
          <p14:tracePt t="70542" x="8320088" y="6045200"/>
          <p14:tracePt t="70698" x="8320088" y="6042025"/>
          <p14:tracePt t="70886" x="8320088" y="6037263"/>
          <p14:tracePt t="70891" x="8316913" y="6029325"/>
          <p14:tracePt t="70893" x="8312150" y="6029325"/>
          <p14:tracePt t="70896" x="8307388" y="6021388"/>
          <p14:tracePt t="70898" x="8307388" y="6016625"/>
          <p14:tracePt t="70900" x="8304213" y="6013450"/>
          <p14:tracePt t="70902" x="8304213" y="6008688"/>
          <p14:tracePt t="70904" x="8304213" y="6005513"/>
          <p14:tracePt t="70907" x="8299450" y="5997575"/>
          <p14:tracePt t="70909" x="8299450" y="5992813"/>
          <p14:tracePt t="70911" x="8296275" y="5989638"/>
          <p14:tracePt t="70913" x="8291513" y="5989638"/>
          <p14:tracePt t="70915" x="8291513" y="5981700"/>
          <p14:tracePt t="70916" x="8288338" y="5981700"/>
          <p14:tracePt t="70916" x="8288338" y="5976938"/>
          <p14:tracePt t="70917" x="8288338" y="5973763"/>
          <p14:tracePt t="70918" x="8283575" y="5973763"/>
          <p14:tracePt t="70920" x="8283575" y="5969000"/>
          <p14:tracePt t="70921" x="8283575" y="5965825"/>
          <p14:tracePt t="70922" x="8280400" y="5961063"/>
          <p14:tracePt t="70924" x="8275638" y="5957888"/>
          <p14:tracePt t="70926" x="8275638" y="5953125"/>
          <p14:tracePt t="70927" x="8272463" y="5949950"/>
          <p14:tracePt t="70929" x="8267700" y="5945188"/>
          <p14:tracePt t="70932" x="8264525" y="5937250"/>
          <p14:tracePt t="70932" x="8264525" y="5932488"/>
          <p14:tracePt t="70935" x="8264525" y="5929313"/>
          <p14:tracePt t="70935" x="8264525" y="5924550"/>
          <p14:tracePt t="70936" x="8259763" y="5924550"/>
          <p14:tracePt t="70937" x="8259763" y="5921375"/>
          <p14:tracePt t="70940" x="8256588" y="5916613"/>
          <p14:tracePt t="70942" x="8251825" y="5913438"/>
          <p14:tracePt t="70945" x="8251825" y="5908675"/>
          <p14:tracePt t="70950" x="8248650" y="5908675"/>
          <p14:tracePt t="70952" x="8248650" y="5905500"/>
          <p14:tracePt t="70959" x="8248650" y="5900738"/>
          <p14:tracePt t="70964" x="8243888" y="5900738"/>
          <p14:tracePt t="71048" x="8240713" y="5900738"/>
          <p14:tracePt t="71055" x="8235950" y="5900738"/>
          <p14:tracePt t="71059" x="8232775" y="5900738"/>
          <p14:tracePt t="71066" x="8228013" y="5900738"/>
          <p14:tracePt t="71075" x="8224838" y="5900738"/>
          <p14:tracePt t="71094" x="8220075" y="5900738"/>
          <p14:tracePt t="71101" x="8215313" y="5900738"/>
          <p14:tracePt t="71109" x="8215313" y="5905500"/>
          <p14:tracePt t="71111" x="8212138" y="5905500"/>
          <p14:tracePt t="71113" x="8207375" y="5905500"/>
          <p14:tracePt t="71116" x="8204200" y="5905500"/>
          <p14:tracePt t="71119" x="8199438" y="5905500"/>
          <p14:tracePt t="71122" x="8196263" y="5905500"/>
          <p14:tracePt t="71125" x="8191500" y="5905500"/>
          <p14:tracePt t="71128" x="8188325" y="5905500"/>
          <p14:tracePt t="71131" x="8183563" y="5905500"/>
          <p14:tracePt t="71134" x="8180388" y="5908675"/>
          <p14:tracePt t="71136" x="8175625" y="5908675"/>
          <p14:tracePt t="71138" x="8172450" y="5908675"/>
          <p14:tracePt t="71139" x="8167688" y="5908675"/>
          <p14:tracePt t="71141" x="8164513" y="5908675"/>
          <p14:tracePt t="71142" x="8159750" y="5908675"/>
          <p14:tracePt t="71143" x="8156575" y="5908675"/>
          <p14:tracePt t="71144" x="8151813" y="5908675"/>
          <p14:tracePt t="71145" x="8148638" y="5908675"/>
          <p14:tracePt t="71147" x="8140700" y="5908675"/>
          <p14:tracePt t="71149" x="8135938" y="5908675"/>
          <p14:tracePt t="71151" x="8132763" y="5908675"/>
          <p14:tracePt t="71152" x="8128000" y="5908675"/>
          <p14:tracePt t="71152" x="8123238" y="5908675"/>
          <p14:tracePt t="71154" x="8115300" y="5908675"/>
          <p14:tracePt t="71156" x="8112125" y="5908675"/>
          <p14:tracePt t="71158" x="8104188" y="5908675"/>
          <p14:tracePt t="71159" x="8099425" y="5908675"/>
          <p14:tracePt t="71160" x="8096250" y="5908675"/>
          <p14:tracePt t="71162" x="8091488" y="5908675"/>
          <p14:tracePt t="71163" x="8088313" y="5908675"/>
          <p14:tracePt t="71164" x="8083550" y="5908675"/>
          <p14:tracePt t="71164" x="8075613" y="5908675"/>
          <p14:tracePt t="71165" x="8072438" y="5908675"/>
          <p14:tracePt t="71167" x="8067675" y="5908675"/>
          <p14:tracePt t="71167" x="8059738" y="5908675"/>
          <p14:tracePt t="71169" x="8056563" y="5908675"/>
          <p14:tracePt t="71171" x="8048625" y="5908675"/>
          <p14:tracePt t="71172" x="8040688" y="5908675"/>
          <p14:tracePt t="71174" x="8027988" y="5908675"/>
          <p14:tracePt t="71175" x="8020050" y="5908675"/>
          <p14:tracePt t="71177" x="8012113" y="5908675"/>
          <p14:tracePt t="71178" x="8007350" y="5908675"/>
          <p14:tracePt t="71179" x="7991475" y="5908675"/>
          <p14:tracePt t="71180" x="7988300" y="5908675"/>
          <p14:tracePt t="71181" x="7980363" y="5908675"/>
          <p14:tracePt t="71182" x="7972425" y="5908675"/>
          <p14:tracePt t="71184" x="7967663" y="5908675"/>
          <p14:tracePt t="71185" x="7959725" y="5913438"/>
          <p14:tracePt t="71186" x="7951788" y="5913438"/>
          <p14:tracePt t="71187" x="7943850" y="5913438"/>
          <p14:tracePt t="71188" x="7935913" y="5913438"/>
          <p14:tracePt t="71189" x="7927975" y="5913438"/>
          <p14:tracePt t="71191" x="7912100" y="5913438"/>
          <p14:tracePt t="71192" x="7904163" y="5913438"/>
          <p14:tracePt t="71193" x="7896225" y="5913438"/>
          <p14:tracePt t="71194" x="7888288" y="5913438"/>
          <p14:tracePt t="71195" x="7880350" y="5913438"/>
          <p14:tracePt t="71196" x="7872413" y="5913438"/>
          <p14:tracePt t="71197" x="7859713" y="5913438"/>
          <p14:tracePt t="71198" x="7851775" y="5916613"/>
          <p14:tracePt t="71198" x="7843838" y="5916613"/>
          <p14:tracePt t="71200" x="7835900" y="5916613"/>
          <p14:tracePt t="71201" x="7827963" y="5916613"/>
          <p14:tracePt t="71202" x="7820025" y="5916613"/>
          <p14:tracePt t="71203" x="7812088" y="5916613"/>
          <p14:tracePt t="71203" x="7807325" y="5916613"/>
          <p14:tracePt t="71204" x="7799388" y="5916613"/>
          <p14:tracePt t="71205" x="7791450" y="5916613"/>
          <p14:tracePt t="71207" x="7783513" y="5916613"/>
          <p14:tracePt t="71207" x="7775575" y="5924550"/>
          <p14:tracePt t="71208" x="7767638" y="5924550"/>
          <p14:tracePt t="71209" x="7759700" y="5924550"/>
          <p14:tracePt t="71210" x="7754938" y="5924550"/>
          <p14:tracePt t="71211" x="7747000" y="5924550"/>
          <p14:tracePt t="71212" x="7739063" y="5924550"/>
          <p14:tracePt t="71213" x="7731125" y="5929313"/>
          <p14:tracePt t="71214" x="7727950" y="5929313"/>
          <p14:tracePt t="71215" x="7720013" y="5929313"/>
          <p14:tracePt t="71217" x="7712075" y="5929313"/>
          <p14:tracePt t="71217" x="7704138" y="5929313"/>
          <p14:tracePt t="71218" x="7696200" y="5932488"/>
          <p14:tracePt t="71219" x="7691438" y="5932488"/>
          <p14:tracePt t="71220" x="7683500" y="5932488"/>
          <p14:tracePt t="71221" x="7675563" y="5932488"/>
          <p14:tracePt t="71222" x="7670800" y="5937250"/>
          <p14:tracePt t="71223" x="7662863" y="5937250"/>
          <p14:tracePt t="71224" x="7659688" y="5937250"/>
          <p14:tracePt t="71225" x="7651750" y="5940425"/>
          <p14:tracePt t="71226" x="7643813" y="5940425"/>
          <p14:tracePt t="71227" x="7635875" y="5940425"/>
          <p14:tracePt t="71228" x="7631113" y="5940425"/>
          <p14:tracePt t="71229" x="7623175" y="5940425"/>
          <p14:tracePt t="71230" x="7615238" y="5945188"/>
          <p14:tracePt t="71232" x="7604125" y="5945188"/>
          <p14:tracePt t="71234" x="7596188" y="5945188"/>
          <p14:tracePt t="71234" x="7591425" y="5949950"/>
          <p14:tracePt t="71235" x="7583488" y="5949950"/>
          <p14:tracePt t="71236" x="7575550" y="5949950"/>
          <p14:tracePt t="71237" x="7567613" y="5953125"/>
          <p14:tracePt t="71238" x="7559675" y="5953125"/>
          <p14:tracePt t="71239" x="7554913" y="5957888"/>
          <p14:tracePt t="71241" x="7546975" y="5957888"/>
          <p14:tracePt t="71242" x="7539038" y="5957888"/>
          <p14:tracePt t="71243" x="7535863" y="5961063"/>
          <p14:tracePt t="71243" x="7527925" y="5961063"/>
          <p14:tracePt t="71244" x="7523163" y="5961063"/>
          <p14:tracePt t="71245" x="7515225" y="5965825"/>
          <p14:tracePt t="71246" x="7507288" y="5965825"/>
          <p14:tracePt t="71247" x="7504113" y="5965825"/>
          <p14:tracePt t="71249" x="7494588" y="5969000"/>
          <p14:tracePt t="71249" x="7491413" y="5969000"/>
          <p14:tracePt t="71250" x="7483475" y="5969000"/>
          <p14:tracePt t="71251" x="7475538" y="5973763"/>
          <p14:tracePt t="71252" x="7470775" y="5973763"/>
          <p14:tracePt t="71253" x="7462838" y="5976938"/>
          <p14:tracePt t="71254" x="7459663" y="5976938"/>
          <p14:tracePt t="71255" x="7454900" y="5976938"/>
          <p14:tracePt t="71257" x="7446963" y="5981700"/>
          <p14:tracePt t="71258" x="7439025" y="5984875"/>
          <p14:tracePt t="71260" x="7435850" y="5984875"/>
          <p14:tracePt t="71260" x="7431088" y="5984875"/>
          <p14:tracePt t="71262" x="7427913" y="5989638"/>
          <p14:tracePt t="71263" x="7419975" y="5989638"/>
          <p14:tracePt t="71263" x="7415213" y="5989638"/>
          <p14:tracePt t="71264" x="7407275" y="5989638"/>
          <p14:tracePt t="71265" x="7402513" y="5992813"/>
          <p14:tracePt t="71266" x="7394575" y="5992813"/>
          <p14:tracePt t="71268" x="7391400" y="5997575"/>
          <p14:tracePt t="71268" x="7386638" y="5997575"/>
          <p14:tracePt t="71269" x="7383463" y="6000750"/>
          <p14:tracePt t="71271" x="7378700" y="6000750"/>
          <p14:tracePt t="71272" x="7375525" y="6005513"/>
          <p14:tracePt t="71273" x="7370763" y="6005513"/>
          <p14:tracePt t="71276" x="7362825" y="6008688"/>
          <p14:tracePt t="71276" x="7359650" y="6013450"/>
          <p14:tracePt t="71278" x="7354888" y="6013450"/>
          <p14:tracePt t="71279" x="7351713" y="6013450"/>
          <p14:tracePt t="71280" x="7346950" y="6016625"/>
          <p14:tracePt t="71281" x="7343775" y="6016625"/>
          <p14:tracePt t="71283" x="7343775" y="6021388"/>
          <p14:tracePt t="71285" x="7339013" y="6021388"/>
          <p14:tracePt t="71286" x="7339013" y="6024563"/>
          <p14:tracePt t="71287" x="7335838" y="6024563"/>
          <p14:tracePt t="71292" x="7331075" y="6029325"/>
          <p14:tracePt t="71343" x="7335838" y="6029325"/>
          <p14:tracePt t="71347" x="7339013" y="6029325"/>
          <p14:tracePt t="71350" x="7343775" y="6029325"/>
          <p14:tracePt t="71352" x="7346950" y="6029325"/>
          <p14:tracePt t="71354" x="7351713" y="6029325"/>
          <p14:tracePt t="71354" x="7354888" y="6029325"/>
          <p14:tracePt t="71357" x="7359650" y="6029325"/>
          <p14:tracePt t="71358" x="7362825" y="6029325"/>
          <p14:tracePt t="71358" x="7367588" y="6029325"/>
          <p14:tracePt t="71361" x="7370763" y="6029325"/>
          <p14:tracePt t="71361" x="7375525" y="6029325"/>
          <p14:tracePt t="71362" x="7378700" y="6029325"/>
          <p14:tracePt t="71364" x="7383463" y="6029325"/>
          <p14:tracePt t="71365" x="7386638" y="6029325"/>
          <p14:tracePt t="71366" x="7391400" y="6029325"/>
          <p14:tracePt t="71367" x="7394575" y="6029325"/>
          <p14:tracePt t="71368" x="7399338" y="6029325"/>
          <p14:tracePt t="71369" x="7402513" y="6029325"/>
          <p14:tracePt t="71370" x="7407275" y="6024563"/>
          <p14:tracePt t="71371" x="7412038" y="6024563"/>
          <p14:tracePt t="71372" x="7419975" y="6024563"/>
          <p14:tracePt t="71374" x="7423150" y="6024563"/>
          <p14:tracePt t="71375" x="7427913" y="6024563"/>
          <p14:tracePt t="71376" x="7435850" y="6024563"/>
          <p14:tracePt t="71377" x="7439025" y="6021388"/>
          <p14:tracePt t="71379" x="7443788" y="6021388"/>
          <p14:tracePt t="71379" x="7451725" y="6021388"/>
          <p14:tracePt t="71381" x="7454900" y="6021388"/>
          <p14:tracePt t="71381" x="7462838" y="6016625"/>
          <p14:tracePt t="71382" x="7467600" y="6016625"/>
          <p14:tracePt t="71383" x="7475538" y="6016625"/>
          <p14:tracePt t="71384" x="7483475" y="6016625"/>
          <p14:tracePt t="71385" x="7486650" y="6013450"/>
          <p14:tracePt t="71386" x="7494588" y="6013450"/>
          <p14:tracePt t="71387" x="7504113" y="6013450"/>
          <p14:tracePt t="71389" x="7507288" y="6013450"/>
          <p14:tracePt t="71390" x="7519988" y="6008688"/>
          <p14:tracePt t="71391" x="7527925" y="6008688"/>
          <p14:tracePt t="71392" x="7527925" y="6005513"/>
          <p14:tracePt t="71393" x="7535863" y="6005513"/>
          <p14:tracePt t="71395" x="7539038" y="6005513"/>
          <p14:tracePt t="71397" x="7554913" y="6000750"/>
          <p14:tracePt t="71398" x="7567613" y="6000750"/>
          <p14:tracePt t="71399" x="7570788" y="6000750"/>
          <p14:tracePt t="71401" x="7575550" y="5997575"/>
          <p14:tracePt t="71401" x="7583488" y="5997575"/>
          <p14:tracePt t="71402" x="7588250" y="5997575"/>
          <p14:tracePt t="71403" x="7596188" y="5997575"/>
          <p14:tracePt t="71404" x="7599363" y="5997575"/>
          <p14:tracePt t="71405" x="7604125" y="5997575"/>
          <p14:tracePt t="71407" x="7612063" y="5992813"/>
          <p14:tracePt t="71408" x="7615238" y="5992813"/>
          <p14:tracePt t="71409" x="7620000" y="5989638"/>
          <p14:tracePt t="71410" x="7623175" y="5989638"/>
          <p14:tracePt t="71411" x="7627938" y="5989638"/>
          <p14:tracePt t="71412" x="7635875" y="5989638"/>
          <p14:tracePt t="71413" x="7639050" y="5989638"/>
          <p14:tracePt t="71414" x="7643813" y="5989638"/>
          <p14:tracePt t="71415" x="7646988" y="5989638"/>
          <p14:tracePt t="71416" x="7651750" y="5984875"/>
          <p14:tracePt t="71417" x="7654925" y="5984875"/>
          <p14:tracePt t="71418" x="7659688" y="5984875"/>
          <p14:tracePt t="71419" x="7662863" y="5984875"/>
          <p14:tracePt t="71421" x="7662863" y="5981700"/>
          <p14:tracePt t="71422" x="7670800" y="5981700"/>
          <p14:tracePt t="71424" x="7675563" y="5981700"/>
          <p14:tracePt t="71425" x="7680325" y="5976938"/>
          <p14:tracePt t="71426" x="7683500" y="5976938"/>
          <p14:tracePt t="71428" x="7688263" y="5976938"/>
          <p14:tracePt t="71429" x="7691438" y="5976938"/>
          <p14:tracePt t="71431" x="7696200" y="5976938"/>
          <p14:tracePt t="71432" x="7699375" y="5973763"/>
          <p14:tracePt t="71435" x="7704138" y="5973763"/>
          <p14:tracePt t="71436" x="7707313" y="5973763"/>
          <p14:tracePt t="71439" x="7712075" y="5973763"/>
          <p14:tracePt t="71441" x="7715250" y="5973763"/>
          <p14:tracePt t="71442" x="7720013" y="5973763"/>
          <p14:tracePt t="71446" x="7723188" y="5973763"/>
          <p14:tracePt t="71449" x="7727950" y="5973763"/>
          <p14:tracePt t="71453" x="7731125" y="5969000"/>
          <p14:tracePt t="71456" x="7735888" y="5969000"/>
          <p14:tracePt t="71458" x="7739063" y="5969000"/>
          <p14:tracePt t="71472" x="7743825" y="5969000"/>
          <p14:tracePt t="71480" x="7743825" y="5965825"/>
          <p14:tracePt t="71496" x="7743825" y="5961063"/>
          <p14:tracePt t="71504" x="7743825" y="5957888"/>
          <p14:tracePt t="71507" x="7743825" y="5953125"/>
          <p14:tracePt t="71510" x="7743825" y="5949950"/>
          <p14:tracePt t="71511" x="7743825" y="5945188"/>
          <p14:tracePt t="71513" x="7743825" y="5940425"/>
          <p14:tracePt t="71515" x="7743825" y="5937250"/>
          <p14:tracePt t="71516" x="7743825" y="5932488"/>
          <p14:tracePt t="71517" x="7743825" y="5929313"/>
          <p14:tracePt t="71518" x="7743825" y="5924550"/>
          <p14:tracePt t="71519" x="7743825" y="5921375"/>
          <p14:tracePt t="71520" x="7743825" y="5916613"/>
          <p14:tracePt t="71521" x="7743825" y="5913438"/>
          <p14:tracePt t="71522" x="7743825" y="5908675"/>
          <p14:tracePt t="71524" x="7743825" y="5900738"/>
          <p14:tracePt t="71525" x="7743825" y="5897563"/>
          <p14:tracePt t="71525" x="7739063" y="5892800"/>
          <p14:tracePt t="71526" x="7739063" y="5884863"/>
          <p14:tracePt t="71528" x="7739063" y="5881688"/>
          <p14:tracePt t="71529" x="7735888" y="5881688"/>
          <p14:tracePt t="71532" x="7731125" y="5865813"/>
          <p14:tracePt t="71532" x="7727950" y="5857875"/>
          <p14:tracePt t="71533" x="7723188" y="5853113"/>
          <p14:tracePt t="71534" x="7723188" y="5845175"/>
          <p14:tracePt t="71535" x="7720013" y="5840413"/>
          <p14:tracePt t="71537" x="7715250" y="5832475"/>
          <p14:tracePt t="71537" x="7712075" y="5824538"/>
          <p14:tracePt t="71538" x="7707313" y="5821363"/>
          <p14:tracePt t="71539" x="7707313" y="5813425"/>
          <p14:tracePt t="71540" x="7704138" y="5808663"/>
          <p14:tracePt t="71542" x="7699375" y="5800725"/>
          <p14:tracePt t="71542" x="7691438" y="5792788"/>
          <p14:tracePt t="71544" x="7688263" y="5789613"/>
          <p14:tracePt t="71547" x="7675563" y="5768975"/>
          <p14:tracePt t="71548" x="7670800" y="5761038"/>
          <p14:tracePt t="71549" x="7662863" y="5756275"/>
          <p14:tracePt t="71549" x="7659688" y="5753100"/>
          <p14:tracePt t="71550" x="7654925" y="5745163"/>
          <p14:tracePt t="71551" x="7646988" y="5737225"/>
          <p14:tracePt t="71552" x="7643813" y="5724525"/>
          <p14:tracePt t="71554" x="7639050" y="5721350"/>
          <p14:tracePt t="71554" x="7631113" y="5713413"/>
          <p14:tracePt t="71555" x="7627938" y="5708650"/>
          <p14:tracePt t="71557" x="7620000" y="5700713"/>
          <p14:tracePt t="71557" x="7615238" y="5692775"/>
          <p14:tracePt t="71559" x="7604125" y="5689600"/>
          <p14:tracePt t="71560" x="7604125" y="5684838"/>
          <p14:tracePt t="71561" x="7591425" y="5676900"/>
          <p14:tracePt t="71561" x="7591425" y="5673725"/>
          <p14:tracePt t="71562" x="7578725" y="5661025"/>
          <p14:tracePt t="71563" x="7570788" y="5656263"/>
          <p14:tracePt t="71564" x="7562850" y="5653088"/>
          <p14:tracePt t="71566" x="7559675" y="5645150"/>
          <p14:tracePt t="71566" x="7551738" y="5640388"/>
          <p14:tracePt t="71568" x="7543800" y="5629275"/>
          <p14:tracePt t="71569" x="7531100" y="5624513"/>
          <p14:tracePt t="71569" x="7523163" y="5621338"/>
          <p14:tracePt t="71571" x="7519988" y="5616575"/>
          <p14:tracePt t="71571" x="7512050" y="5608638"/>
          <p14:tracePt t="71572" x="7504113" y="5605463"/>
          <p14:tracePt t="71573" x="7494588" y="5597525"/>
          <p14:tracePt t="71574" x="7486650" y="5592763"/>
          <p14:tracePt t="71576" x="7475538" y="5589588"/>
          <p14:tracePt t="71577" x="7467600" y="5576888"/>
          <p14:tracePt t="71578" x="7459663" y="5572125"/>
          <p14:tracePt t="71578" x="7451725" y="5568950"/>
          <p14:tracePt t="71579" x="7443788" y="5564188"/>
          <p14:tracePt t="71581" x="7431088" y="5561013"/>
          <p14:tracePt t="71581" x="7423150" y="5553075"/>
          <p14:tracePt t="71582" x="7415213" y="5548313"/>
          <p14:tracePt t="71584" x="7407275" y="5545138"/>
          <p14:tracePt t="71586" x="7394575" y="5537200"/>
          <p14:tracePt t="71586" x="7386638" y="5532438"/>
          <p14:tracePt t="71587" x="7375525" y="5524500"/>
          <p14:tracePt t="71588" x="7367588" y="5521325"/>
          <p14:tracePt t="71590" x="7351713" y="5513388"/>
          <p14:tracePt t="71591" x="7335838" y="5508625"/>
          <p14:tracePt t="71595" x="7310438" y="5497513"/>
          <p14:tracePt t="71596" x="7302500" y="5492750"/>
          <p14:tracePt t="71597" x="7286625" y="5484813"/>
          <p14:tracePt t="71597" x="7278688" y="5484813"/>
          <p14:tracePt t="71598" x="7270750" y="5480050"/>
          <p14:tracePt t="71599" x="7262813" y="5476875"/>
          <p14:tracePt t="71600" x="7254875" y="5476875"/>
          <p14:tracePt t="71601" x="7243763" y="5472113"/>
          <p14:tracePt t="71602" x="7235825" y="5468938"/>
          <p14:tracePt t="71603" x="7227888" y="5468938"/>
          <p14:tracePt t="71604" x="7218363" y="5464175"/>
          <p14:tracePt t="71605" x="7210425" y="5464175"/>
          <p14:tracePt t="71607" x="7202488" y="5461000"/>
          <p14:tracePt t="71608" x="7186613" y="5461000"/>
          <p14:tracePt t="71610" x="7170738" y="5456238"/>
          <p14:tracePt t="71611" x="7162800" y="5456238"/>
          <p14:tracePt t="71612" x="7154863" y="5453063"/>
          <p14:tracePt t="71612" x="7138988" y="5453063"/>
          <p14:tracePt t="71614" x="7138988" y="5448300"/>
          <p14:tracePt t="71614" x="7131050" y="5448300"/>
          <p14:tracePt t="71615" x="7118350" y="5445125"/>
          <p14:tracePt t="71616" x="7107238" y="5445125"/>
          <p14:tracePt t="71617" x="7099300" y="5445125"/>
          <p14:tracePt t="71618" x="7091363" y="5445125"/>
          <p14:tracePt t="71619" x="7083425" y="5440363"/>
          <p14:tracePt t="71620" x="7075488" y="5440363"/>
          <p14:tracePt t="71621" x="7067550" y="5440363"/>
          <p14:tracePt t="71622" x="7051675" y="5440363"/>
          <p14:tracePt t="71624" x="7042150" y="5440363"/>
          <p14:tracePt t="71625" x="7034213" y="5440363"/>
          <p14:tracePt t="71626" x="7015163" y="5437188"/>
          <p14:tracePt t="71627" x="7002463" y="5437188"/>
          <p14:tracePt t="71628" x="6994525" y="5437188"/>
          <p14:tracePt t="71629" x="6986588" y="5437188"/>
          <p14:tracePt t="71630" x="6978650" y="5437188"/>
          <p14:tracePt t="71631" x="6975475" y="5437188"/>
          <p14:tracePt t="71632" x="6962775" y="5437188"/>
          <p14:tracePt t="71633" x="6954838" y="5437188"/>
          <p14:tracePt t="71634" x="6946900" y="5437188"/>
          <p14:tracePt t="71635" x="6938963" y="5437188"/>
          <p14:tracePt t="71636" x="6931025" y="5437188"/>
          <p14:tracePt t="71637" x="6923088" y="5437188"/>
          <p14:tracePt t="71638" x="6915150" y="5437188"/>
          <p14:tracePt t="71639" x="6907213" y="5437188"/>
          <p14:tracePt t="71640" x="6899275" y="5437188"/>
          <p14:tracePt t="71642" x="6891338" y="5437188"/>
          <p14:tracePt t="71642" x="6875463" y="5440363"/>
          <p14:tracePt t="71643" x="6870700" y="5440363"/>
          <p14:tracePt t="71644" x="6862763" y="5445125"/>
          <p14:tracePt t="71645" x="6854825" y="5445125"/>
          <p14:tracePt t="71646" x="6846888" y="5445125"/>
          <p14:tracePt t="71647" x="6838950" y="5448300"/>
          <p14:tracePt t="71648" x="6831013" y="5448300"/>
          <p14:tracePt t="71649" x="6823075" y="5453063"/>
          <p14:tracePt t="71650" x="6815138" y="5453063"/>
          <p14:tracePt t="71651" x="6807200" y="5456238"/>
          <p14:tracePt t="71652" x="6791325" y="5456238"/>
          <p14:tracePt t="71653" x="6783388" y="5461000"/>
          <p14:tracePt t="71655" x="6775450" y="5461000"/>
          <p14:tracePt t="71655" x="6765925" y="5464175"/>
          <p14:tracePt t="71657" x="6757988" y="5468938"/>
          <p14:tracePt t="71657" x="6750050" y="5468938"/>
          <p14:tracePt t="71658" x="6738938" y="5472113"/>
          <p14:tracePt t="71659" x="6731000" y="5480050"/>
          <p14:tracePt t="71660" x="6723063" y="5480050"/>
          <p14:tracePt t="71661" x="6715125" y="5484813"/>
          <p14:tracePt t="71662" x="6707188" y="5489575"/>
          <p14:tracePt t="71663" x="6699250" y="5492750"/>
          <p14:tracePt t="71664" x="6686550" y="5497513"/>
          <p14:tracePt t="71665" x="6678613" y="5497513"/>
          <p14:tracePt t="71666" x="6670675" y="5500688"/>
          <p14:tracePt t="71667" x="6657975" y="5505450"/>
          <p14:tracePt t="71668" x="6646863" y="5508625"/>
          <p14:tracePt t="71669" x="6638925" y="5513388"/>
          <p14:tracePt t="71670" x="6630988" y="5516563"/>
          <p14:tracePt t="71671" x="6623050" y="5524500"/>
          <p14:tracePt t="71672" x="6607175" y="5529263"/>
          <p14:tracePt t="71673" x="6599238" y="5532438"/>
          <p14:tracePt t="71674" x="6589713" y="5537200"/>
          <p14:tracePt t="71676" x="6581775" y="5540375"/>
          <p14:tracePt t="71676" x="6573838" y="5540375"/>
          <p14:tracePt t="71677" x="6557963" y="5548313"/>
          <p14:tracePt t="71678" x="6550025" y="5553075"/>
          <p14:tracePt t="71679" x="6542088" y="5561013"/>
          <p14:tracePt t="71680" x="6534150" y="5561013"/>
          <p14:tracePt t="71681" x="6526213" y="5564188"/>
          <p14:tracePt t="71682" x="6515100" y="5572125"/>
          <p14:tracePt t="71683" x="6507163" y="5576888"/>
          <p14:tracePt t="71684" x="6497638" y="5581650"/>
          <p14:tracePt t="71685" x="6489700" y="5584825"/>
          <p14:tracePt t="71686" x="6481763" y="5589588"/>
          <p14:tracePt t="71687" x="6470650" y="5592763"/>
          <p14:tracePt t="71688" x="6462713" y="5600700"/>
          <p14:tracePt t="71689" x="6457950" y="5600700"/>
          <p14:tracePt t="71690" x="6450013" y="5605463"/>
          <p14:tracePt t="71691" x="6446838" y="5608638"/>
          <p14:tracePt t="71693" x="6430963" y="5616575"/>
          <p14:tracePt t="71694" x="6426200" y="5621338"/>
          <p14:tracePt t="71695" x="6423025" y="5624513"/>
          <p14:tracePt t="71696" x="6415088" y="5629275"/>
          <p14:tracePt t="71697" x="6410325" y="5632450"/>
          <p14:tracePt t="71698" x="6402388" y="5637213"/>
          <p14:tracePt t="71700" x="6397625" y="5640388"/>
          <p14:tracePt t="71701" x="6394450" y="5645150"/>
          <p14:tracePt t="71702" x="6386513" y="5648325"/>
          <p14:tracePt t="71703" x="6381750" y="5653088"/>
          <p14:tracePt t="71704" x="6378575" y="5656263"/>
          <p14:tracePt t="71705" x="6373813" y="5661025"/>
          <p14:tracePt t="71707" x="6370638" y="5664200"/>
          <p14:tracePt t="71707" x="6362700" y="5668963"/>
          <p14:tracePt t="71708" x="6362700" y="5673725"/>
          <p14:tracePt t="71710" x="6357938" y="5673725"/>
          <p14:tracePt t="71710" x="6354763" y="5673725"/>
          <p14:tracePt t="71711" x="6350000" y="5676900"/>
          <p14:tracePt t="71712" x="6346825" y="5681663"/>
          <p14:tracePt t="71713" x="6342063" y="5681663"/>
          <p14:tracePt t="71714" x="6342063" y="5684838"/>
          <p14:tracePt t="71715" x="6338888" y="5689600"/>
          <p14:tracePt t="71717" x="6334125" y="5692775"/>
          <p14:tracePt t="71718" x="6330950" y="5697538"/>
          <p14:tracePt t="71719" x="6330950" y="5700713"/>
          <p14:tracePt t="71720" x="6326188" y="5700713"/>
          <p14:tracePt t="71721" x="6323013" y="5705475"/>
          <p14:tracePt t="71722" x="6318250" y="5705475"/>
          <p14:tracePt t="71723" x="6318250" y="5708650"/>
          <p14:tracePt t="71724" x="6313488" y="5713413"/>
          <p14:tracePt t="71728" x="6310313" y="5716588"/>
          <p14:tracePt t="71730" x="6305550" y="5716588"/>
          <p14:tracePt t="71730" x="6305550" y="5721350"/>
          <p14:tracePt t="71731" x="6302375" y="5721350"/>
          <p14:tracePt t="71733" x="6302375" y="5724525"/>
          <p14:tracePt t="71734" x="6302375" y="5729288"/>
          <p14:tracePt t="71735" x="6302375" y="5732463"/>
          <p14:tracePt t="71736" x="6297613" y="5732463"/>
          <p14:tracePt t="71737" x="6297613" y="5737225"/>
          <p14:tracePt t="71740" x="6297613" y="5740400"/>
          <p14:tracePt t="71742" x="6294438" y="5740400"/>
          <p14:tracePt t="71743" x="6294438" y="5745163"/>
          <p14:tracePt t="71746" x="6294438" y="5748338"/>
          <p14:tracePt t="71749" x="6294438" y="5753100"/>
          <p14:tracePt t="71751" x="6289675" y="5753100"/>
          <p14:tracePt t="71755" x="6286500" y="5756275"/>
          <p14:tracePt t="71758" x="6286500" y="5761038"/>
          <p14:tracePt t="71760" x="6281738" y="5761038"/>
          <p14:tracePt t="71761" x="6281738" y="5765800"/>
          <p14:tracePt t="71764" x="6278563" y="5768975"/>
          <p14:tracePt t="71769" x="6278563" y="5773738"/>
          <p14:tracePt t="71771" x="6273800" y="5773738"/>
          <p14:tracePt t="71774" x="6273800" y="5776913"/>
          <p14:tracePt t="71775" x="6273800" y="5781675"/>
          <p14:tracePt t="71778" x="6273800" y="5784850"/>
          <p14:tracePt t="71782" x="6270625" y="5784850"/>
          <p14:tracePt t="71782" x="6270625" y="5789613"/>
          <p14:tracePt t="71784" x="6265863" y="5789613"/>
          <p14:tracePt t="71788" x="6265863" y="5792788"/>
          <p14:tracePt t="71791" x="6262688" y="5792788"/>
          <p14:tracePt t="71795" x="6262688" y="5797550"/>
          <p14:tracePt t="71796" x="6262688" y="5800725"/>
          <p14:tracePt t="71798" x="6262688" y="5805488"/>
          <p14:tracePt t="71801" x="6262688" y="5808663"/>
          <p14:tracePt t="71805" x="6262688" y="5813425"/>
          <p14:tracePt t="71805" x="6257925" y="5813425"/>
          <p14:tracePt t="71808" x="6257925" y="5816600"/>
          <p14:tracePt t="71808" x="6257925" y="5821363"/>
          <p14:tracePt t="71812" x="6257925" y="5824538"/>
          <p14:tracePt t="71813" x="6257925" y="5829300"/>
          <p14:tracePt t="71815" x="6257925" y="5832475"/>
          <p14:tracePt t="71816" x="6254750" y="5837238"/>
          <p14:tracePt t="71819" x="6254750" y="5840413"/>
          <p14:tracePt t="71822" x="6254750" y="5845175"/>
          <p14:tracePt t="71824" x="6254750" y="5848350"/>
          <p14:tracePt t="71825" x="6254750" y="5853113"/>
          <p14:tracePt t="71825" x="6254750" y="5857875"/>
          <p14:tracePt t="71827" x="6254750" y="5861050"/>
          <p14:tracePt t="71827" x="6254750" y="5865813"/>
          <p14:tracePt t="71829" x="6254750" y="5868988"/>
          <p14:tracePt t="71831" x="6254750" y="5873750"/>
          <p14:tracePt t="71831" x="6254750" y="5876925"/>
          <p14:tracePt t="71833" x="6254750" y="5881688"/>
          <p14:tracePt t="71834" x="6254750" y="5884863"/>
          <p14:tracePt t="71835" x="6254750" y="5889625"/>
          <p14:tracePt t="71837" x="6254750" y="5897563"/>
          <p14:tracePt t="71838" x="6254750" y="5900738"/>
          <p14:tracePt t="71839" x="6254750" y="5905500"/>
          <p14:tracePt t="71841" x="6254750" y="5908675"/>
          <p14:tracePt t="71842" x="6254750" y="5913438"/>
          <p14:tracePt t="71842" x="6254750" y="5916613"/>
          <p14:tracePt t="71844" x="6254750" y="5921375"/>
          <p14:tracePt t="71846" x="6257925" y="5924550"/>
          <p14:tracePt t="71847" x="6257925" y="5929313"/>
          <p14:tracePt t="71847" x="6257925" y="5937250"/>
          <p14:tracePt t="71849" x="6257925" y="5940425"/>
          <p14:tracePt t="71849" x="6257925" y="5945188"/>
          <p14:tracePt t="71850" x="6257925" y="5949950"/>
          <p14:tracePt t="71851" x="6257925" y="5953125"/>
          <p14:tracePt t="71852" x="6262688" y="5957888"/>
          <p14:tracePt t="71853" x="6262688" y="5961063"/>
          <p14:tracePt t="71854" x="6265863" y="5969000"/>
          <p14:tracePt t="71855" x="6265863" y="5973763"/>
          <p14:tracePt t="71857" x="6270625" y="5976938"/>
          <p14:tracePt t="71858" x="6273800" y="5976938"/>
          <p14:tracePt t="71859" x="6273800" y="5981700"/>
          <p14:tracePt t="71859" x="6278563" y="5989638"/>
          <p14:tracePt t="71861" x="6278563" y="5992813"/>
          <p14:tracePt t="71862" x="6278563" y="5997575"/>
          <p14:tracePt t="71863" x="6281738" y="6000750"/>
          <p14:tracePt t="71864" x="6281738" y="6008688"/>
          <p14:tracePt t="71864" x="6286500" y="6013450"/>
          <p14:tracePt t="71865" x="6286500" y="6016625"/>
          <p14:tracePt t="71866" x="6289675" y="6021388"/>
          <p14:tracePt t="71867" x="6289675" y="6024563"/>
          <p14:tracePt t="71868" x="6294438" y="6029325"/>
          <p14:tracePt t="71870" x="6297613" y="6032500"/>
          <p14:tracePt t="71871" x="6302375" y="6042025"/>
          <p14:tracePt t="71872" x="6305550" y="6045200"/>
          <p14:tracePt t="71874" x="6305550" y="6049963"/>
          <p14:tracePt t="71875" x="6310313" y="6053138"/>
          <p14:tracePt t="71875" x="6310313" y="6057900"/>
          <p14:tracePt t="71877" x="6310313" y="6061075"/>
          <p14:tracePt t="71878" x="6313488" y="6065838"/>
          <p14:tracePt t="71879" x="6318250" y="6069013"/>
          <p14:tracePt t="71879" x="6323013" y="6073775"/>
          <p14:tracePt t="71880" x="6323013" y="6076950"/>
          <p14:tracePt t="71881" x="6326188" y="6076950"/>
          <p14:tracePt t="71882" x="6330950" y="6081713"/>
          <p14:tracePt t="71883" x="6334125" y="6084888"/>
          <p14:tracePt t="71884" x="6338888" y="6089650"/>
          <p14:tracePt t="71885" x="6342063" y="6092825"/>
          <p14:tracePt t="71886" x="6346825" y="6097588"/>
          <p14:tracePt t="71887" x="6350000" y="6100763"/>
          <p14:tracePt t="71889" x="6350000" y="6105525"/>
          <p14:tracePt t="71891" x="6362700" y="6116638"/>
          <p14:tracePt t="71894" x="6370638" y="6121400"/>
          <p14:tracePt t="71895" x="6378575" y="6129338"/>
          <p14:tracePt t="71896" x="6386513" y="6134100"/>
          <p14:tracePt t="71897" x="6389688" y="6137275"/>
          <p14:tracePt t="71898" x="6394450" y="6142038"/>
          <p14:tracePt t="71899" x="6397625" y="6145213"/>
          <p14:tracePt t="71900" x="6405563" y="6149975"/>
          <p14:tracePt t="71901" x="6410325" y="6149975"/>
          <p14:tracePt t="71902" x="6418263" y="6157913"/>
          <p14:tracePt t="71904" x="6423025" y="6161088"/>
          <p14:tracePt t="71905" x="6430963" y="6165850"/>
          <p14:tracePt t="71907" x="6434138" y="6169025"/>
          <p14:tracePt t="71907" x="6442075" y="6173788"/>
          <p14:tracePt t="71909" x="6454775" y="6181725"/>
          <p14:tracePt t="71911" x="6462713" y="6184900"/>
          <p14:tracePt t="71912" x="6465888" y="6184900"/>
          <p14:tracePt t="71912" x="6473825" y="6192838"/>
          <p14:tracePt t="71913" x="6481763" y="6192838"/>
          <p14:tracePt t="71914" x="6494463" y="6197600"/>
          <p14:tracePt t="71915" x="6502400" y="6200775"/>
          <p14:tracePt t="71916" x="6507163" y="6205538"/>
          <p14:tracePt t="71917" x="6518275" y="6208713"/>
          <p14:tracePt t="71918" x="6523038" y="6208713"/>
          <p14:tracePt t="71919" x="6530975" y="6213475"/>
          <p14:tracePt t="71920" x="6538913" y="6216650"/>
          <p14:tracePt t="71921" x="6546850" y="6216650"/>
          <p14:tracePt t="71922" x="6554788" y="6221413"/>
          <p14:tracePt t="71923" x="6562725" y="6226175"/>
          <p14:tracePt t="71924" x="6573838" y="6229350"/>
          <p14:tracePt t="71926" x="6581775" y="6229350"/>
          <p14:tracePt t="71926" x="6589713" y="6234113"/>
          <p14:tracePt t="71927" x="6602413" y="6242050"/>
          <p14:tracePt t="71928" x="6610350" y="6245225"/>
          <p14:tracePt t="71929" x="6618288" y="6245225"/>
          <p14:tracePt t="71930" x="6630988" y="6249988"/>
          <p14:tracePt t="71931" x="6638925" y="6253163"/>
          <p14:tracePt t="71932" x="6650038" y="6253163"/>
          <p14:tracePt t="71933" x="6657975" y="6257925"/>
          <p14:tracePt t="71934" x="6670675" y="6257925"/>
          <p14:tracePt t="71935" x="6681788" y="6261100"/>
          <p14:tracePt t="71936" x="6691313" y="6261100"/>
          <p14:tracePt t="71937" x="6707188" y="6265863"/>
          <p14:tracePt t="71938" x="6715125" y="6269038"/>
          <p14:tracePt t="71939" x="6726238" y="6269038"/>
          <p14:tracePt t="71941" x="6734175" y="6276975"/>
          <p14:tracePt t="71941" x="6742113" y="6276975"/>
          <p14:tracePt t="71944" x="6770688" y="6281738"/>
          <p14:tracePt t="71945" x="6783388" y="6284913"/>
          <p14:tracePt t="71945" x="6791325" y="6284913"/>
          <p14:tracePt t="71946" x="6802438" y="6289675"/>
          <p14:tracePt t="71947" x="6818313" y="6289675"/>
          <p14:tracePt t="71948" x="6826250" y="6292850"/>
          <p14:tracePt t="71949" x="6834188" y="6292850"/>
          <p14:tracePt t="71950" x="6846888" y="6292850"/>
          <p14:tracePt t="71952" x="6854825" y="6297613"/>
          <p14:tracePt t="71952" x="6870700" y="6297613"/>
          <p14:tracePt t="71953" x="6883400" y="6297613"/>
          <p14:tracePt t="71954" x="6891338" y="6300788"/>
          <p14:tracePt t="71955" x="6907213" y="6300788"/>
          <p14:tracePt t="71957" x="6915150" y="6305550"/>
          <p14:tracePt t="71957" x="6934200" y="6305550"/>
          <p14:tracePt t="71959" x="6942138" y="6313488"/>
          <p14:tracePt t="71959" x="6954838" y="6313488"/>
          <p14:tracePt t="71960" x="6962775" y="6313488"/>
          <p14:tracePt t="71961" x="6978650" y="6313488"/>
          <p14:tracePt t="71962" x="6991350" y="6318250"/>
          <p14:tracePt t="71963" x="7007225" y="6318250"/>
          <p14:tracePt t="71964" x="7015163" y="6318250"/>
          <p14:tracePt t="71965" x="7026275" y="6318250"/>
          <p14:tracePt t="71967" x="7034213" y="6321425"/>
          <p14:tracePt t="71967" x="7042150" y="6321425"/>
          <p14:tracePt t="71968" x="7062788" y="6321425"/>
          <p14:tracePt t="71969" x="7070725" y="6321425"/>
          <p14:tracePt t="71970" x="7086600" y="6326188"/>
          <p14:tracePt t="71971" x="7094538" y="6326188"/>
          <p14:tracePt t="71972" x="7115175" y="6326188"/>
          <p14:tracePt t="71973" x="7123113" y="6326188"/>
          <p14:tracePt t="71975" x="7135813" y="6326188"/>
          <p14:tracePt t="71976" x="7151688" y="6329363"/>
          <p14:tracePt t="71977" x="7159625" y="6329363"/>
          <p14:tracePt t="71977" x="7175500" y="6329363"/>
          <p14:tracePt t="71978" x="7191375" y="6329363"/>
          <p14:tracePt t="71979" x="7202488" y="6329363"/>
          <p14:tracePt t="71980" x="7210425" y="6329363"/>
          <p14:tracePt t="71981" x="7227888" y="6329363"/>
          <p14:tracePt t="71982" x="7246938" y="6334125"/>
          <p14:tracePt t="71984" x="7259638" y="6334125"/>
          <p14:tracePt t="71984" x="7267575" y="6334125"/>
          <p14:tracePt t="71985" x="7283450" y="6334125"/>
          <p14:tracePt t="71986" x="7294563" y="6334125"/>
          <p14:tracePt t="71987" x="7315200" y="6342063"/>
          <p14:tracePt t="71988" x="7327900" y="6342063"/>
          <p14:tracePt t="71990" x="7351713" y="6342063"/>
          <p14:tracePt t="71991" x="7362825" y="6345238"/>
          <p14:tracePt t="71992" x="7383463" y="6345238"/>
          <p14:tracePt t="71993" x="7391400" y="6345238"/>
          <p14:tracePt t="71994" x="7407275" y="6345238"/>
          <p14:tracePt t="71995" x="7419975" y="6350000"/>
          <p14:tracePt t="71996" x="7431088" y="6350000"/>
          <p14:tracePt t="71997" x="7446963" y="6350000"/>
          <p14:tracePt t="71999" x="7459663" y="6350000"/>
          <p14:tracePt t="71999" x="7475538" y="6350000"/>
          <p14:tracePt t="72000" x="7483475" y="6350000"/>
          <p14:tracePt t="72001" x="7494588" y="6350000"/>
          <p14:tracePt t="72002" x="7515225" y="6350000"/>
          <p14:tracePt t="72003" x="7523163" y="6350000"/>
          <p14:tracePt t="72004" x="7535863" y="6350000"/>
          <p14:tracePt t="72005" x="7543800" y="6350000"/>
          <p14:tracePt t="72007" x="7559675" y="6350000"/>
          <p14:tracePt t="72008" x="7570788" y="6350000"/>
          <p14:tracePt t="72008" x="7588250" y="6350000"/>
          <p14:tracePt t="72009" x="7599363" y="6350000"/>
          <p14:tracePt t="72010" x="7607300" y="6350000"/>
          <p14:tracePt t="72011" x="7615238" y="6353175"/>
          <p14:tracePt t="72012" x="7635875" y="6353175"/>
          <p14:tracePt t="72013" x="7643813" y="6353175"/>
          <p14:tracePt t="72014" x="7651750" y="6353175"/>
          <p14:tracePt t="72015" x="7667625" y="6353175"/>
          <p14:tracePt t="72016" x="7675563" y="6353175"/>
          <p14:tracePt t="72017" x="7688263" y="6353175"/>
          <p14:tracePt t="72018" x="7696200" y="6353175"/>
          <p14:tracePt t="72019" x="7712075" y="6353175"/>
          <p14:tracePt t="72020" x="7720013" y="6353175"/>
          <p14:tracePt t="72021" x="7727950" y="6353175"/>
          <p14:tracePt t="72022" x="7739063" y="6353175"/>
          <p14:tracePt t="72023" x="7747000" y="6353175"/>
          <p14:tracePt t="72024" x="7754938" y="6353175"/>
          <p14:tracePt t="72025" x="7762875" y="6353175"/>
          <p14:tracePt t="72026" x="7772400" y="6353175"/>
          <p14:tracePt t="72027" x="7783513" y="6353175"/>
          <p14:tracePt t="72028" x="7791450" y="6353175"/>
          <p14:tracePt t="72030" x="7799388" y="6353175"/>
          <p14:tracePt t="72030" x="7807325" y="6350000"/>
          <p14:tracePt t="72031" x="7815263" y="6350000"/>
          <p14:tracePt t="72032" x="7827963" y="6350000"/>
          <p14:tracePt t="72033" x="7831138" y="6345238"/>
          <p14:tracePt t="72034" x="7839075" y="6345238"/>
          <p14:tracePt t="72035" x="7847013" y="6345238"/>
          <p14:tracePt t="72036" x="7854950" y="6342063"/>
          <p14:tracePt t="72037" x="7864475" y="6342063"/>
          <p14:tracePt t="72038" x="7872413" y="6342063"/>
          <p14:tracePt t="72039" x="7880350" y="6342063"/>
          <p14:tracePt t="72041" x="7883525" y="6337300"/>
          <p14:tracePt t="72041" x="7891463" y="6337300"/>
          <p14:tracePt t="72042" x="7899400" y="6337300"/>
          <p14:tracePt t="72043" x="7912100" y="6334125"/>
          <p14:tracePt t="72045" x="7920038" y="6334125"/>
          <p14:tracePt t="72047" x="7923213" y="6329363"/>
          <p14:tracePt t="72047" x="7931150" y="6329363"/>
          <p14:tracePt t="72048" x="7935913" y="6326188"/>
          <p14:tracePt t="72049" x="7939088" y="6326188"/>
          <p14:tracePt t="72050" x="7948613" y="6326188"/>
          <p14:tracePt t="72051" x="7951788" y="6321425"/>
          <p14:tracePt t="72052" x="7956550" y="6321425"/>
          <p14:tracePt t="72053" x="7964488" y="6318250"/>
          <p14:tracePt t="72054" x="7967663" y="6318250"/>
          <p14:tracePt t="72055" x="7972425" y="6318250"/>
          <p14:tracePt t="72057" x="7975600" y="6313488"/>
          <p14:tracePt t="72058" x="7980363" y="6313488"/>
          <p14:tracePt t="72058" x="7983538" y="6310313"/>
          <p14:tracePt t="72059" x="7988300" y="6310313"/>
          <p14:tracePt t="72060" x="7991475" y="6310313"/>
          <p14:tracePt t="72061" x="7996238" y="6305550"/>
          <p14:tracePt t="72062" x="7999413" y="6305550"/>
          <p14:tracePt t="72063" x="8004175" y="6300788"/>
          <p14:tracePt t="72064" x="8007350" y="6300788"/>
          <p14:tracePt t="72065" x="8012113" y="6300788"/>
          <p14:tracePt t="72066" x="8015288" y="6300788"/>
          <p14:tracePt t="72067" x="8020050" y="6300788"/>
          <p14:tracePt t="72068" x="8023225" y="6297613"/>
          <p14:tracePt t="72070" x="8023225" y="6292850"/>
          <p14:tracePt t="72071" x="8027988" y="6292850"/>
          <p14:tracePt t="72072" x="8031163" y="6289675"/>
          <p14:tracePt t="72073" x="8035925" y="6289675"/>
          <p14:tracePt t="72075" x="8040688" y="6284913"/>
          <p14:tracePt t="72077" x="8043863" y="6281738"/>
          <p14:tracePt t="72079" x="8048625" y="6276975"/>
          <p14:tracePt t="72080" x="8051800" y="6273800"/>
          <p14:tracePt t="72080" x="8056563" y="6273800"/>
          <p14:tracePt t="72081" x="8056563" y="6269038"/>
          <p14:tracePt t="72082" x="8059738" y="6269038"/>
          <p14:tracePt t="72083" x="8064500" y="6265863"/>
          <p14:tracePt t="72084" x="8064500" y="6261100"/>
          <p14:tracePt t="72086" x="8067675" y="6261100"/>
          <p14:tracePt t="72088" x="8072438" y="6257925"/>
          <p14:tracePt t="72089" x="8075613" y="6253163"/>
          <p14:tracePt t="72091" x="8080375" y="6253163"/>
          <p14:tracePt t="72091" x="8080375" y="6249988"/>
          <p14:tracePt t="72093" x="8083550" y="6245225"/>
          <p14:tracePt t="72094" x="8088313" y="6245225"/>
          <p14:tracePt t="72095" x="8088313" y="6242050"/>
          <p14:tracePt t="72095" x="8091488" y="6237288"/>
          <p14:tracePt t="72097" x="8096250" y="6237288"/>
          <p14:tracePt t="72098" x="8099425" y="6234113"/>
          <p14:tracePt t="72098" x="8099425" y="6229350"/>
          <p14:tracePt t="72099" x="8104188" y="6226175"/>
          <p14:tracePt t="72101" x="8104188" y="6221413"/>
          <p14:tracePt t="72103" x="8107363" y="6216650"/>
          <p14:tracePt t="72103" x="8112125" y="6216650"/>
          <p14:tracePt t="72104" x="8115300" y="6216650"/>
          <p14:tracePt t="72105" x="8120063" y="6213475"/>
          <p14:tracePt t="72107" x="8123238" y="6205538"/>
          <p14:tracePt t="72109" x="8128000" y="6200775"/>
          <p14:tracePt t="72111" x="8132763" y="6197600"/>
          <p14:tracePt t="72112" x="8135938" y="6192838"/>
          <p14:tracePt t="72112" x="8135938" y="6189663"/>
          <p14:tracePt t="72114" x="8140700" y="6189663"/>
          <p14:tracePt t="72114" x="8140700" y="6184900"/>
          <p14:tracePt t="72115" x="8143875" y="6181725"/>
          <p14:tracePt t="72116" x="8143875" y="6176963"/>
          <p14:tracePt t="72118" x="8148638" y="6173788"/>
          <p14:tracePt t="72119" x="8148638" y="6169025"/>
          <p14:tracePt t="72120" x="8151813" y="6169025"/>
          <p14:tracePt t="72121" x="8156575" y="6165850"/>
          <p14:tracePt t="72123" x="8156575" y="6161088"/>
          <p14:tracePt t="72124" x="8159750" y="6157913"/>
          <p14:tracePt t="72124" x="8159750" y="6153150"/>
          <p14:tracePt t="72125" x="8164513" y="6153150"/>
          <p14:tracePt t="72127" x="8164513" y="6149975"/>
          <p14:tracePt t="72128" x="8167688" y="6145213"/>
          <p14:tracePt t="72129" x="8167688" y="6142038"/>
          <p14:tracePt t="72130" x="8172450" y="6142038"/>
          <p14:tracePt t="72130" x="8172450" y="6137275"/>
          <p14:tracePt t="72132" x="8175625" y="6137275"/>
          <p14:tracePt t="72132" x="8175625" y="6134100"/>
          <p14:tracePt t="72134" x="8180388" y="6129338"/>
          <p14:tracePt t="72135" x="8180388" y="6124575"/>
          <p14:tracePt t="72137" x="8183563" y="6121400"/>
          <p14:tracePt t="72138" x="8183563" y="6116638"/>
          <p14:tracePt t="72140" x="8183563" y="6113463"/>
          <p14:tracePt t="72141" x="8183563" y="6108700"/>
          <p14:tracePt t="72144" x="8183563" y="6100763"/>
          <p14:tracePt t="72145" x="8183563" y="6097588"/>
          <p14:tracePt t="72145" x="8188325" y="6097588"/>
          <p14:tracePt t="72147" x="8188325" y="6092825"/>
          <p14:tracePt t="72148" x="8188325" y="6089650"/>
          <p14:tracePt t="72149" x="8188325" y="6084888"/>
          <p14:tracePt t="72151" x="8188325" y="6081713"/>
          <p14:tracePt t="72152" x="8188325" y="6076950"/>
          <p14:tracePt t="72154" x="8188325" y="6073775"/>
          <p14:tracePt t="72154" x="8188325" y="6069013"/>
          <p14:tracePt t="72157" x="8188325" y="6065838"/>
          <p14:tracePt t="72159" x="8188325" y="6057900"/>
          <p14:tracePt t="72162" x="8188325" y="6053138"/>
          <p14:tracePt t="72162" x="8188325" y="6049963"/>
          <p14:tracePt t="72163" x="8188325" y="6045200"/>
          <p14:tracePt t="72164" x="8188325" y="6042025"/>
          <p14:tracePt t="72165" x="8188325" y="6037263"/>
          <p14:tracePt t="72167" x="8188325" y="6032500"/>
          <p14:tracePt t="72168" x="8188325" y="6029325"/>
          <p14:tracePt t="72169" x="8188325" y="6024563"/>
          <p14:tracePt t="72171" x="8188325" y="6021388"/>
          <p14:tracePt t="72171" x="8188325" y="6016625"/>
          <p14:tracePt t="72174" x="8188325" y="6013450"/>
          <p14:tracePt t="72174" x="8183563" y="6008688"/>
          <p14:tracePt t="72175" x="8183563" y="6005513"/>
          <p14:tracePt t="72176" x="8180388" y="6000750"/>
          <p14:tracePt t="72177" x="8180388" y="5997575"/>
          <p14:tracePt t="72178" x="8175625" y="5992813"/>
          <p14:tracePt t="72179" x="8172450" y="5989638"/>
          <p14:tracePt t="72180" x="8172450" y="5984875"/>
          <p14:tracePt t="72181" x="8167688" y="5981700"/>
          <p14:tracePt t="72182" x="8167688" y="5976938"/>
          <p14:tracePt t="72183" x="8164513" y="5976938"/>
          <p14:tracePt t="72184" x="8159750" y="5973763"/>
          <p14:tracePt t="72186" x="8156575" y="5969000"/>
          <p14:tracePt t="72186" x="8151813" y="5965825"/>
          <p14:tracePt t="72187" x="8151813" y="5961063"/>
          <p14:tracePt t="72188" x="8143875" y="5953125"/>
          <p14:tracePt t="72189" x="8140700" y="5949950"/>
          <p14:tracePt t="72191" x="8135938" y="5945188"/>
          <p14:tracePt t="72192" x="8135938" y="5940425"/>
          <p14:tracePt t="72192" x="8128000" y="5937250"/>
          <p14:tracePt t="72193" x="8123238" y="5932488"/>
          <p14:tracePt t="72194" x="8120063" y="5929313"/>
          <p14:tracePt t="72195" x="8115300" y="5924550"/>
          <p14:tracePt t="72196" x="8112125" y="5921375"/>
          <p14:tracePt t="72197" x="8107363" y="5921375"/>
          <p14:tracePt t="72198" x="8099425" y="5916613"/>
          <p14:tracePt t="72199" x="8096250" y="5913438"/>
          <p14:tracePt t="72200" x="8091488" y="5908675"/>
          <p14:tracePt t="72202" x="8083550" y="5905500"/>
          <p14:tracePt t="72202" x="8080375" y="5900738"/>
          <p14:tracePt t="72203" x="8075613" y="5897563"/>
          <p14:tracePt t="72204" x="8067675" y="5892800"/>
          <p14:tracePt t="72205" x="8064500" y="5889625"/>
          <p14:tracePt t="72207" x="8059738" y="5884863"/>
          <p14:tracePt t="72209" x="8051800" y="5881688"/>
          <p14:tracePt t="72210" x="8043863" y="5873750"/>
          <p14:tracePt t="72211" x="8035925" y="5868988"/>
          <p14:tracePt t="72212" x="8031163" y="5865813"/>
          <p14:tracePt t="72213" x="8027988" y="5861050"/>
          <p14:tracePt t="72214" x="8020050" y="5857875"/>
          <p14:tracePt t="72215" x="8015288" y="5857875"/>
          <p14:tracePt t="72216" x="8012113" y="5857875"/>
          <p14:tracePt t="72217" x="8004175" y="5853113"/>
          <p14:tracePt t="72218" x="7999413" y="5848350"/>
          <p14:tracePt t="72219" x="7991475" y="5845175"/>
          <p14:tracePt t="72220" x="7988300" y="5845175"/>
          <p14:tracePt t="72221" x="7983538" y="5840413"/>
          <p14:tracePt t="72222" x="7975600" y="5837238"/>
          <p14:tracePt t="72224" x="7967663" y="5832475"/>
          <p14:tracePt t="72224" x="7964488" y="5829300"/>
          <p14:tracePt t="72226" x="7951788" y="5824538"/>
          <p14:tracePt t="72227" x="7951788" y="5821363"/>
          <p14:tracePt t="72228" x="7943850" y="5821363"/>
          <p14:tracePt t="72229" x="7939088" y="5816600"/>
          <p14:tracePt t="72230" x="7931150" y="5813425"/>
          <p14:tracePt t="72231" x="7920038" y="5808663"/>
          <p14:tracePt t="72234" x="7912100" y="5805488"/>
          <p14:tracePt t="72234" x="7907338" y="5800725"/>
          <p14:tracePt t="72235" x="7904163" y="5797550"/>
          <p14:tracePt t="72236" x="7896225" y="5792788"/>
          <p14:tracePt t="72237" x="7888288" y="5792788"/>
          <p14:tracePt t="72238" x="7880350" y="5789613"/>
          <p14:tracePt t="72239" x="7875588" y="5784850"/>
          <p14:tracePt t="72241" x="7867650" y="5781675"/>
          <p14:tracePt t="72241" x="7864475" y="5781675"/>
          <p14:tracePt t="72244" x="7839075" y="5773738"/>
          <p14:tracePt t="72245" x="7835900" y="5768975"/>
          <p14:tracePt t="72246" x="7827963" y="5768975"/>
          <p14:tracePt t="72247" x="7820025" y="5765800"/>
          <p14:tracePt t="72248" x="7812088" y="5761038"/>
          <p14:tracePt t="72249" x="7799388" y="5756275"/>
          <p14:tracePt t="72250" x="7796213" y="5753100"/>
          <p14:tracePt t="72251" x="7788275" y="5753100"/>
          <p14:tracePt t="72252" x="7780338" y="5748338"/>
          <p14:tracePt t="72253" x="7775575" y="5748338"/>
          <p14:tracePt t="72254" x="7767638" y="5745163"/>
          <p14:tracePt t="72255" x="7759700" y="5740400"/>
          <p14:tracePt t="72257" x="7751763" y="5740400"/>
          <p14:tracePt t="72257" x="7747000" y="5737225"/>
          <p14:tracePt t="72259" x="7727950" y="5732463"/>
          <p14:tracePt t="72261" x="7723188" y="5732463"/>
          <p14:tracePt t="72261" x="7715250" y="5729288"/>
          <p14:tracePt t="72262" x="7707313" y="5724525"/>
          <p14:tracePt t="72263" x="7699375" y="5724525"/>
          <p14:tracePt t="72264" x="7683500" y="5716588"/>
          <p14:tracePt t="72265" x="7680325" y="5716588"/>
          <p14:tracePt t="72266" x="7670800" y="5716588"/>
          <p14:tracePt t="72267" x="7662863" y="5708650"/>
          <p14:tracePt t="72268" x="7651750" y="5708650"/>
          <p14:tracePt t="72269" x="7643813" y="5705475"/>
          <p14:tracePt t="72270" x="7631113" y="5700713"/>
          <p14:tracePt t="72271" x="7623175" y="5700713"/>
          <p14:tracePt t="72272" x="7615238" y="5697538"/>
          <p14:tracePt t="72274" x="7604125" y="5697538"/>
          <p14:tracePt t="72274" x="7596188" y="5692775"/>
          <p14:tracePt t="72276" x="7588250" y="5692775"/>
          <p14:tracePt t="72276" x="7575550" y="5689600"/>
          <p14:tracePt t="72277" x="7562850" y="5684838"/>
          <p14:tracePt t="72278" x="7546975" y="5684838"/>
          <p14:tracePt t="72280" x="7539038" y="5681663"/>
          <p14:tracePt t="72280" x="7531100" y="5681663"/>
          <p14:tracePt t="72281" x="7519988" y="5676900"/>
          <p14:tracePt t="72282" x="7512050" y="5676900"/>
          <p14:tracePt t="72283" x="7494588" y="5668963"/>
          <p14:tracePt t="72284" x="7483475" y="5668963"/>
          <p14:tracePt t="72285" x="7475538" y="5664200"/>
          <p14:tracePt t="72286" x="7459663" y="5664200"/>
          <p14:tracePt t="72287" x="7451725" y="5661025"/>
          <p14:tracePt t="72288" x="7431088" y="5661025"/>
          <p14:tracePt t="72290" x="7423150" y="5656263"/>
          <p14:tracePt t="72291" x="7415213" y="5656263"/>
          <p14:tracePt t="72291" x="7399338" y="5653088"/>
          <p14:tracePt t="72293" x="7391400" y="5653088"/>
          <p14:tracePt t="72294" x="7378700" y="5648325"/>
          <p14:tracePt t="72295" x="7362825" y="5645150"/>
          <p14:tracePt t="72295" x="7354888" y="5645150"/>
          <p14:tracePt t="72296" x="7343775" y="5637213"/>
          <p14:tracePt t="72297" x="7327900" y="5637213"/>
          <p14:tracePt t="72298" x="7315200" y="5632450"/>
          <p14:tracePt t="72299" x="7299325" y="5632450"/>
          <p14:tracePt t="72300" x="7286625" y="5629275"/>
          <p14:tracePt t="72301" x="7275513" y="5629275"/>
          <p14:tracePt t="72302" x="7262813" y="5624513"/>
          <p14:tracePt t="72303" x="7246938" y="5624513"/>
          <p14:tracePt t="72304" x="7231063" y="5621338"/>
          <p14:tracePt t="72305" x="7223125" y="5621338"/>
          <p14:tracePt t="72307" x="7210425" y="5621338"/>
          <p14:tracePt t="72308" x="7194550" y="5616575"/>
          <p14:tracePt t="72309" x="7167563" y="5608638"/>
          <p14:tracePt t="72310" x="7154863" y="5608638"/>
          <p14:tracePt t="72312" x="7138988" y="5605463"/>
          <p14:tracePt t="72312" x="7126288" y="5605463"/>
          <p14:tracePt t="72313" x="7107238" y="5600700"/>
          <p14:tracePt t="72314" x="7091363" y="5600700"/>
          <p14:tracePt t="72315" x="7078663" y="5600700"/>
          <p14:tracePt t="72316" x="7070725" y="5597525"/>
          <p14:tracePt t="72317" x="7054850" y="5597525"/>
          <p14:tracePt t="72318" x="7038975" y="5592763"/>
          <p14:tracePt t="72319" x="7023100" y="5592763"/>
          <p14:tracePt t="72320" x="7010400" y="5592763"/>
          <p14:tracePt t="72321" x="7002463" y="5592763"/>
          <p14:tracePt t="72322" x="6986588" y="5589588"/>
          <p14:tracePt t="72324" x="6967538" y="5589588"/>
          <p14:tracePt t="72325" x="6954838" y="5589588"/>
          <p14:tracePt t="72326" x="6938963" y="5581650"/>
          <p14:tracePt t="72327" x="6918325" y="5581650"/>
          <p14:tracePt t="72328" x="6899275" y="5581650"/>
          <p14:tracePt t="72330" x="6886575" y="5581650"/>
          <p14:tracePt t="72330" x="6870700" y="5576888"/>
          <p14:tracePt t="72331" x="6862763" y="5576888"/>
          <p14:tracePt t="72332" x="6850063" y="5576888"/>
          <p14:tracePt t="72333" x="6831013" y="5576888"/>
          <p14:tracePt t="72334" x="6823075" y="5576888"/>
          <p14:tracePt t="72335" x="6807200" y="5576888"/>
          <p14:tracePt t="72336" x="6794500" y="5576888"/>
          <p14:tracePt t="72337" x="6786563" y="5576888"/>
          <p14:tracePt t="72338" x="6775450" y="5576888"/>
          <p14:tracePt t="72340" x="6765925" y="5576888"/>
          <p14:tracePt t="72341" x="6750050" y="5572125"/>
          <p14:tracePt t="72342" x="6734175" y="5572125"/>
          <p14:tracePt t="72343" x="6723063" y="5572125"/>
          <p14:tracePt t="72345" x="6710363" y="5572125"/>
          <p14:tracePt t="72346" x="6699250" y="5572125"/>
          <p14:tracePt t="72347" x="6691313" y="5572125"/>
          <p14:tracePt t="72348" x="6681788" y="5572125"/>
          <p14:tracePt t="72348" x="6670675" y="5572125"/>
          <p14:tracePt t="72349" x="6662738" y="5572125"/>
          <p14:tracePt t="72350" x="6650038" y="5572125"/>
          <p14:tracePt t="72351" x="6642100" y="5572125"/>
          <p14:tracePt t="72353" x="6626225" y="5572125"/>
          <p14:tracePt t="72354" x="6618288" y="5572125"/>
          <p14:tracePt t="72355" x="6610350" y="5572125"/>
          <p14:tracePt t="72357" x="6599238" y="5572125"/>
          <p14:tracePt t="72358" x="6589713" y="5572125"/>
          <p14:tracePt t="72359" x="6581775" y="5572125"/>
          <p14:tracePt t="72360" x="6573838" y="5572125"/>
          <p14:tracePt t="72362" x="6570663" y="5572125"/>
          <p14:tracePt t="72362" x="6565900" y="5572125"/>
          <p14:tracePt t="72365" x="6546850" y="5572125"/>
          <p14:tracePt t="72366" x="6538913" y="5572125"/>
          <p14:tracePt t="72367" x="6534150" y="5572125"/>
          <p14:tracePt t="72368" x="6526213" y="5572125"/>
          <p14:tracePt t="72369" x="6518275" y="5572125"/>
          <p14:tracePt t="72370" x="6515100" y="5572125"/>
          <p14:tracePt t="72371" x="6507163" y="5572125"/>
          <p14:tracePt t="72373" x="6502400" y="5572125"/>
          <p14:tracePt t="72374" x="6494463" y="5572125"/>
          <p14:tracePt t="72374" x="6489700" y="5576888"/>
          <p14:tracePt t="72375" x="6481763" y="5576888"/>
          <p14:tracePt t="72376" x="6478588" y="5576888"/>
          <p14:tracePt t="72377" x="6473825" y="5576888"/>
          <p14:tracePt t="72379" x="6465888" y="5576888"/>
          <p14:tracePt t="72379" x="6462713" y="5581650"/>
          <p14:tracePt t="72381" x="6457950" y="5581650"/>
          <p14:tracePt t="72382" x="6454775" y="5581650"/>
          <p14:tracePt t="72383" x="6450013" y="5581650"/>
          <p14:tracePt t="72384" x="6446838" y="5581650"/>
          <p14:tracePt t="72385" x="6438900" y="5581650"/>
          <p14:tracePt t="72386" x="6434138" y="5584825"/>
          <p14:tracePt t="72388" x="6426200" y="5584825"/>
          <p14:tracePt t="72390" x="6423025" y="5589588"/>
          <p14:tracePt t="72392" x="6418263" y="5589588"/>
          <p14:tracePt t="72393" x="6415088" y="5589588"/>
          <p14:tracePt t="72394" x="6415088" y="5592763"/>
          <p14:tracePt t="72395" x="6410325" y="5592763"/>
          <p14:tracePt t="72395" x="6405563" y="5592763"/>
          <p14:tracePt t="72396" x="6402388" y="5592763"/>
          <p14:tracePt t="72397" x="6397625" y="5592763"/>
          <p14:tracePt t="72398" x="6394450" y="5592763"/>
          <p14:tracePt t="72399" x="6389688" y="5592763"/>
          <p14:tracePt t="72400" x="6386513" y="5592763"/>
          <p14:tracePt t="72401" x="6381750" y="5592763"/>
          <p14:tracePt t="72402" x="6381750" y="5597525"/>
          <p14:tracePt t="72404" x="6378575" y="5597525"/>
          <p14:tracePt t="72404" x="6373813" y="5597525"/>
          <p14:tracePt t="72406" x="6370638" y="5597525"/>
          <p14:tracePt t="72408" x="6365875" y="5600700"/>
          <p14:tracePt t="72408" x="6362700" y="5600700"/>
          <p14:tracePt t="72410" x="6357938" y="5605463"/>
          <p14:tracePt t="72412" x="6354763" y="5605463"/>
          <p14:tracePt t="72413" x="6350000" y="5608638"/>
          <p14:tracePt t="72414" x="6346825" y="5608638"/>
          <p14:tracePt t="72414" x="6342063" y="5613400"/>
          <p14:tracePt t="72416" x="6338888" y="5613400"/>
          <p14:tracePt t="72417" x="6334125" y="5613400"/>
          <p14:tracePt t="72417" x="6330950" y="5616575"/>
          <p14:tracePt t="72419" x="6326188" y="5621338"/>
          <p14:tracePt t="72420" x="6323013" y="5621338"/>
          <p14:tracePt t="72421" x="6318250" y="5624513"/>
          <p14:tracePt t="72422" x="6313488" y="5624513"/>
          <p14:tracePt t="72423" x="6310313" y="5629275"/>
          <p14:tracePt t="72425" x="6297613" y="5632450"/>
          <p14:tracePt t="72426" x="6294438" y="5637213"/>
          <p14:tracePt t="72427" x="6289675" y="5637213"/>
          <p14:tracePt t="72428" x="6286500" y="5637213"/>
          <p14:tracePt t="72429" x="6281738" y="5640388"/>
          <p14:tracePt t="72431" x="6278563" y="5645150"/>
          <p14:tracePt t="72432" x="6273800" y="5645150"/>
          <p14:tracePt t="72433" x="6270625" y="5648325"/>
          <p14:tracePt t="72435" x="6265863" y="5653088"/>
          <p14:tracePt t="72435" x="6257925" y="5656263"/>
          <p14:tracePt t="72436" x="6254750" y="5656263"/>
          <p14:tracePt t="72438" x="6249988" y="5661025"/>
          <p14:tracePt t="72438" x="6246813" y="5664200"/>
          <p14:tracePt t="72439" x="6238875" y="5664200"/>
          <p14:tracePt t="72441" x="6238875" y="5668963"/>
          <p14:tracePt t="72442" x="6229350" y="5673725"/>
          <p14:tracePt t="72444" x="6221413" y="5676900"/>
          <p14:tracePt t="72444" x="6221413" y="5681663"/>
          <p14:tracePt t="72445" x="6218238" y="5684838"/>
          <p14:tracePt t="72446" x="6213475" y="5684838"/>
          <p14:tracePt t="72447" x="6210300" y="5689600"/>
          <p14:tracePt t="72448" x="6205538" y="5692775"/>
          <p14:tracePt t="72451" x="6202363" y="5697538"/>
          <p14:tracePt t="72453" x="6197600" y="5700713"/>
          <p14:tracePt t="72453" x="6194425" y="5705475"/>
          <p14:tracePt t="72454" x="6194425" y="5708650"/>
          <p14:tracePt t="72455" x="6189663" y="5708650"/>
          <p14:tracePt t="72457" x="6186488" y="5713413"/>
          <p14:tracePt t="72457" x="6186488" y="5716588"/>
          <p14:tracePt t="72460" x="6178550" y="5721350"/>
          <p14:tracePt t="72460" x="6178550" y="5724525"/>
          <p14:tracePt t="72462" x="6173788" y="5729288"/>
          <p14:tracePt t="72464" x="6170613" y="5732463"/>
          <p14:tracePt t="72464" x="6165850" y="5732463"/>
          <p14:tracePt t="72466" x="6162675" y="5737225"/>
          <p14:tracePt t="72468" x="6162675" y="5740400"/>
          <p14:tracePt t="72469" x="6162675" y="5745163"/>
          <p14:tracePt t="72470" x="6162675" y="5748338"/>
          <p14:tracePt t="72471" x="6157913" y="5748338"/>
          <p14:tracePt t="72472" x="6157913" y="5753100"/>
          <p14:tracePt t="72474" x="6154738" y="5756275"/>
          <p14:tracePt t="72475" x="6154738" y="5761038"/>
          <p14:tracePt t="72477" x="6149975" y="5765800"/>
          <p14:tracePt t="72477" x="6146800" y="5765800"/>
          <p14:tracePt t="72478" x="6146800" y="5768975"/>
          <p14:tracePt t="72479" x="6146800" y="5773738"/>
          <p14:tracePt t="72482" x="6142038" y="5776913"/>
          <p14:tracePt t="72483" x="6142038" y="5781675"/>
          <p14:tracePt t="72484" x="6142038" y="5784850"/>
          <p14:tracePt t="72485" x="6137275" y="5784850"/>
          <p14:tracePt t="72486" x="6137275" y="5789613"/>
          <p14:tracePt t="72488" x="6137275" y="5792788"/>
          <p14:tracePt t="72489" x="6137275" y="5797550"/>
          <p14:tracePt t="72491" x="6137275" y="5800725"/>
          <p14:tracePt t="72493" x="6137275" y="5805488"/>
          <p14:tracePt t="72494" x="6137275" y="5808663"/>
          <p14:tracePt t="72494" x="6137275" y="5813425"/>
          <p14:tracePt t="72497" x="6134100" y="5813425"/>
          <p14:tracePt t="72498" x="6134100" y="5816600"/>
          <p14:tracePt t="72499" x="6134100" y="5821363"/>
          <p14:tracePt t="72501" x="6134100" y="5824538"/>
          <p14:tracePt t="72502" x="6134100" y="5829300"/>
          <p14:tracePt t="72503" x="6134100" y="5832475"/>
          <p14:tracePt t="72505" x="6134100" y="5837238"/>
          <p14:tracePt t="72507" x="6134100" y="5840413"/>
          <p14:tracePt t="72509" x="6134100" y="5848350"/>
          <p14:tracePt t="72510" x="6134100" y="5853113"/>
          <p14:tracePt t="72512" x="6134100" y="5857875"/>
          <p14:tracePt t="72513" x="6134100" y="5861050"/>
          <p14:tracePt t="72514" x="6134100" y="5865813"/>
          <p14:tracePt t="72516" x="6134100" y="5868988"/>
          <p14:tracePt t="72519" x="6134100" y="5873750"/>
          <p14:tracePt t="72519" x="6134100" y="5876925"/>
          <p14:tracePt t="72521" x="6134100" y="5881688"/>
          <p14:tracePt t="72523" x="6137275" y="5884863"/>
          <p14:tracePt t="72524" x="6137275" y="5889625"/>
          <p14:tracePt t="72525" x="6137275" y="5892800"/>
          <p14:tracePt t="72528" x="6142038" y="5897563"/>
          <p14:tracePt t="72531" x="6146800" y="5900738"/>
          <p14:tracePt t="72532" x="6146800" y="5905500"/>
          <p14:tracePt t="72533" x="6149975" y="5908675"/>
          <p14:tracePt t="72534" x="6149975" y="5913438"/>
          <p14:tracePt t="72535" x="6154738" y="5916613"/>
          <p14:tracePt t="72537" x="6154738" y="5921375"/>
          <p14:tracePt t="72540" x="6157913" y="5924550"/>
          <p14:tracePt t="72541" x="6157913" y="5929313"/>
          <p14:tracePt t="72542" x="6157913" y="5932488"/>
          <p14:tracePt t="72543" x="6157913" y="5937250"/>
          <p14:tracePt t="72545" x="6162675" y="5937250"/>
          <p14:tracePt t="72547" x="6165850" y="5945188"/>
          <p14:tracePt t="72548" x="6170613" y="5949950"/>
          <p14:tracePt t="72549" x="6173788" y="5953125"/>
          <p14:tracePt t="72550" x="6178550" y="5957888"/>
          <p14:tracePt t="72551" x="6178550" y="5961063"/>
          <p14:tracePt t="72552" x="6181725" y="5961063"/>
          <p14:tracePt t="72553" x="6186488" y="5965825"/>
          <p14:tracePt t="72554" x="6189663" y="5969000"/>
          <p14:tracePt t="72555" x="6194425" y="5973763"/>
          <p14:tracePt t="72557" x="6197600" y="5976938"/>
          <p14:tracePt t="72557" x="6202363" y="5976938"/>
          <p14:tracePt t="72559" x="6202363" y="5981700"/>
          <p14:tracePt t="72559" x="6205538" y="5984875"/>
          <p14:tracePt t="72561" x="6210300" y="5992813"/>
          <p14:tracePt t="72562" x="6213475" y="5997575"/>
          <p14:tracePt t="72562" x="6218238" y="6000750"/>
          <p14:tracePt t="72563" x="6221413" y="6000750"/>
          <p14:tracePt t="72564" x="6229350" y="6008688"/>
          <p14:tracePt t="72565" x="6234113" y="6013450"/>
          <p14:tracePt t="72566" x="6238875" y="6016625"/>
          <p14:tracePt t="72567" x="6246813" y="6021388"/>
          <p14:tracePt t="72568" x="6254750" y="6024563"/>
          <p14:tracePt t="72569" x="6257925" y="6029325"/>
          <p14:tracePt t="72570" x="6265863" y="6037263"/>
          <p14:tracePt t="72571" x="6270625" y="6042025"/>
          <p14:tracePt t="72572" x="6278563" y="6045200"/>
          <p14:tracePt t="72574" x="6281738" y="6049963"/>
          <p14:tracePt t="72574" x="6289675" y="6057900"/>
          <p14:tracePt t="72576" x="6297613" y="6061075"/>
          <p14:tracePt t="72577" x="6305550" y="6065838"/>
          <p14:tracePt t="72578" x="6318250" y="6069013"/>
          <p14:tracePt t="72579" x="6326188" y="6073775"/>
          <p14:tracePt t="72579" x="6334125" y="6084888"/>
          <p14:tracePt t="72580" x="6342063" y="6089650"/>
          <p14:tracePt t="72581" x="6346825" y="6092825"/>
          <p14:tracePt t="72582" x="6354763" y="6097588"/>
          <p14:tracePt t="72583" x="6362700" y="6100763"/>
          <p14:tracePt t="72584" x="6378575" y="6108700"/>
          <p14:tracePt t="72585" x="6386513" y="6113463"/>
          <p14:tracePt t="72586" x="6394450" y="6116638"/>
          <p14:tracePt t="72587" x="6402388" y="6121400"/>
          <p14:tracePt t="72588" x="6418263" y="6134100"/>
          <p14:tracePt t="72589" x="6426200" y="6137275"/>
          <p14:tracePt t="72591" x="6434138" y="6142038"/>
          <p14:tracePt t="72591" x="6446838" y="6149975"/>
          <p14:tracePt t="72593" x="6454775" y="6153150"/>
          <p14:tracePt t="72596" x="6489700" y="6169025"/>
          <p14:tracePt t="72597" x="6497638" y="6173788"/>
          <p14:tracePt t="72597" x="6515100" y="6176963"/>
          <p14:tracePt t="72598" x="6526213" y="6181725"/>
          <p14:tracePt t="72599" x="6534150" y="6184900"/>
          <p14:tracePt t="72600" x="6550025" y="6189663"/>
          <p14:tracePt t="72601" x="6557963" y="6192838"/>
          <p14:tracePt t="72602" x="6573838" y="6200775"/>
          <p14:tracePt t="72603" x="6581775" y="6205538"/>
          <p14:tracePt t="72604" x="6594475" y="6208713"/>
          <p14:tracePt t="72605" x="6610350" y="6213475"/>
          <p14:tracePt t="72607" x="6618288" y="6216650"/>
          <p14:tracePt t="72608" x="6634163" y="6221413"/>
          <p14:tracePt t="72608" x="6646863" y="6229350"/>
          <p14:tracePt t="72611" x="6681788" y="6242050"/>
          <p14:tracePt t="72613" x="6699250" y="6242050"/>
          <p14:tracePt t="72613" x="6707188" y="6245225"/>
          <p14:tracePt t="72614" x="6726238" y="6249988"/>
          <p14:tracePt t="72615" x="6738938" y="6249988"/>
          <p14:tracePt t="72616" x="6746875" y="6253163"/>
          <p14:tracePt t="72617" x="6762750" y="6261100"/>
          <p14:tracePt t="72618" x="6775450" y="6261100"/>
          <p14:tracePt t="72619" x="6791325" y="6265863"/>
          <p14:tracePt t="72620" x="6802438" y="6269038"/>
          <p14:tracePt t="72621" x="6810375" y="6269038"/>
          <p14:tracePt t="72622" x="6826250" y="6273800"/>
          <p14:tracePt t="72624" x="6838950" y="6276975"/>
          <p14:tracePt t="72624" x="6854825" y="6276975"/>
          <p14:tracePt t="72627" x="6883400" y="6281738"/>
          <p14:tracePt t="72628" x="6894513" y="6289675"/>
          <p14:tracePt t="72628" x="6910388" y="6289675"/>
          <p14:tracePt t="72629" x="6923088" y="6289675"/>
          <p14:tracePt t="72630" x="6938963" y="6292850"/>
          <p14:tracePt t="72631" x="6950075" y="6292850"/>
          <p14:tracePt t="72632" x="6959600" y="6292850"/>
          <p14:tracePt t="72633" x="6975475" y="6297613"/>
          <p14:tracePt t="72634" x="6991350" y="6297613"/>
          <p14:tracePt t="72635" x="7007225" y="6300788"/>
          <p14:tracePt t="72636" x="7018338" y="6300788"/>
          <p14:tracePt t="72637" x="7034213" y="6300788"/>
          <p14:tracePt t="72638" x="7054850" y="6300788"/>
          <p14:tracePt t="72639" x="7067550" y="6305550"/>
          <p14:tracePt t="72640" x="7083425" y="6305550"/>
          <p14:tracePt t="72641" x="7094538" y="6305550"/>
          <p14:tracePt t="72643" x="7107238" y="6305550"/>
          <p14:tracePt t="72643" x="7123113" y="6305550"/>
          <p14:tracePt t="72644" x="7143750" y="6305550"/>
          <p14:tracePt t="72645" x="7154863" y="6310313"/>
          <p14:tracePt t="72646" x="7167563" y="6310313"/>
          <p14:tracePt t="72647" x="7183438" y="6310313"/>
          <p14:tracePt t="72648" x="7202488" y="6310313"/>
          <p14:tracePt t="72649" x="7215188" y="6310313"/>
          <p14:tracePt t="72650" x="7231063" y="6310313"/>
          <p14:tracePt t="72651" x="7243763" y="6310313"/>
          <p14:tracePt t="72652" x="7254875" y="6310313"/>
          <p14:tracePt t="72653" x="7275513" y="6318250"/>
          <p14:tracePt t="72655" x="7294563" y="6318250"/>
          <p14:tracePt t="72656" x="7307263" y="6318250"/>
          <p14:tracePt t="72657" x="7323138" y="6318250"/>
          <p14:tracePt t="72658" x="7335838" y="6318250"/>
          <p14:tracePt t="72659" x="7370763" y="6318250"/>
          <p14:tracePt t="72660" x="7383463" y="6318250"/>
          <p14:tracePt t="72662" x="7394575" y="6318250"/>
          <p14:tracePt t="72662" x="7412038" y="6318250"/>
          <p14:tracePt t="72663" x="7423150" y="6318250"/>
          <p14:tracePt t="72664" x="7443788" y="6318250"/>
          <p14:tracePt t="72665" x="7451725" y="6318250"/>
          <p14:tracePt t="72666" x="7462838" y="6318250"/>
          <p14:tracePt t="72667" x="7478713" y="6318250"/>
          <p14:tracePt t="72668" x="7499350" y="6313488"/>
          <p14:tracePt t="72669" x="7512050" y="6313488"/>
          <p14:tracePt t="72671" x="7527925" y="6313488"/>
          <p14:tracePt t="72671" x="7535863" y="6313488"/>
          <p14:tracePt t="72672" x="7546975" y="6313488"/>
          <p14:tracePt t="72674" x="7562850" y="6310313"/>
          <p14:tracePt t="72675" x="7578725" y="6310313"/>
          <p14:tracePt t="72675" x="7588250" y="6310313"/>
          <p14:tracePt t="72676" x="7604125" y="6305550"/>
          <p14:tracePt t="72677" x="7615238" y="6305550"/>
          <p14:tracePt t="72679" x="7631113" y="6305550"/>
          <p14:tracePt t="72679" x="7643813" y="6300788"/>
          <p14:tracePt t="72680" x="7659688" y="6300788"/>
          <p14:tracePt t="72681" x="7670800" y="6300788"/>
          <p14:tracePt t="72682" x="7688263" y="6297613"/>
          <p14:tracePt t="72683" x="7696200" y="6297613"/>
          <p14:tracePt t="72684" x="7715250" y="6292850"/>
          <p14:tracePt t="72685" x="7727950" y="6292850"/>
          <p14:tracePt t="72686" x="7739063" y="6292850"/>
          <p14:tracePt t="72687" x="7751763" y="6284913"/>
          <p14:tracePt t="72688" x="7767638" y="6281738"/>
          <p14:tracePt t="72689" x="7783513" y="6281738"/>
          <p14:tracePt t="72690" x="7796213" y="6276975"/>
          <p14:tracePt t="72692" x="7804150" y="6276975"/>
          <p14:tracePt t="72693" x="7820025" y="6273800"/>
          <p14:tracePt t="72693" x="7831138" y="6273800"/>
          <p14:tracePt t="72695" x="7847013" y="6269038"/>
          <p14:tracePt t="72696" x="7859713" y="6269038"/>
          <p14:tracePt t="72696" x="7875588" y="6269038"/>
          <p14:tracePt t="72697" x="7883525" y="6265863"/>
          <p14:tracePt t="72698" x="7896225" y="6257925"/>
          <p14:tracePt t="72699" x="7912100" y="6257925"/>
          <p14:tracePt t="72700" x="7920038" y="6253163"/>
          <p14:tracePt t="72701" x="7927975" y="6253163"/>
          <p14:tracePt t="72702" x="7935913" y="6249988"/>
          <p14:tracePt t="72703" x="7951788" y="6249988"/>
          <p14:tracePt t="72704" x="7959725" y="6245225"/>
          <p14:tracePt t="72705" x="7972425" y="6242050"/>
          <p14:tracePt t="72707" x="7983538" y="6237288"/>
          <p14:tracePt t="72708" x="7991475" y="6237288"/>
          <p14:tracePt t="72710" x="8007350" y="6234113"/>
          <p14:tracePt t="72711" x="8015288" y="6229350"/>
          <p14:tracePt t="72711" x="8023225" y="6226175"/>
          <p14:tracePt t="72712" x="8027988" y="6226175"/>
          <p14:tracePt t="72713" x="8035925" y="6221413"/>
          <p14:tracePt t="72714" x="8043863" y="6216650"/>
          <p14:tracePt t="72715" x="8051800" y="6216650"/>
          <p14:tracePt t="72716" x="8064500" y="6208713"/>
          <p14:tracePt t="72718" x="8072438" y="6208713"/>
          <p14:tracePt t="72719" x="8075613" y="6205538"/>
          <p14:tracePt t="72720" x="8083550" y="6200775"/>
          <p14:tracePt t="72721" x="8091488" y="6200775"/>
          <p14:tracePt t="72723" x="8096250" y="6197600"/>
          <p14:tracePt t="72724" x="8099425" y="6197600"/>
          <p14:tracePt t="72724" x="8104188" y="6192838"/>
          <p14:tracePt t="72727" x="8112125" y="6189663"/>
          <p14:tracePt t="72728" x="8120063" y="6181725"/>
          <p14:tracePt t="72729" x="8123238" y="6176963"/>
          <p14:tracePt t="72730" x="8128000" y="6176963"/>
          <p14:tracePt t="72731" x="8128000" y="6173788"/>
          <p14:tracePt t="72732" x="8132763" y="6173788"/>
          <p14:tracePt t="72733" x="8135938" y="6169025"/>
          <p14:tracePt t="72734" x="8135938" y="6165850"/>
          <p14:tracePt t="72735" x="8140700" y="6165850"/>
          <p14:tracePt t="72736" x="8140700" y="6161088"/>
          <p14:tracePt t="72737" x="8143875" y="6161088"/>
          <p14:tracePt t="72738" x="8148638" y="6161088"/>
          <p14:tracePt t="72739" x="8151813" y="6157913"/>
          <p14:tracePt t="72742" x="8156575" y="6157913"/>
          <p14:tracePt t="72743" x="8156575" y="6153150"/>
          <p14:tracePt t="72744" x="8159750" y="6149975"/>
          <p14:tracePt t="72745" x="8159750" y="6145213"/>
          <p14:tracePt t="72749" x="8159750" y="6142038"/>
          <p14:tracePt t="72750" x="8164513" y="6137275"/>
          <p14:tracePt t="72752" x="8167688" y="6137275"/>
          <p14:tracePt t="72754" x="8172450" y="6134100"/>
          <p14:tracePt t="72758" x="8172450" y="6129338"/>
          <p14:tracePt t="72761" x="8172450" y="6124575"/>
          <p14:tracePt t="72765" x="8172450" y="6121400"/>
          <p14:tracePt t="72767" x="8175625" y="6121400"/>
          <p14:tracePt t="72775" x="8175625" y="6116638"/>
          <p14:tracePt t="72783" x="8175625" y="6113463"/>
          <p14:tracePt t="72785" x="8180388" y="6113463"/>
          <p14:tracePt t="72790" x="8180388" y="6108700"/>
          <p14:tracePt t="72795" x="8180388" y="6105525"/>
          <p14:tracePt t="72801" x="8180388" y="6100763"/>
          <p14:tracePt t="72802" x="8183563" y="6100763"/>
          <p14:tracePt t="72814" x="8183563" y="6097588"/>
          <p14:tracePt t="72820" x="8183563" y="6092825"/>
          <p14:tracePt t="72822" x="8188325" y="6092825"/>
          <p14:tracePt t="72824" x="8188325" y="6089650"/>
          <p14:tracePt t="72826" x="8188325" y="6084888"/>
          <p14:tracePt t="72833" x="8188325" y="6081713"/>
          <p14:tracePt t="72843" x="8188325" y="6076950"/>
          <p14:tracePt t="72846" x="8188325" y="6073775"/>
          <p14:tracePt t="72849" x="8188325" y="6069013"/>
          <p14:tracePt t="72854" x="8188325" y="6065838"/>
          <p14:tracePt t="72863" x="8188325" y="6061075"/>
          <p14:tracePt t="73000" x="8188325" y="6057900"/>
          <p14:tracePt t="73018" x="8188325" y="6053138"/>
          <p14:tracePt t="73021" x="8188325" y="6049963"/>
          <p14:tracePt t="73026" x="8188325" y="6045200"/>
          <p14:tracePt t="73029" x="8183563" y="6045200"/>
          <p14:tracePt t="73035" x="8180388" y="6045200"/>
          <p14:tracePt t="73038" x="8180388" y="6042025"/>
          <p14:tracePt t="73041" x="8175625" y="6042025"/>
          <p14:tracePt t="73063" x="8172450" y="6042025"/>
          <p14:tracePt t="73065" x="8167688" y="6042025"/>
          <p14:tracePt t="73068" x="8164513" y="6042025"/>
          <p14:tracePt t="73071" x="8159750" y="6042025"/>
          <p14:tracePt t="73072" x="8159750" y="6037263"/>
          <p14:tracePt t="73073" x="8156575" y="6037263"/>
          <p14:tracePt t="73074" x="8151813" y="6037263"/>
          <p14:tracePt t="73077" x="8148638" y="6032500"/>
          <p14:tracePt t="73079" x="8143875" y="6032500"/>
          <p14:tracePt t="73081" x="8140700" y="6032500"/>
          <p14:tracePt t="73082" x="8135938" y="6029325"/>
          <p14:tracePt t="73082" x="8132763" y="6029325"/>
          <p14:tracePt t="73085" x="8128000" y="6029325"/>
          <p14:tracePt t="73087" x="8123238" y="6029325"/>
          <p14:tracePt t="73088" x="8120063" y="6029325"/>
          <p14:tracePt t="73089" x="8115300" y="6024563"/>
          <p14:tracePt t="73091" x="8112125" y="6024563"/>
          <p14:tracePt t="73092" x="8107363" y="6024563"/>
          <p14:tracePt t="73093" x="8104188" y="6024563"/>
          <p14:tracePt t="73093" x="8099425" y="6021388"/>
          <p14:tracePt t="73095" x="8096250" y="6021388"/>
          <p14:tracePt t="73096" x="8091488" y="6021388"/>
          <p14:tracePt t="73098" x="8088313" y="6021388"/>
          <p14:tracePt t="73099" x="8083550" y="6021388"/>
          <p14:tracePt t="73099" x="8080375" y="6021388"/>
          <p14:tracePt t="73100" x="8075613" y="6016625"/>
          <p14:tracePt t="73101" x="8072438" y="6016625"/>
          <p14:tracePt t="73102" x="8067675" y="6016625"/>
          <p14:tracePt t="73104" x="8059738" y="6013450"/>
          <p14:tracePt t="73105" x="8056563" y="6013450"/>
          <p14:tracePt t="73107" x="8048625" y="6013450"/>
          <p14:tracePt t="73108" x="8043863" y="6013450"/>
          <p14:tracePt t="73111" x="8035925" y="6008688"/>
          <p14:tracePt t="73112" x="8031163" y="6008688"/>
          <p14:tracePt t="73112" x="8027988" y="6008688"/>
          <p14:tracePt t="73114" x="8023225" y="6008688"/>
          <p14:tracePt t="73114" x="8015288" y="6008688"/>
          <p14:tracePt t="73116" x="8012113" y="6005513"/>
          <p14:tracePt t="73117" x="8007350" y="6005513"/>
          <p14:tracePt t="73117" x="7999413" y="6005513"/>
          <p14:tracePt t="73119" x="7996238" y="6005513"/>
          <p14:tracePt t="73119" x="7991475" y="6000750"/>
          <p14:tracePt t="73120" x="7983538" y="6000750"/>
          <p14:tracePt t="73122" x="7980363" y="6000750"/>
          <p14:tracePt t="73123" x="7972425" y="5997575"/>
          <p14:tracePt t="73124" x="7964488" y="5997575"/>
          <p14:tracePt t="73125" x="7959725" y="5992813"/>
          <p14:tracePt t="73126" x="7951788" y="5992813"/>
          <p14:tracePt t="73127" x="7948613" y="5992813"/>
          <p14:tracePt t="73129" x="7939088" y="5989638"/>
          <p14:tracePt t="73130" x="7931150" y="5989638"/>
          <p14:tracePt t="73131" x="7923213" y="5989638"/>
          <p14:tracePt t="73132" x="7920038" y="5984875"/>
          <p14:tracePt t="73132" x="7912100" y="5984875"/>
          <p14:tracePt t="73133" x="7907338" y="5984875"/>
          <p14:tracePt t="73134" x="7899400" y="5981700"/>
          <p14:tracePt t="73135" x="7891463" y="5981700"/>
          <p14:tracePt t="73136" x="7888288" y="5981700"/>
          <p14:tracePt t="73137" x="7880350" y="5976938"/>
          <p14:tracePt t="73139" x="7867650" y="5976938"/>
          <p14:tracePt t="73141" x="7854950" y="5976938"/>
          <p14:tracePt t="73142" x="7851775" y="5973763"/>
          <p14:tracePt t="73142" x="7843838" y="5973763"/>
          <p14:tracePt t="73144" x="7835900" y="5973763"/>
          <p14:tracePt t="73145" x="7827963" y="5969000"/>
          <p14:tracePt t="73145" x="7820025" y="5969000"/>
          <p14:tracePt t="73146" x="7812088" y="5969000"/>
          <p14:tracePt t="73147" x="7807325" y="5965825"/>
          <p14:tracePt t="73148" x="7799388" y="5965825"/>
          <p14:tracePt t="73149" x="7791450" y="5961063"/>
          <p14:tracePt t="73150" x="7783513" y="5961063"/>
          <p14:tracePt t="73151" x="7775575" y="5953125"/>
          <p14:tracePt t="73152" x="7767638" y="5953125"/>
          <p14:tracePt t="73153" x="7762875" y="5953125"/>
          <p14:tracePt t="73155" x="7751763" y="5953125"/>
          <p14:tracePt t="73156" x="7747000" y="5953125"/>
          <p14:tracePt t="73157" x="7731125" y="5949950"/>
          <p14:tracePt t="73158" x="7727950" y="5945188"/>
          <p14:tracePt t="73159" x="7720013" y="5945188"/>
          <p14:tracePt t="73160" x="7712075" y="5940425"/>
          <p14:tracePt t="73161" x="7704138" y="5940425"/>
          <p14:tracePt t="73162" x="7699375" y="5937250"/>
          <p14:tracePt t="73163" x="7691438" y="5937250"/>
          <p14:tracePt t="73164" x="7688263" y="5937250"/>
          <p14:tracePt t="73165" x="7680325" y="5932488"/>
          <p14:tracePt t="73166" x="7675563" y="5932488"/>
          <p14:tracePt t="73167" x="7667625" y="5929313"/>
          <p14:tracePt t="73168" x="7662863" y="5929313"/>
          <p14:tracePt t="73169" x="7654925" y="5924550"/>
          <p14:tracePt t="73171" x="7651750" y="5924550"/>
          <p14:tracePt t="73171" x="7643813" y="5921375"/>
          <p14:tracePt t="73172" x="7639050" y="5921375"/>
          <p14:tracePt t="73174" x="7631113" y="5921375"/>
          <p14:tracePt t="73175" x="7627938" y="5916613"/>
          <p14:tracePt t="73175" x="7620000" y="5916613"/>
          <p14:tracePt t="73176" x="7615238" y="5916613"/>
          <p14:tracePt t="73177" x="7612063" y="5916613"/>
          <p14:tracePt t="73178" x="7612063" y="5913438"/>
          <p14:tracePt t="73179" x="7607300" y="5913438"/>
          <p14:tracePt t="73180" x="7604125" y="5908675"/>
          <p14:tracePt t="73181" x="7599363" y="5908675"/>
          <p14:tracePt t="73182" x="7596188" y="5905500"/>
          <p14:tracePt t="73183" x="7591425" y="5905500"/>
          <p14:tracePt t="73185" x="7588250" y="5905500"/>
          <p14:tracePt t="73186" x="7583488" y="5905500"/>
          <p14:tracePt t="73186" x="7578725" y="5905500"/>
          <p14:tracePt t="73187" x="7575550" y="5905500"/>
          <p14:tracePt t="73188" x="7575550" y="5900738"/>
          <p14:tracePt t="73189" x="7570788" y="5900738"/>
          <p14:tracePt t="73192" x="7567613" y="5900738"/>
          <p14:tracePt t="73193" x="7562850" y="5900738"/>
          <p14:tracePt t="73194" x="7559675" y="5897563"/>
          <p14:tracePt t="73197" x="7554913" y="5892800"/>
          <p14:tracePt t="73199" x="7551738" y="5892800"/>
          <p14:tracePt t="73202" x="7546975" y="5892800"/>
          <p14:tracePt t="73205" x="7543800" y="5892800"/>
          <p14:tracePt t="73208" x="7539038" y="5889625"/>
          <p14:tracePt t="73210" x="7535863" y="5889625"/>
          <p14:tracePt t="73213" x="7531100" y="5889625"/>
          <p14:tracePt t="73217" x="7531100" y="5884863"/>
          <p14:tracePt t="73219" x="7527925" y="5884863"/>
          <p14:tracePt t="73221" x="7523163" y="5884863"/>
          <p14:tracePt t="73224" x="7519988" y="5884863"/>
          <p14:tracePt t="73226" x="7519988" y="5881688"/>
          <p14:tracePt t="73227" x="7515225" y="5881688"/>
          <p14:tracePt t="73229" x="7512050" y="5881688"/>
          <p14:tracePt t="73231" x="7507288" y="5881688"/>
          <p14:tracePt t="73234" x="7504113" y="5881688"/>
          <p14:tracePt t="73235" x="7499350" y="5881688"/>
          <p14:tracePt t="73238" x="7494588" y="5881688"/>
          <p14:tracePt t="73240" x="7491413" y="5881688"/>
          <p14:tracePt t="73246" x="7486650" y="5881688"/>
          <p14:tracePt t="73248" x="7483475" y="5881688"/>
          <p14:tracePt t="73250" x="7478713" y="5881688"/>
          <p14:tracePt t="73252" x="7475538" y="5881688"/>
          <p14:tracePt t="73254" x="7470775" y="5881688"/>
          <p14:tracePt t="73255" x="7467600" y="5881688"/>
          <p14:tracePt t="73257" x="7462838" y="5881688"/>
          <p14:tracePt t="73259" x="7459663" y="5881688"/>
          <p14:tracePt t="73260" x="7454900" y="5881688"/>
          <p14:tracePt t="73262" x="7451725" y="5881688"/>
          <p14:tracePt t="73266" x="7446963" y="5881688"/>
          <p14:tracePt t="73268" x="7443788" y="5881688"/>
          <p14:tracePt t="73270" x="7439025" y="5881688"/>
          <p14:tracePt t="73271" x="7435850" y="5884863"/>
          <p14:tracePt t="73274" x="7431088" y="5884863"/>
          <p14:tracePt t="73275" x="7427913" y="5884863"/>
          <p14:tracePt t="73277" x="7423150" y="5884863"/>
          <p14:tracePt t="73277" x="7423150" y="5889625"/>
          <p14:tracePt t="73279" x="7419975" y="5889625"/>
          <p14:tracePt t="73280" x="7415213" y="5889625"/>
          <p14:tracePt t="73281" x="7412038" y="5889625"/>
          <p14:tracePt t="73282" x="7412038" y="5892800"/>
          <p14:tracePt t="73284" x="7407275" y="5892800"/>
          <p14:tracePt t="73286" x="7402513" y="5897563"/>
          <p14:tracePt t="73288" x="7399338" y="5897563"/>
          <p14:tracePt t="73289" x="7399338" y="5900738"/>
          <p14:tracePt t="73290" x="7394575" y="5900738"/>
          <p14:tracePt t="73291" x="7391400" y="5905500"/>
          <p14:tracePt t="73294" x="7386638" y="5905500"/>
          <p14:tracePt t="73295" x="7386638" y="5908675"/>
          <p14:tracePt t="73297" x="7378700" y="5908675"/>
          <p14:tracePt t="73297" x="7378700" y="5913438"/>
          <p14:tracePt t="73298" x="7375525" y="5913438"/>
          <p14:tracePt t="73300" x="7370763" y="5913438"/>
          <p14:tracePt t="73301" x="7370763" y="5916613"/>
          <p14:tracePt t="73304" x="7367588" y="5921375"/>
          <p14:tracePt t="73307" x="7362825" y="5921375"/>
          <p14:tracePt t="73307" x="7359650" y="5921375"/>
          <p14:tracePt t="73308" x="7354888" y="5924550"/>
          <p14:tracePt t="73310" x="7351713" y="5929313"/>
          <p14:tracePt t="73312" x="7346950" y="5929313"/>
          <p14:tracePt t="73313" x="7343775" y="5932488"/>
          <p14:tracePt t="73315" x="7339013" y="5937250"/>
          <p14:tracePt t="73317" x="7335838" y="5940425"/>
          <p14:tracePt t="73319" x="7335838" y="5945188"/>
          <p14:tracePt t="73320" x="7331075" y="5949950"/>
          <p14:tracePt t="73324" x="7327900" y="5953125"/>
          <p14:tracePt t="73325" x="7323138" y="5957888"/>
          <p14:tracePt t="73327" x="7323138" y="5961063"/>
          <p14:tracePt t="73327" x="7319963" y="5961063"/>
          <p14:tracePt t="73329" x="7315200" y="5961063"/>
          <p14:tracePt t="73330" x="7315200" y="5965825"/>
          <p14:tracePt t="73331" x="7310438" y="5969000"/>
          <p14:tracePt t="73332" x="7310438" y="5973763"/>
          <p14:tracePt t="73333" x="7307263" y="5973763"/>
          <p14:tracePt t="73334" x="7307263" y="5976938"/>
          <p14:tracePt t="73335" x="7307263" y="5981700"/>
          <p14:tracePt t="73336" x="7302500" y="5984875"/>
          <p14:tracePt t="73339" x="7302500" y="5989638"/>
          <p14:tracePt t="73339" x="7299325" y="5989638"/>
          <p14:tracePt t="73341" x="7299325" y="5992813"/>
          <p14:tracePt t="73342" x="7299325" y="5997575"/>
          <p14:tracePt t="73343" x="7294563" y="5997575"/>
          <p14:tracePt t="73343" x="7294563" y="6000750"/>
          <p14:tracePt t="73346" x="7291388" y="6005513"/>
          <p14:tracePt t="73347" x="7286625" y="6008688"/>
          <p14:tracePt t="73348" x="7286625" y="6013450"/>
          <p14:tracePt t="73349" x="7286625" y="6016625"/>
          <p14:tracePt t="73350" x="7286625" y="6021388"/>
          <p14:tracePt t="73352" x="7286625" y="6024563"/>
          <p14:tracePt t="73353" x="7286625" y="6029325"/>
          <p14:tracePt t="73355" x="7286625" y="6032500"/>
          <p14:tracePt t="73357" x="7286625" y="6042025"/>
          <p14:tracePt t="73360" x="7283450" y="6045200"/>
          <p14:tracePt t="73362" x="7283450" y="6049963"/>
          <p14:tracePt t="73362" x="7283450" y="6053138"/>
          <p14:tracePt t="73364" x="7283450" y="6057900"/>
          <p14:tracePt t="73365" x="7283450" y="6061075"/>
          <p14:tracePt t="73366" x="7283450" y="6065838"/>
          <p14:tracePt t="73367" x="7283450" y="6069013"/>
          <p14:tracePt t="73369" x="7283450" y="6073775"/>
          <p14:tracePt t="73370" x="7283450" y="6076950"/>
          <p14:tracePt t="73371" x="7283450" y="6081713"/>
          <p14:tracePt t="73374" x="7283450" y="6084888"/>
          <p14:tracePt t="73375" x="7286625" y="6089650"/>
          <p14:tracePt t="73376" x="7286625" y="6092825"/>
          <p14:tracePt t="73379" x="7291388" y="6097588"/>
          <p14:tracePt t="73379" x="7291388" y="6100763"/>
          <p14:tracePt t="73380" x="7294563" y="6105525"/>
          <p14:tracePt t="73381" x="7299325" y="6108700"/>
          <p14:tracePt t="73383" x="7302500" y="6113463"/>
          <p14:tracePt t="73384" x="7302500" y="6116638"/>
          <p14:tracePt t="73385" x="7307263" y="6121400"/>
          <p14:tracePt t="73386" x="7310438" y="6121400"/>
          <p14:tracePt t="73387" x="7315200" y="6121400"/>
          <p14:tracePt t="73388" x="7319963" y="6124575"/>
          <p14:tracePt t="73389" x="7323138" y="6129338"/>
          <p14:tracePt t="73390" x="7327900" y="6134100"/>
          <p14:tracePt t="73392" x="7331075" y="6137275"/>
          <p14:tracePt t="73393" x="7335838" y="6137275"/>
          <p14:tracePt t="73394" x="7339013" y="6142038"/>
          <p14:tracePt t="73395" x="7343775" y="6145213"/>
          <p14:tracePt t="73396" x="7346950" y="6149975"/>
          <p14:tracePt t="73397" x="7351713" y="6149975"/>
          <p14:tracePt t="73398" x="7359650" y="6153150"/>
          <p14:tracePt t="73399" x="7362825" y="6153150"/>
          <p14:tracePt t="73400" x="7370763" y="6157913"/>
          <p14:tracePt t="73401" x="7375525" y="6161088"/>
          <p14:tracePt t="73402" x="7378700" y="6161088"/>
          <p14:tracePt t="73403" x="7386638" y="6165850"/>
          <p14:tracePt t="73405" x="7391400" y="6165850"/>
          <p14:tracePt t="73405" x="7399338" y="6169025"/>
          <p14:tracePt t="73407" x="7407275" y="6169025"/>
          <p14:tracePt t="73409" x="7412038" y="6173788"/>
          <p14:tracePt t="73409" x="7419975" y="6173788"/>
          <p14:tracePt t="73410" x="7427913" y="6176963"/>
          <p14:tracePt t="73411" x="7431088" y="6176963"/>
          <p14:tracePt t="73412" x="7439025" y="6181725"/>
          <p14:tracePt t="73413" x="7443788" y="6181725"/>
          <p14:tracePt t="73414" x="7451725" y="6181725"/>
          <p14:tracePt t="73415" x="7459663" y="6184900"/>
          <p14:tracePt t="73416" x="7462838" y="6184900"/>
          <p14:tracePt t="73417" x="7470775" y="6184900"/>
          <p14:tracePt t="73418" x="7475538" y="6184900"/>
          <p14:tracePt t="73419" x="7483475" y="6189663"/>
          <p14:tracePt t="73421" x="7491413" y="6189663"/>
          <p14:tracePt t="73422" x="7499350" y="6189663"/>
          <p14:tracePt t="73422" x="7504113" y="6189663"/>
          <p14:tracePt t="73424" x="7512050" y="6189663"/>
          <p14:tracePt t="73424" x="7515225" y="6189663"/>
          <p14:tracePt t="73425" x="7523163" y="6189663"/>
          <p14:tracePt t="73426" x="7531100" y="6189663"/>
          <p14:tracePt t="73427" x="7535863" y="6189663"/>
          <p14:tracePt t="73428" x="7543800" y="6189663"/>
          <p14:tracePt t="73429" x="7551738" y="6192838"/>
          <p14:tracePt t="73430" x="7559675" y="6192838"/>
          <p14:tracePt t="73431" x="7567613" y="6192838"/>
          <p14:tracePt t="73432" x="7570788" y="6192838"/>
          <p14:tracePt t="73433" x="7578725" y="6192838"/>
          <p14:tracePt t="73435" x="7588250" y="6192838"/>
          <p14:tracePt t="73436" x="7596188" y="6192838"/>
          <p14:tracePt t="73436" x="7599363" y="6192838"/>
          <p14:tracePt t="73437" x="7607300" y="6192838"/>
          <p14:tracePt t="73438" x="7612063" y="6192838"/>
          <p14:tracePt t="73439" x="7620000" y="6192838"/>
          <p14:tracePt t="73440" x="7627938" y="6192838"/>
          <p14:tracePt t="73441" x="7631113" y="6192838"/>
          <p14:tracePt t="73442" x="7639050" y="6192838"/>
          <p14:tracePt t="73444" x="7646988" y="6192838"/>
          <p14:tracePt t="73446" x="7651750" y="6192838"/>
          <p14:tracePt t="73447" x="7659688" y="6192838"/>
          <p14:tracePt t="73447" x="7667625" y="6192838"/>
          <p14:tracePt t="73448" x="7670800" y="6192838"/>
          <p14:tracePt t="73449" x="7680325" y="6192838"/>
          <p14:tracePt t="73451" x="7688263" y="6192838"/>
          <p14:tracePt t="73452" x="7691438" y="6192838"/>
          <p14:tracePt t="73453" x="7696200" y="6192838"/>
          <p14:tracePt t="73453" x="7704138" y="6192838"/>
          <p14:tracePt t="73454" x="7707313" y="6192838"/>
          <p14:tracePt t="73455" x="7712075" y="6192838"/>
          <p14:tracePt t="73457" x="7720013" y="6192838"/>
          <p14:tracePt t="73458" x="7727950" y="6192838"/>
          <p14:tracePt t="73458" x="7731125" y="6192838"/>
          <p14:tracePt t="73459" x="7739063" y="6192838"/>
          <p14:tracePt t="73460" x="7743825" y="6192838"/>
          <p14:tracePt t="73461" x="7751763" y="6189663"/>
          <p14:tracePt t="73462" x="7754938" y="6189663"/>
          <p14:tracePt t="73463" x="7759700" y="6189663"/>
          <p14:tracePt t="73464" x="7762875" y="6189663"/>
          <p14:tracePt t="73465" x="7772400" y="6189663"/>
          <p14:tracePt t="73466" x="7780338" y="6184900"/>
          <p14:tracePt t="73467" x="7783513" y="6184900"/>
          <p14:tracePt t="73468" x="7788275" y="6184900"/>
          <p14:tracePt t="73469" x="7796213" y="6184900"/>
          <p14:tracePt t="73470" x="7799388" y="6184900"/>
          <p14:tracePt t="73471" x="7807325" y="6181725"/>
          <p14:tracePt t="73472" x="7812088" y="6181725"/>
          <p14:tracePt t="73474" x="7815263" y="6181725"/>
          <p14:tracePt t="73474" x="7823200" y="6181725"/>
          <p14:tracePt t="73475" x="7827963" y="6181725"/>
          <p14:tracePt t="73476" x="7835900" y="6181725"/>
          <p14:tracePt t="73477" x="7839075" y="6176963"/>
          <p14:tracePt t="73478" x="7843838" y="6176963"/>
          <p14:tracePt t="73479" x="7847013" y="6176963"/>
          <p14:tracePt t="73480" x="7851775" y="6176963"/>
          <p14:tracePt t="73481" x="7859713" y="6176963"/>
          <p14:tracePt t="73483" x="7864475" y="6173788"/>
          <p14:tracePt t="73484" x="7867650" y="6173788"/>
          <p14:tracePt t="73484" x="7875588" y="6173788"/>
          <p14:tracePt t="73485" x="7880350" y="6169025"/>
          <p14:tracePt t="73486" x="7888288" y="6169025"/>
          <p14:tracePt t="73487" x="7891463" y="6169025"/>
          <p14:tracePt t="73488" x="7896225" y="6165850"/>
          <p14:tracePt t="73489" x="7899400" y="6165850"/>
          <p14:tracePt t="73490" x="7907338" y="6165850"/>
          <p14:tracePt t="73492" x="7912100" y="6161088"/>
          <p14:tracePt t="73493" x="7920038" y="6161088"/>
          <p14:tracePt t="73494" x="7923213" y="6157913"/>
          <p14:tracePt t="73495" x="7927975" y="6157913"/>
          <p14:tracePt t="73496" x="7935913" y="6157913"/>
          <p14:tracePt t="73497" x="7939088" y="6153150"/>
          <p14:tracePt t="73498" x="7943850" y="6153150"/>
          <p14:tracePt t="73499" x="7948613" y="6153150"/>
          <p14:tracePt t="73500" x="7956550" y="6153150"/>
          <p14:tracePt t="73501" x="7959725" y="6153150"/>
          <p14:tracePt t="73502" x="7964488" y="6153150"/>
          <p14:tracePt t="73504" x="7967663" y="6153150"/>
          <p14:tracePt t="73505" x="7972425" y="6149975"/>
          <p14:tracePt t="73506" x="7975600" y="6149975"/>
          <p14:tracePt t="73507" x="7980363" y="6149975"/>
          <p14:tracePt t="73509" x="7983538" y="6145213"/>
          <p14:tracePt t="73509" x="7988300" y="6145213"/>
          <p14:tracePt t="73510" x="7991475" y="6145213"/>
          <p14:tracePt t="73511" x="7996238" y="6142038"/>
          <p14:tracePt t="73512" x="7999413" y="6142038"/>
          <p14:tracePt t="73513" x="8004175" y="6142038"/>
          <p14:tracePt t="73514" x="8007350" y="6137275"/>
          <p14:tracePt t="73516" x="8012113" y="6137275"/>
          <p14:tracePt t="73517" x="8015288" y="6134100"/>
          <p14:tracePt t="73518" x="8020050" y="6134100"/>
          <p14:tracePt t="73520" x="8023225" y="6134100"/>
          <p14:tracePt t="73521" x="8027988" y="6129338"/>
          <p14:tracePt t="73522" x="8031163" y="6129338"/>
          <p14:tracePt t="73524" x="8035925" y="6129338"/>
          <p14:tracePt t="73525" x="8040688" y="6129338"/>
          <p14:tracePt t="73526" x="8043863" y="6124575"/>
          <p14:tracePt t="73528" x="8048625" y="6124575"/>
          <p14:tracePt t="73530" x="8048625" y="6121400"/>
          <p14:tracePt t="73531" x="8051800" y="6121400"/>
          <p14:tracePt t="73532" x="8056563" y="6121400"/>
          <p14:tracePt t="73534" x="8059738" y="6116638"/>
          <p14:tracePt t="73535" x="8064500" y="6116638"/>
          <p14:tracePt t="73537" x="8067675" y="6116638"/>
          <p14:tracePt t="73538" x="8072438" y="6116638"/>
          <p14:tracePt t="73539" x="8072438" y="6113463"/>
          <p14:tracePt t="73540" x="8075613" y="6113463"/>
          <p14:tracePt t="73541" x="8080375" y="6113463"/>
          <p14:tracePt t="73543" x="8083550" y="6113463"/>
          <p14:tracePt t="73546" x="8088313" y="6113463"/>
          <p14:tracePt t="73549" x="8091488" y="6113463"/>
          <p14:tracePt t="73552" x="8096250" y="6113463"/>
          <p14:tracePt t="73554" x="8099425" y="6113463"/>
          <p14:tracePt t="73558" x="8104188" y="6113463"/>
          <p14:tracePt t="73561" x="8104188" y="6108700"/>
          <p14:tracePt t="73562" x="8107363" y="6108700"/>
          <p14:tracePt t="73568" x="8112125" y="6108700"/>
          <p14:tracePt t="73572" x="8115300" y="6108700"/>
          <p14:tracePt t="73577" x="8120063" y="6108700"/>
          <p14:tracePt t="73584" x="8123238" y="6108700"/>
          <p14:tracePt t="73591" x="8128000" y="6105525"/>
          <p14:tracePt t="73607" x="8132763" y="6105525"/>
          <p14:tracePt t="73612" x="8135938" y="6105525"/>
          <p14:tracePt t="73613" x="8140700" y="6105525"/>
          <p14:tracePt t="73616" x="8143875" y="6105525"/>
          <p14:tracePt t="73619" x="8148638" y="6105525"/>
          <p14:tracePt t="73621" x="8151813" y="6100763"/>
          <p14:tracePt t="73622" x="8156575" y="6100763"/>
          <p14:tracePt t="73624" x="8159750" y="6100763"/>
          <p14:tracePt t="73625" x="8164513" y="6100763"/>
          <p14:tracePt t="73625" x="8167688" y="6100763"/>
          <p14:tracePt t="73629" x="8172450" y="6097588"/>
          <p14:tracePt t="73629" x="8175625" y="6097588"/>
          <p14:tracePt t="73632" x="8180388" y="6097588"/>
          <p14:tracePt t="73633" x="8183563" y="6097588"/>
          <p14:tracePt t="73634" x="8188325" y="6097588"/>
          <p14:tracePt t="73634" x="8191500" y="6092825"/>
          <p14:tracePt t="73635" x="8196263" y="6092825"/>
          <p14:tracePt t="73636" x="8199438" y="6092825"/>
          <p14:tracePt t="73637" x="8204200" y="6092825"/>
          <p14:tracePt t="73638" x="8207375" y="6092825"/>
          <p14:tracePt t="73641" x="8215313" y="6092825"/>
          <p14:tracePt t="73643" x="8220075" y="6092825"/>
          <p14:tracePt t="73644" x="8224838" y="6092825"/>
          <p14:tracePt t="73644" x="8228013" y="6089650"/>
          <p14:tracePt t="73645" x="8232775" y="6089650"/>
          <p14:tracePt t="73646" x="8240713" y="6089650"/>
          <p14:tracePt t="73647" x="8243888" y="6089650"/>
          <p14:tracePt t="73648" x="8251825" y="6089650"/>
          <p14:tracePt t="73649" x="8256588" y="6089650"/>
          <p14:tracePt t="73650" x="8259763" y="6089650"/>
          <p14:tracePt t="73651" x="8267700" y="6084888"/>
          <p14:tracePt t="73652" x="8272463" y="6084888"/>
          <p14:tracePt t="73654" x="8280400" y="6084888"/>
          <p14:tracePt t="73654" x="8280400" y="6081713"/>
          <p14:tracePt t="73655" x="8288338" y="6081713"/>
          <p14:tracePt t="73657" x="8299450" y="6081713"/>
          <p14:tracePt t="73659" x="8307388" y="6076950"/>
          <p14:tracePt t="73660" x="8312150" y="6076950"/>
          <p14:tracePt t="73660" x="8320088" y="6076950"/>
          <p14:tracePt t="73661" x="8328025" y="6076950"/>
          <p14:tracePt t="73662" x="8332788" y="6076950"/>
          <p14:tracePt t="73663" x="8335963" y="6073775"/>
          <p14:tracePt t="73664" x="8343900" y="6073775"/>
          <p14:tracePt t="73665" x="8348663" y="6073775"/>
          <p14:tracePt t="73666" x="8356600" y="6073775"/>
          <p14:tracePt t="73667" x="8359775" y="6073775"/>
          <p14:tracePt t="73668" x="8367713" y="6073775"/>
          <p14:tracePt t="73670" x="8372475" y="6069013"/>
          <p14:tracePt t="73671" x="8375650" y="6069013"/>
          <p14:tracePt t="73671" x="8388350" y="6069013"/>
          <p14:tracePt t="73674" x="8396288" y="6065838"/>
          <p14:tracePt t="73675" x="8401050" y="6065838"/>
          <p14:tracePt t="73675" x="8408988" y="6065838"/>
          <p14:tracePt t="73676" x="8416925" y="6065838"/>
          <p14:tracePt t="73677" x="8420100" y="6061075"/>
          <p14:tracePt t="73678" x="8424863" y="6061075"/>
          <p14:tracePt t="73679" x="8432800" y="6061075"/>
          <p14:tracePt t="73680" x="8435975" y="6061075"/>
          <p14:tracePt t="73681" x="8443913" y="6061075"/>
          <p14:tracePt t="73682" x="8448675" y="6061075"/>
          <p14:tracePt t="73683" x="8456613" y="6061075"/>
          <p14:tracePt t="73684" x="8459788" y="6061075"/>
          <p14:tracePt t="73685" x="8464550" y="6061075"/>
          <p14:tracePt t="73686" x="8472488" y="6057900"/>
          <p14:tracePt t="73687" x="8480425" y="6057900"/>
          <p14:tracePt t="73688" x="8483600" y="6057900"/>
          <p14:tracePt t="73690" x="8493125" y="6057900"/>
          <p14:tracePt t="73692" x="8496300" y="6053138"/>
          <p14:tracePt t="73692" x="8504238" y="6053138"/>
          <p14:tracePt t="73693" x="8509000" y="6053138"/>
          <p14:tracePt t="73695" x="8512175" y="6049963"/>
          <p14:tracePt t="73696" x="8520113" y="6049963"/>
          <p14:tracePt t="73696" x="8524875" y="6049963"/>
          <p14:tracePt t="73697" x="8532813" y="6049963"/>
          <p14:tracePt t="73698" x="8535988" y="6049963"/>
          <p14:tracePt t="73699" x="8540750" y="6049963"/>
          <p14:tracePt t="73700" x="8543925" y="6045200"/>
          <p14:tracePt t="73702" x="8551863" y="6045200"/>
          <p14:tracePt t="73703" x="8559800" y="6045200"/>
          <p14:tracePt t="73704" x="8564563" y="6045200"/>
          <p14:tracePt t="73705" x="8567738" y="6042025"/>
          <p14:tracePt t="73706" x="8575675" y="6042025"/>
          <p14:tracePt t="73707" x="8580438" y="6042025"/>
          <p14:tracePt t="73708" x="8585200" y="6042025"/>
          <p14:tracePt t="73709" x="8588375" y="6037263"/>
          <p14:tracePt t="73710" x="8593138" y="6037263"/>
          <p14:tracePt t="73711" x="8601075" y="6037263"/>
          <p14:tracePt t="73712" x="8609013" y="6032500"/>
          <p14:tracePt t="73713" x="8612188" y="6032500"/>
          <p14:tracePt t="73714" x="8616950" y="6029325"/>
          <p14:tracePt t="73715" x="8620125" y="6029325"/>
          <p14:tracePt t="73716" x="8628063" y="6029325"/>
          <p14:tracePt t="73717" x="8632825" y="6029325"/>
          <p14:tracePt t="73719" x="8636000" y="6029325"/>
          <p14:tracePt t="73720" x="8640763" y="6029325"/>
          <p14:tracePt t="73721" x="8643938" y="6024563"/>
          <p14:tracePt t="73722" x="8651875" y="6024563"/>
          <p14:tracePt t="73724" x="8656638" y="6024563"/>
          <p14:tracePt t="73725" x="8659813" y="6024563"/>
          <p14:tracePt t="73726" x="8664575" y="6024563"/>
          <p14:tracePt t="73726" x="8672513" y="6021388"/>
          <p14:tracePt t="73727" x="8677275" y="6021388"/>
          <p14:tracePt t="73728" x="8680450" y="6021388"/>
          <p14:tracePt t="73729" x="8685213" y="6021388"/>
          <p14:tracePt t="73730" x="8688388" y="6021388"/>
          <p14:tracePt t="73731" x="8688388" y="6016625"/>
          <p14:tracePt t="73732" x="8696325" y="6016625"/>
          <p14:tracePt t="73733" x="8701088" y="6013450"/>
          <p14:tracePt t="73734" x="8704263" y="6013450"/>
          <p14:tracePt t="73735" x="8709025" y="6013450"/>
          <p14:tracePt t="73736" x="8716963" y="6013450"/>
          <p14:tracePt t="73737" x="8720138" y="6008688"/>
          <p14:tracePt t="73738" x="8724900" y="6008688"/>
          <p14:tracePt t="73739" x="8732838" y="6008688"/>
          <p14:tracePt t="73740" x="8736013" y="6005513"/>
          <p14:tracePt t="73742" x="8740775" y="6005513"/>
          <p14:tracePt t="73742" x="8748713" y="6005513"/>
          <p14:tracePt t="73744" x="8751888" y="6005513"/>
          <p14:tracePt t="73745" x="8761413" y="6000750"/>
          <p14:tracePt t="73746" x="8764588" y="6000750"/>
          <p14:tracePt t="73747" x="8772525" y="6000750"/>
          <p14:tracePt t="73749" x="8777288" y="6000750"/>
          <p14:tracePt t="73749" x="8780463" y="6000750"/>
          <p14:tracePt t="73750" x="8785225" y="6000750"/>
          <p14:tracePt t="73751" x="8793163" y="6000750"/>
          <p14:tracePt t="73752" x="8796338" y="6000750"/>
          <p14:tracePt t="73753" x="8804275" y="6000750"/>
          <p14:tracePt t="73754" x="8809038" y="5997575"/>
          <p14:tracePt t="73755" x="8812213" y="5997575"/>
          <p14:tracePt t="73756" x="8816975" y="5997575"/>
          <p14:tracePt t="73758" x="8820150" y="5997575"/>
          <p14:tracePt t="73758" x="8824913" y="5992813"/>
          <p14:tracePt t="73760" x="8832850" y="5992813"/>
          <p14:tracePt t="73760" x="8836025" y="5992813"/>
          <p14:tracePt t="73762" x="8840788" y="5992813"/>
          <p14:tracePt t="73762" x="8848725" y="5989638"/>
          <p14:tracePt t="73763" x="8856663" y="5989638"/>
          <p14:tracePt t="73764" x="8861425" y="5989638"/>
          <p14:tracePt t="73765" x="8869363" y="5989638"/>
          <p14:tracePt t="73766" x="8872538" y="5984875"/>
          <p14:tracePt t="73767" x="8877300" y="5984875"/>
          <p14:tracePt t="73768" x="8885238" y="5984875"/>
          <p14:tracePt t="73769" x="8888413" y="5984875"/>
          <p14:tracePt t="73770" x="8893175" y="5984875"/>
          <p14:tracePt t="73771" x="8896350" y="5984875"/>
          <p14:tracePt t="73772" x="8909050" y="5981700"/>
          <p14:tracePt t="73774" x="8912225" y="5981700"/>
          <p14:tracePt t="73775" x="8916988" y="5981700"/>
          <p14:tracePt t="73776" x="8920163" y="5981700"/>
          <p14:tracePt t="73776" x="8928100" y="5976938"/>
          <p14:tracePt t="73778" x="8936038" y="5976938"/>
          <p14:tracePt t="73779" x="8945563" y="5973763"/>
          <p14:tracePt t="73780" x="8953500" y="5973763"/>
          <p14:tracePt t="73781" x="8961438" y="5973763"/>
          <p14:tracePt t="73782" x="8964613" y="5973763"/>
          <p14:tracePt t="73783" x="8972550" y="5973763"/>
          <p14:tracePt t="73784" x="8977313" y="5969000"/>
          <p14:tracePt t="73785" x="8985250" y="5969000"/>
          <p14:tracePt t="73786" x="8993188" y="5969000"/>
          <p14:tracePt t="73787" x="9001125" y="5965825"/>
          <p14:tracePt t="73788" x="9004300" y="5965825"/>
          <p14:tracePt t="73789" x="9012238" y="5965825"/>
          <p14:tracePt t="73790" x="9017000" y="5965825"/>
          <p14:tracePt t="73791" x="9020175" y="5961063"/>
          <p14:tracePt t="73792" x="9028113" y="5961063"/>
          <p14:tracePt t="73793" x="9037638" y="5961063"/>
          <p14:tracePt t="73795" x="9040813" y="5957888"/>
          <p14:tracePt t="73797" x="9056688" y="5957888"/>
          <p14:tracePt t="73797" x="9061450" y="5953125"/>
          <p14:tracePt t="73798" x="9069388" y="5953125"/>
          <p14:tracePt t="73800" x="9072563" y="5953125"/>
          <p14:tracePt t="73801" x="9080500" y="5953125"/>
          <p14:tracePt t="73802" x="9088438" y="5949950"/>
          <p14:tracePt t="73803" x="9101138" y="5949950"/>
          <p14:tracePt t="73804" x="9101138" y="5945188"/>
          <p14:tracePt t="73805" x="9109075" y="5945188"/>
          <p14:tracePt t="73807" x="9124950" y="5940425"/>
          <p14:tracePt t="73808" x="9129713" y="5940425"/>
          <p14:tracePt t="73809" x="9132888" y="5940425"/>
          <p14:tracePt t="73811" x="9140825" y="5937250"/>
          <p14:tracePt t="73812" x="9145588" y="5937250"/>
          <p14:tracePt t="73813" x="9153525" y="5937250"/>
          <p14:tracePt t="73814" x="9161463" y="5932488"/>
          <p14:tracePt t="73814" x="9164638" y="5932488"/>
          <p14:tracePt t="73815" x="9172575" y="5932488"/>
          <p14:tracePt t="73816" x="9180513" y="5929313"/>
          <p14:tracePt t="73817" x="9185275" y="5929313"/>
          <p14:tracePt t="73818" x="9193213" y="5924550"/>
          <p14:tracePt t="73819" x="9196388" y="5924550"/>
          <p14:tracePt t="73820" x="9204325" y="5924550"/>
          <p14:tracePt t="73821" x="9209088" y="5921375"/>
          <p14:tracePt t="73822" x="9221788" y="5921375"/>
          <p14:tracePt t="73824" x="9224963" y="5916613"/>
          <p14:tracePt t="73825" x="9232900" y="5916613"/>
          <p14:tracePt t="73827" x="9245600" y="5913438"/>
          <p14:tracePt t="73828" x="9253538" y="5913438"/>
          <p14:tracePt t="73828" x="9256713" y="5908675"/>
          <p14:tracePt t="73829" x="9264650" y="5908675"/>
          <p14:tracePt t="73830" x="9269413" y="5905500"/>
          <p14:tracePt t="73831" x="9277350" y="5900738"/>
          <p14:tracePt t="73832" x="9285288" y="5900738"/>
          <p14:tracePt t="73833" x="9285288" y="5897563"/>
          <p14:tracePt t="73834" x="9293225" y="5897563"/>
          <p14:tracePt t="73835" x="9296400" y="5897563"/>
          <p14:tracePt t="73836" x="9305925" y="5892800"/>
          <p14:tracePt t="73837" x="9313863" y="5892800"/>
          <p14:tracePt t="73838" x="9317038" y="5889625"/>
          <p14:tracePt t="73839" x="9324975" y="5884863"/>
          <p14:tracePt t="73840" x="9329738" y="5884863"/>
          <p14:tracePt t="73843" x="9340850" y="5881688"/>
          <p14:tracePt t="73843" x="9345613" y="5881688"/>
          <p14:tracePt t="73844" x="9353550" y="5881688"/>
          <p14:tracePt t="73845" x="9356725" y="5876925"/>
          <p14:tracePt t="73846" x="9361488" y="5873750"/>
          <p14:tracePt t="73847" x="9369425" y="5873750"/>
          <p14:tracePt t="73848" x="9377363" y="5868988"/>
          <p14:tracePt t="73849" x="9380538" y="5865813"/>
          <p14:tracePt t="73850" x="9385300" y="5865813"/>
          <p14:tracePt t="73851" x="9393238" y="5861050"/>
          <p14:tracePt t="73852" x="9398000" y="5857875"/>
          <p14:tracePt t="73853" x="9405938" y="5857875"/>
          <p14:tracePt t="73854" x="9405938" y="5853113"/>
          <p14:tracePt t="73855" x="9413875" y="5848350"/>
          <p14:tracePt t="73857" x="9424988" y="5845175"/>
          <p14:tracePt t="73860" x="9437688" y="5837238"/>
          <p14:tracePt t="73860" x="9440863" y="5832475"/>
          <p14:tracePt t="73861" x="9448800" y="5832475"/>
          <p14:tracePt t="73862" x="9461500" y="5824538"/>
          <p14:tracePt t="73863" x="9464675" y="5824538"/>
          <p14:tracePt t="73864" x="9472613" y="5821363"/>
          <p14:tracePt t="73865" x="9472613" y="5816600"/>
          <p14:tracePt t="73866" x="9480550" y="5813425"/>
          <p14:tracePt t="73867" x="9493250" y="5808663"/>
          <p14:tracePt t="73868" x="9501188" y="5805488"/>
          <p14:tracePt t="73869" x="9505950" y="5800725"/>
          <p14:tracePt t="73870" x="9513888" y="5797550"/>
          <p14:tracePt t="73871" x="9517063" y="5792788"/>
          <p14:tracePt t="73872" x="9525000" y="5789613"/>
          <p14:tracePt t="73874" x="9537700" y="5776913"/>
          <p14:tracePt t="73877" x="9548813" y="5773738"/>
          <p14:tracePt t="73878" x="9556750" y="5765800"/>
          <p14:tracePt t="73878" x="9564688" y="5761038"/>
          <p14:tracePt t="73879" x="9574213" y="5753100"/>
          <p14:tracePt t="73880" x="9577388" y="5753100"/>
          <p14:tracePt t="73881" x="9585325" y="5748338"/>
          <p14:tracePt t="73882" x="9593263" y="5737225"/>
          <p14:tracePt t="73883" x="9598025" y="5732463"/>
          <p14:tracePt t="73884" x="9605963" y="5729288"/>
          <p14:tracePt t="73885" x="9613900" y="5721350"/>
          <p14:tracePt t="73886" x="9617075" y="5716588"/>
          <p14:tracePt t="73887" x="9632950" y="5708650"/>
          <p14:tracePt t="73888" x="9640888" y="5705475"/>
          <p14:tracePt t="73889" x="9645650" y="5700713"/>
          <p14:tracePt t="73890" x="9653588" y="5692775"/>
          <p14:tracePt t="73891" x="9661525" y="5689600"/>
          <p14:tracePt t="73893" x="9669463" y="5681663"/>
          <p14:tracePt t="73894" x="9677400" y="5668963"/>
          <p14:tracePt t="73894" x="9690100" y="5661025"/>
          <p14:tracePt t="73895" x="9698038" y="5656263"/>
          <p14:tracePt t="73896" x="9705975" y="5648325"/>
          <p14:tracePt t="73897" x="9713913" y="5637213"/>
          <p14:tracePt t="73898" x="9725025" y="5629275"/>
          <p14:tracePt t="73899" x="9732963" y="5621338"/>
          <p14:tracePt t="73900" x="9740900" y="5616575"/>
          <p14:tracePt t="73902" x="9748838" y="5605463"/>
          <p14:tracePt t="73902" x="9766300" y="5592763"/>
          <p14:tracePt t="73904" x="9774238" y="5584825"/>
          <p14:tracePt t="73906" x="9790113" y="5564188"/>
          <p14:tracePt t="73907" x="9813925" y="5540375"/>
          <p14:tracePt t="73909" x="9821863" y="5532438"/>
          <p14:tracePt t="73910" x="9829800" y="5524500"/>
          <p14:tracePt t="73911" x="9840913" y="5513388"/>
          <p14:tracePt t="73912" x="9850438" y="5505450"/>
          <p14:tracePt t="73912" x="9858375" y="5489575"/>
          <p14:tracePt t="73913" x="9869488" y="5480050"/>
          <p14:tracePt t="73914" x="9877425" y="5472113"/>
          <p14:tracePt t="73925" x="9974263" y="5364163"/>
          <p14:tracePt t="73926" x="9985375" y="5348288"/>
          <p14:tracePt t="73928" x="10013950" y="5316538"/>
          <p14:tracePt t="73930" x="10021888" y="5308600"/>
          <p14:tracePt t="73930" x="10029825" y="5292725"/>
          <p14:tracePt t="73931" x="10042525" y="5284788"/>
          <p14:tracePt t="73932" x="10058400" y="5264150"/>
          <p14:tracePt t="73933" x="10061575" y="5256213"/>
          <p14:tracePt t="73934" x="10069513" y="5240338"/>
          <p14:tracePt t="73935" x="10077450" y="5232400"/>
          <p14:tracePt t="73936" x="10090150" y="5216525"/>
          <p14:tracePt t="73937" x="10101263" y="5203825"/>
          <p14:tracePt t="73938" x="10113963" y="5187950"/>
          <p14:tracePt t="73939" x="10118725" y="5180013"/>
          <p14:tracePt t="73941" x="10126663" y="5172075"/>
          <p14:tracePt t="73941" x="10137775" y="5156200"/>
          <p14:tracePt t="73943" x="10150475" y="5140325"/>
          <p14:tracePt t="73944" x="10161588" y="5132388"/>
          <p14:tracePt t="73945" x="10169525" y="5116513"/>
          <p14:tracePt t="73945" x="10177463" y="5108575"/>
          <p14:tracePt t="73946" x="10190163" y="5095875"/>
          <p14:tracePt t="73947" x="10198100" y="5080000"/>
          <p14:tracePt t="73948" x="10206038" y="5072063"/>
          <p14:tracePt t="73949" x="10218738" y="5060950"/>
          <p14:tracePt t="73950" x="10226675" y="5048250"/>
          <p14:tracePt t="73951" x="10234613" y="5040313"/>
          <p14:tracePt t="73952" x="10250488" y="5024438"/>
          <p14:tracePt t="73953" x="10258425" y="5008563"/>
          <p14:tracePt t="73954" x="10269538" y="5000625"/>
          <p14:tracePt t="73955" x="10277475" y="4992688"/>
          <p14:tracePt t="73956" x="10285413" y="4979988"/>
          <p14:tracePt t="73957" x="10293350" y="4968875"/>
          <p14:tracePt t="73958" x="10306050" y="4960938"/>
          <p14:tracePt t="73960" x="10321925" y="4935538"/>
          <p14:tracePt t="73961" x="10334625" y="4924425"/>
          <p14:tracePt t="73962" x="10345738" y="4911725"/>
          <p14:tracePt t="73963" x="10350500" y="4903788"/>
          <p14:tracePt t="73964" x="10361613" y="4892675"/>
          <p14:tracePt t="73965" x="10369550" y="4884738"/>
          <p14:tracePt t="73966" x="10377488" y="4876800"/>
          <p14:tracePt t="73968" x="10390188" y="4860925"/>
          <p14:tracePt t="73969" x="10394950" y="4852988"/>
          <p14:tracePt t="73969" x="10402888" y="4843463"/>
          <p14:tracePt t="73970" x="10410825" y="4832350"/>
          <p14:tracePt t="73971" x="10414000" y="4824413"/>
          <p14:tracePt t="73972" x="10426700" y="4816475"/>
          <p14:tracePt t="73974" x="10434638" y="4808538"/>
          <p14:tracePt t="73974" x="10437813" y="4795838"/>
          <p14:tracePt t="73976" x="10445750" y="4787900"/>
          <p14:tracePt t="73977" x="10450513" y="4779963"/>
          <p14:tracePt t="73978" x="10466388" y="4772025"/>
          <p14:tracePt t="73978" x="10469563" y="4760913"/>
          <p14:tracePt t="73979" x="10474325" y="4751388"/>
          <p14:tracePt t="73980" x="10482263" y="4748213"/>
          <p14:tracePt t="73981" x="10490200" y="4740275"/>
          <p14:tracePt t="73982" x="10498138" y="4732338"/>
          <p14:tracePt t="73983" x="10506075" y="4719638"/>
          <p14:tracePt t="73984" x="10510838" y="4711700"/>
          <p14:tracePt t="73985" x="10518775" y="4703763"/>
          <p14:tracePt t="73986" x="10521950" y="4700588"/>
          <p14:tracePt t="73987" x="10529888" y="4687888"/>
          <p14:tracePt t="73988" x="10534650" y="4684713"/>
          <p14:tracePt t="73989" x="10542588" y="4676775"/>
          <p14:tracePt t="73991" x="10550525" y="4668838"/>
          <p14:tracePt t="73991" x="10553700" y="4659313"/>
          <p14:tracePt t="73993" x="10571163" y="4640263"/>
          <p14:tracePt t="73994" x="10574338" y="4632325"/>
          <p14:tracePt t="73995" x="10579100" y="4624388"/>
          <p14:tracePt t="73996" x="10590213" y="4616450"/>
          <p14:tracePt t="73999" x="10602913" y="4600575"/>
          <p14:tracePt t="73999" x="10606088" y="4592638"/>
          <p14:tracePt t="74000" x="10610850" y="4584700"/>
          <p14:tracePt t="74001" x="10614025" y="4572000"/>
          <p14:tracePt t="74002" x="10621963" y="4564063"/>
          <p14:tracePt t="74003" x="10626725" y="4559300"/>
          <p14:tracePt t="74004" x="10629900" y="4551363"/>
          <p14:tracePt t="74005" x="10642600" y="4543425"/>
          <p14:tracePt t="74006" x="10645775" y="4540250"/>
          <p14:tracePt t="74007" x="10650538" y="4532313"/>
          <p14:tracePt t="74008" x="10653713" y="4519613"/>
          <p14:tracePt t="74010" x="10663238" y="4511675"/>
          <p14:tracePt t="74011" x="10666413" y="4503738"/>
          <p14:tracePt t="74012" x="10671175" y="4495800"/>
          <p14:tracePt t="74012" x="10674350" y="4487863"/>
          <p14:tracePt t="74014" x="10687050" y="4475163"/>
          <p14:tracePt t="74015" x="10694988" y="4464050"/>
          <p14:tracePt t="74016" x="10698163" y="4456113"/>
          <p14:tracePt t="74017" x="10702925" y="4451350"/>
          <p14:tracePt t="74018" x="10710863" y="4440238"/>
          <p14:tracePt t="74019" x="10714038" y="4432300"/>
          <p14:tracePt t="74020" x="10718800" y="4427538"/>
          <p14:tracePt t="74021" x="10721975" y="4419600"/>
          <p14:tracePt t="74022" x="10726738" y="4408488"/>
          <p14:tracePt t="74024" x="10734675" y="4400550"/>
          <p14:tracePt t="74024" x="10737850" y="4392613"/>
          <p14:tracePt t="74026" x="10742613" y="4383088"/>
          <p14:tracePt t="74028" x="10758488" y="4367213"/>
          <p14:tracePt t="74028" x="10766425" y="4356100"/>
          <p14:tracePt t="74030" x="10771188" y="4348163"/>
          <p14:tracePt t="74030" x="10774363" y="4340225"/>
          <p14:tracePt t="74031" x="10779125" y="4332288"/>
          <p14:tracePt t="74032" x="10787063" y="4324350"/>
          <p14:tracePt t="74033" x="10795000" y="4311650"/>
          <p14:tracePt t="74034" x="10798175" y="4303713"/>
          <p14:tracePt t="74035" x="10802938" y="4295775"/>
          <p14:tracePt t="74036" x="10810875" y="4287838"/>
          <p14:tracePt t="74037" x="10814050" y="4279900"/>
          <p14:tracePt t="74038" x="10818813" y="4264025"/>
          <p14:tracePt t="74039" x="10821988" y="4256088"/>
          <p14:tracePt t="74041" x="10834688" y="4248150"/>
          <p14:tracePt t="74041" x="10839450" y="4235450"/>
          <p14:tracePt t="74043" x="10847388" y="4224338"/>
          <p14:tracePt t="74045" x="10855325" y="4203700"/>
          <p14:tracePt t="74046" x="10871200" y="4187825"/>
          <p14:tracePt t="74047" x="10879138" y="4179888"/>
          <p14:tracePt t="74048" x="10882313" y="4164013"/>
          <p14:tracePt t="74049" x="10890250" y="4156075"/>
          <p14:tracePt t="74050" x="10898188" y="4148138"/>
          <p14:tracePt t="74051" x="10902950" y="4135438"/>
          <p14:tracePt t="74052" x="10910888" y="4124325"/>
          <p14:tracePt t="74053" x="10914063" y="4116388"/>
          <p14:tracePt t="74054" x="10918825" y="4106863"/>
          <p14:tracePt t="74055" x="10931525" y="4090988"/>
          <p14:tracePt t="74057" x="10934700" y="4083050"/>
          <p14:tracePt t="74057" x="10939463" y="4075113"/>
          <p14:tracePt t="74058" x="10947400" y="4059238"/>
          <p14:tracePt t="74061" x="10963275" y="4035425"/>
          <p14:tracePt t="74062" x="10974388" y="4011613"/>
          <p14:tracePt t="74063" x="10979150" y="4003675"/>
          <p14:tracePt t="74064" x="10982325" y="3995738"/>
          <p14:tracePt t="74065" x="10987088" y="3987800"/>
          <p14:tracePt t="74066" x="10998200" y="3971925"/>
          <p14:tracePt t="74067" x="11002963" y="3963988"/>
          <p14:tracePt t="74068" x="11010900" y="3956050"/>
          <p14:tracePt t="74069" x="11014075" y="3948113"/>
          <p14:tracePt t="74070" x="11018838" y="3935413"/>
          <p14:tracePt t="74071" x="11031538" y="3927475"/>
          <p14:tracePt t="74072" x="11034713" y="3914775"/>
          <p14:tracePt t="74074" x="11042650" y="3903663"/>
          <p14:tracePt t="74074" x="11047413" y="3895725"/>
          <p14:tracePt t="74077" x="11063288" y="3879850"/>
          <p14:tracePt t="74078" x="11074400" y="3859213"/>
          <p14:tracePt t="74079" x="11079163" y="3851275"/>
          <p14:tracePt t="74080" x="11087100" y="3843338"/>
          <p14:tracePt t="74081" x="11090275" y="3835400"/>
          <p14:tracePt t="74082" x="11095038" y="3822700"/>
          <p14:tracePt t="74083" x="11106150" y="3814763"/>
          <p14:tracePt t="74084" x="11110913" y="3806825"/>
          <p14:tracePt t="74085" x="11115675" y="3798888"/>
          <p14:tracePt t="74086" x="11123613" y="3787775"/>
          <p14:tracePt t="74087" x="11126788" y="3787775"/>
          <p14:tracePt t="74088" x="11131550" y="3771900"/>
          <p14:tracePt t="74089" x="11139488" y="3767138"/>
          <p14:tracePt t="74091" x="11142663" y="3759200"/>
          <p14:tracePt t="74091" x="11150600" y="3751263"/>
          <p14:tracePt t="74093" x="11158538" y="3743325"/>
          <p14:tracePt t="74095" x="11166475" y="3730625"/>
          <p14:tracePt t="74095" x="11171238" y="3727450"/>
          <p14:tracePt t="74096" x="11179175" y="3719513"/>
          <p14:tracePt t="74097" x="11182350" y="3714750"/>
          <p14:tracePt t="74098" x="11187113" y="3706813"/>
          <p14:tracePt t="74099" x="11195050" y="3698875"/>
          <p14:tracePt t="74100" x="11199813" y="3695700"/>
          <p14:tracePt t="74101" x="11202988" y="3687763"/>
          <p14:tracePt t="74102" x="11207750" y="3683000"/>
          <p14:tracePt t="74103" x="11210925" y="3675063"/>
          <p14:tracePt t="74105" x="11215688" y="3671888"/>
          <p14:tracePt t="74105" x="11218863" y="3667125"/>
          <p14:tracePt t="74107" x="11223625" y="3654425"/>
          <p14:tracePt t="74108" x="11234738" y="3651250"/>
          <p14:tracePt t="74111" x="11239500" y="3643313"/>
          <p14:tracePt t="74112" x="11242675" y="3635375"/>
          <p14:tracePt t="74112" x="11247438" y="3630613"/>
          <p14:tracePt t="74113" x="11250613" y="3627438"/>
          <p14:tracePt t="74114" x="11255375" y="3622675"/>
          <p14:tracePt t="74115" x="11258550" y="3622675"/>
          <p14:tracePt t="74116" x="11258550" y="3619500"/>
          <p14:tracePt t="74117" x="11263313" y="3614738"/>
          <p14:tracePt t="74118" x="11266488" y="3611563"/>
          <p14:tracePt t="74119" x="11271250" y="3606800"/>
          <p14:tracePt t="74120" x="11271250" y="3603625"/>
          <p14:tracePt t="74121" x="11274425" y="3603625"/>
          <p14:tracePt t="74122" x="11279188" y="3598863"/>
          <p14:tracePt t="74124" x="11282363" y="3595688"/>
          <p14:tracePt t="74124" x="11282363" y="3590925"/>
          <p14:tracePt t="74126" x="11287125" y="3587750"/>
          <p14:tracePt t="74127" x="11291888" y="3587750"/>
          <p14:tracePt t="74128" x="11295063" y="3582988"/>
          <p14:tracePt t="74129" x="11299825" y="3582988"/>
          <p14:tracePt t="74130" x="11303000" y="3579813"/>
          <p14:tracePt t="74131" x="11303000" y="3575050"/>
          <p14:tracePt t="74133" x="11307763" y="3571875"/>
          <p14:tracePt t="74133" x="11310938" y="3567113"/>
          <p14:tracePt t="74134" x="11315700" y="3567113"/>
          <p14:tracePt t="74135" x="11315700" y="3562350"/>
          <p14:tracePt t="74136" x="11318875" y="3562350"/>
          <p14:tracePt t="74137" x="11323638" y="3559175"/>
          <p14:tracePt t="74138" x="11323638" y="3554413"/>
          <p14:tracePt t="74140" x="11326813" y="3551238"/>
          <p14:tracePt t="74142" x="11326813" y="3546475"/>
          <p14:tracePt t="74143" x="11331575" y="3543300"/>
          <p14:tracePt t="74144" x="11334750" y="3543300"/>
          <p14:tracePt t="74145" x="11339513" y="3543300"/>
          <p14:tracePt t="74147" x="11342688" y="3538538"/>
          <p14:tracePt t="74149" x="11347450" y="3535363"/>
          <p14:tracePt t="74151" x="11350625" y="3530600"/>
          <p14:tracePt t="74153" x="11355388" y="3530600"/>
          <p14:tracePt t="74155" x="11358563" y="3527425"/>
          <p14:tracePt t="74157" x="11363325" y="3522663"/>
          <p14:tracePt t="74159" x="11363325" y="3519488"/>
          <p14:tracePt t="74162" x="11366500" y="3514725"/>
          <p14:tracePt t="74164" x="11366500" y="3511550"/>
          <p14:tracePt t="74165" x="11371263" y="3511550"/>
          <p14:tracePt t="74168" x="11374438" y="3511550"/>
          <p14:tracePt t="74168" x="11374438" y="3506788"/>
          <p14:tracePt t="74169" x="11379200" y="3506788"/>
          <p14:tracePt t="74171" x="11383963" y="3506788"/>
          <p14:tracePt t="74172" x="11383963" y="3503613"/>
          <p14:tracePt t="74176" x="11387138" y="3503613"/>
          <p14:tracePt t="74181" x="11387138" y="3498850"/>
          <p14:tracePt t="74187" x="11391900" y="3498850"/>
          <p14:tracePt t="74191" x="11391900" y="3495675"/>
          <p14:tracePt t="74194" x="11395075" y="3495675"/>
          <p14:tracePt t="74198" x="11399838" y="3490913"/>
          <p14:tracePt t="74202" x="11403013" y="3490913"/>
          <p14:tracePt t="74204" x="11403013" y="3487738"/>
          <p14:tracePt t="74208" x="11403013" y="3482975"/>
          <p14:tracePt t="74212" x="11407775" y="3482975"/>
          <p14:tracePt t="74212" x="11407775" y="3479800"/>
          <p14:tracePt t="74215" x="11410950" y="3479800"/>
          <p14:tracePt t="74217" x="11410950" y="3475038"/>
          <p14:tracePt t="74218" x="11415713" y="3475038"/>
          <p14:tracePt t="74221" x="11415713" y="3470275"/>
          <p14:tracePt t="74224" x="11418888" y="3470275"/>
          <p14:tracePt t="74227" x="11423650" y="3470275"/>
          <p14:tracePt t="74227" x="11423650" y="3467100"/>
          <p14:tracePt t="74230" x="11423650" y="3462338"/>
          <p14:tracePt t="74233" x="11426825" y="3462338"/>
          <p14:tracePt t="74237" x="11426825" y="3459163"/>
          <p14:tracePt t="74238" x="11431588" y="3459163"/>
          <p14:tracePt t="74243" x="11434763" y="3459163"/>
          <p14:tracePt t="74253" x="11439525" y="3459163"/>
          <p14:tracePt t="74395" x="11434763" y="3459163"/>
          <p14:tracePt t="74502" x="11439525" y="3459163"/>
          <p14:tracePt t="74503" x="11442700" y="3459163"/>
          <p14:tracePt t="74505" x="11447463" y="3459163"/>
          <p14:tracePt t="74507" x="11455400" y="3462338"/>
          <p14:tracePt t="74508" x="11463338" y="3462338"/>
          <p14:tracePt t="74509" x="11466513" y="3467100"/>
          <p14:tracePt t="74511" x="11476038" y="3470275"/>
          <p14:tracePt t="74512" x="11479213" y="3470275"/>
          <p14:tracePt t="74513" x="11487150" y="3475038"/>
          <p14:tracePt t="74513" x="11495088" y="3475038"/>
          <p14:tracePt t="74515" x="11518900" y="3479800"/>
          <p14:tracePt t="74516" x="11526838" y="3482975"/>
          <p14:tracePt t="74518" x="11534775" y="3482975"/>
          <p14:tracePt t="74518" x="11542713" y="3490913"/>
          <p14:tracePt t="74519" x="11563350" y="3495675"/>
          <p14:tracePt t="74520" x="11571288" y="3495675"/>
          <p14:tracePt t="74521" x="11579225" y="3498850"/>
          <p14:tracePt t="74522" x="11595100" y="3503613"/>
          <p14:tracePt t="74524" x="11603038" y="3503613"/>
          <p14:tracePt t="74525" x="11623675" y="3506788"/>
          <p14:tracePt t="74526" x="11631613" y="3511550"/>
          <p14:tracePt t="74527" x="11642725" y="3511550"/>
          <p14:tracePt t="74527" x="11652250" y="3514725"/>
          <p14:tracePt t="74529" x="11663363" y="3522663"/>
          <p14:tracePt t="74531" x="11699875" y="3530600"/>
          <p14:tracePt t="74532" x="11707813" y="3530600"/>
          <p14:tracePt t="74533" x="11715750" y="3535363"/>
          <p14:tracePt t="74534" x="11726863" y="3535363"/>
          <p14:tracePt t="74535" x="11744325" y="3535363"/>
          <p14:tracePt t="74536" x="11752263" y="3538538"/>
          <p14:tracePt t="74537" x="11760200" y="3538538"/>
          <p14:tracePt t="74538" x="11768138" y="3538538"/>
          <p14:tracePt t="74539" x="11776075" y="3538538"/>
          <p14:tracePt t="74541" x="11784013" y="3543300"/>
          <p14:tracePt t="74542" x="11791950" y="3543300"/>
          <p14:tracePt t="74543" x="11799888" y="3543300"/>
          <p14:tracePt t="74543" x="11807825" y="3543300"/>
          <p14:tracePt t="74545" x="11818938" y="3546475"/>
          <p14:tracePt t="74545" x="11826875" y="3546475"/>
          <p14:tracePt t="74546" x="11836400" y="3546475"/>
          <p14:tracePt t="74547" x="11844338" y="3546475"/>
          <p14:tracePt t="74548" x="11847513" y="3546475"/>
          <p14:tracePt t="74549" x="11860213" y="3546475"/>
          <p14:tracePt t="74550" x="11863388" y="3546475"/>
          <p14:tracePt t="74551" x="11871325" y="3546475"/>
          <p14:tracePt t="74552" x="11879263" y="3546475"/>
          <p14:tracePt t="74553" x="11887200" y="3546475"/>
          <p14:tracePt t="74554" x="11895138" y="3546475"/>
          <p14:tracePt t="74555" x="11903075" y="3546475"/>
          <p14:tracePt t="74556" x="11911013" y="3546475"/>
          <p14:tracePt t="74557" x="11918950" y="3546475"/>
          <p14:tracePt t="74558" x="11928475" y="3546475"/>
          <p14:tracePt t="74560" x="11939588" y="3546475"/>
          <p14:tracePt t="74562" x="11955463" y="3546475"/>
          <p14:tracePt t="74563" x="11963400" y="3546475"/>
          <p14:tracePt t="74564" x="11979275" y="3546475"/>
          <p14:tracePt t="74564" x="11991975" y="3546475"/>
          <p14:tracePt t="74565" x="11999913" y="3546475"/>
          <p14:tracePt t="74566" x="12015788" y="3546475"/>
          <p14:tracePt t="74567" x="12023725" y="3546475"/>
          <p14:tracePt t="74568" x="12036425" y="3543300"/>
          <p14:tracePt t="74569" x="12052300" y="3543300"/>
          <p14:tracePt t="74570" x="12063413" y="3543300"/>
          <p14:tracePt t="74572" x="12071350" y="3538538"/>
          <p14:tracePt t="74572" x="12087225" y="3538538"/>
          <p14:tracePt t="74574" x="12099925" y="3538538"/>
          <p14:tracePt t="74575" x="12120563" y="3535363"/>
          <p14:tracePt t="74575" x="12128500" y="3535363"/>
          <p14:tracePt t="74576" x="12144375" y="3530600"/>
          <p14:tracePt t="74577" x="12163425" y="3530600"/>
          <p14:tracePt t="74579" x="12171363" y="3522663"/>
          <p14:tracePt t="74579" x="12184063" y="3522663"/>
        </p14:tracePtLst>
      </p14:laserTraceLst>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E87DDF46-B07A-4183-A6C4-5CFC46E95960}"/>
              </a:ext>
            </a:extLst>
          </p:cNvPr>
          <p:cNvSpPr>
            <a:spLocks noGrp="1"/>
          </p:cNvSpPr>
          <p:nvPr>
            <p:ph type="sldNum" sz="quarter" idx="12"/>
          </p:nvPr>
        </p:nvSpPr>
        <p:spPr/>
        <p:txBody>
          <a:bodyPr/>
          <a:lstStyle/>
          <a:p>
            <a:fld id="{87170177-53BE-4EA4-8CC9-5D64EAB74717}" type="slidenum">
              <a:rPr lang="cs-CZ" sz="900" smtClean="0"/>
              <a:t>8</a:t>
            </a:fld>
            <a:endParaRPr lang="cs-CZ" sz="900" dirty="0"/>
          </a:p>
        </p:txBody>
      </p:sp>
      <p:sp>
        <p:nvSpPr>
          <p:cNvPr id="4" name="Rectangle 94">
            <a:extLst>
              <a:ext uri="{FF2B5EF4-FFF2-40B4-BE49-F238E27FC236}">
                <a16:creationId xmlns:a16="http://schemas.microsoft.com/office/drawing/2014/main" id="{32C0964D-8390-4CE7-85AE-760E74072C20}"/>
              </a:ext>
            </a:extLst>
          </p:cNvPr>
          <p:cNvSpPr/>
          <p:nvPr/>
        </p:nvSpPr>
        <p:spPr>
          <a:xfrm>
            <a:off x="0" y="-17702"/>
            <a:ext cx="12192001" cy="10800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82">
            <a:extLst>
              <a:ext uri="{FF2B5EF4-FFF2-40B4-BE49-F238E27FC236}">
                <a16:creationId xmlns:a16="http://schemas.microsoft.com/office/drawing/2014/main" id="{D0E75087-D62C-461B-B63C-582B2042EDFC}"/>
              </a:ext>
            </a:extLst>
          </p:cNvPr>
          <p:cNvSpPr txBox="1"/>
          <p:nvPr/>
        </p:nvSpPr>
        <p:spPr>
          <a:xfrm>
            <a:off x="304263" y="200887"/>
            <a:ext cx="11583472" cy="584775"/>
          </a:xfrm>
          <a:prstGeom prst="rect">
            <a:avLst/>
          </a:prstGeom>
          <a:noFill/>
        </p:spPr>
        <p:txBody>
          <a:bodyPr wrap="square" rtlCol="0">
            <a:spAutoFit/>
          </a:bodyPr>
          <a:lstStyle/>
          <a:p>
            <a:r>
              <a:rPr lang="en-GB" sz="3200" b="1">
                <a:solidFill>
                  <a:schemeClr val="bg2"/>
                </a:solidFill>
                <a:latin typeface="+mj-lt"/>
              </a:rPr>
              <a:t>Procurement &amp; Purchasing</a:t>
            </a:r>
            <a:endParaRPr lang="en-GB" sz="3200">
              <a:solidFill>
                <a:schemeClr val="tx2"/>
              </a:solidFill>
            </a:endParaRPr>
          </a:p>
        </p:txBody>
      </p:sp>
      <p:sp>
        <p:nvSpPr>
          <p:cNvPr id="8" name="TextovéPole 7">
            <a:extLst>
              <a:ext uri="{FF2B5EF4-FFF2-40B4-BE49-F238E27FC236}">
                <a16:creationId xmlns:a16="http://schemas.microsoft.com/office/drawing/2014/main" id="{60F9672A-58D6-4EEB-8577-2D9CD44D60FD}"/>
              </a:ext>
            </a:extLst>
          </p:cNvPr>
          <p:cNvSpPr txBox="1"/>
          <p:nvPr/>
        </p:nvSpPr>
        <p:spPr>
          <a:xfrm>
            <a:off x="8524354" y="535358"/>
            <a:ext cx="3515514" cy="369332"/>
          </a:xfrm>
          <a:prstGeom prst="rect">
            <a:avLst/>
          </a:prstGeom>
          <a:noFill/>
        </p:spPr>
        <p:txBody>
          <a:bodyPr wrap="none" rtlCol="0">
            <a:spAutoFit/>
          </a:bodyPr>
          <a:lstStyle/>
          <a:p>
            <a:r>
              <a:rPr lang="en-GB" b="1" dirty="0">
                <a:solidFill>
                  <a:schemeClr val="bg1">
                    <a:lumMod val="85000"/>
                  </a:schemeClr>
                </a:solidFill>
              </a:rPr>
              <a:t>Passive Component Manufacturers</a:t>
            </a:r>
            <a:endParaRPr lang="cs-CZ" b="1" dirty="0">
              <a:solidFill>
                <a:schemeClr val="bg1">
                  <a:lumMod val="85000"/>
                </a:schemeClr>
              </a:solidFill>
            </a:endParaRPr>
          </a:p>
        </p:txBody>
      </p:sp>
      <p:sp>
        <p:nvSpPr>
          <p:cNvPr id="13" name="TextovéPole 12">
            <a:extLst>
              <a:ext uri="{FF2B5EF4-FFF2-40B4-BE49-F238E27FC236}">
                <a16:creationId xmlns:a16="http://schemas.microsoft.com/office/drawing/2014/main" id="{EAC5AECF-CFED-4F25-BC08-D40AC2E589E5}"/>
              </a:ext>
            </a:extLst>
          </p:cNvPr>
          <p:cNvSpPr txBox="1"/>
          <p:nvPr/>
        </p:nvSpPr>
        <p:spPr>
          <a:xfrm>
            <a:off x="372414" y="1149877"/>
            <a:ext cx="10608972" cy="1200329"/>
          </a:xfrm>
          <a:prstGeom prst="rect">
            <a:avLst/>
          </a:prstGeom>
          <a:noFill/>
        </p:spPr>
        <p:txBody>
          <a:bodyPr wrap="square">
            <a:spAutoFit/>
          </a:bodyPr>
          <a:lstStyle/>
          <a:p>
            <a:r>
              <a:rPr lang="en-US" b="1" dirty="0"/>
              <a:t>Three passive component manufacturers</a:t>
            </a:r>
            <a:r>
              <a:rPr lang="en-US" dirty="0"/>
              <a:t> were contacted by online </a:t>
            </a:r>
            <a:r>
              <a:rPr lang="en-US" b="1" dirty="0"/>
              <a:t>email support link </a:t>
            </a:r>
            <a:r>
              <a:rPr lang="en-US" dirty="0"/>
              <a:t>and questioned:</a:t>
            </a:r>
          </a:p>
          <a:p>
            <a:endParaRPr lang="en-US" dirty="0"/>
          </a:p>
          <a:p>
            <a:r>
              <a:rPr lang="en-US" dirty="0"/>
              <a:t>a] 100unit order for tantalum and ceramic automotive grade capacitors </a:t>
            </a:r>
          </a:p>
          <a:p>
            <a:r>
              <a:rPr lang="en-US" dirty="0"/>
              <a:t>b] technical question about automotive parts reliability</a:t>
            </a:r>
          </a:p>
        </p:txBody>
      </p:sp>
      <p:sp>
        <p:nvSpPr>
          <p:cNvPr id="17" name="TextovéPole 16">
            <a:extLst>
              <a:ext uri="{FF2B5EF4-FFF2-40B4-BE49-F238E27FC236}">
                <a16:creationId xmlns:a16="http://schemas.microsoft.com/office/drawing/2014/main" id="{9F2838E4-4C94-406B-B2C8-28D3EF702DB2}"/>
              </a:ext>
            </a:extLst>
          </p:cNvPr>
          <p:cNvSpPr txBox="1"/>
          <p:nvPr/>
        </p:nvSpPr>
        <p:spPr>
          <a:xfrm>
            <a:off x="1703232" y="2416041"/>
            <a:ext cx="10488768" cy="1569660"/>
          </a:xfrm>
          <a:prstGeom prst="rect">
            <a:avLst/>
          </a:prstGeom>
          <a:noFill/>
        </p:spPr>
        <p:txBody>
          <a:bodyPr wrap="square">
            <a:spAutoFit/>
          </a:bodyPr>
          <a:lstStyle/>
          <a:p>
            <a:r>
              <a:rPr lang="en-US" sz="1200" dirty="0"/>
              <a:t>The response from manufacturers on 100unit online order can vary by individual person handling the request. Feedback received sorted from the most often:</a:t>
            </a:r>
          </a:p>
          <a:p>
            <a:pPr marL="628650" lvl="1" indent="-171450">
              <a:buFont typeface="Arial" panose="020B0604020202020204" pitchFamily="34" charset="0"/>
              <a:buChar char="•"/>
            </a:pPr>
            <a:r>
              <a:rPr lang="en-US" sz="1200" dirty="0"/>
              <a:t>“for non-modular quantities please check our distributors contact list, in case of sample request please fill up this form”</a:t>
            </a:r>
          </a:p>
          <a:p>
            <a:pPr marL="628650" lvl="1" indent="-171450">
              <a:buFont typeface="Arial" panose="020B0604020202020204" pitchFamily="34" charset="0"/>
              <a:buChar char="•"/>
            </a:pPr>
            <a:r>
              <a:rPr lang="en-US" sz="1200" dirty="0"/>
              <a:t>“you can request such quantity as samples for your evaluation board, please see the link here.”</a:t>
            </a:r>
          </a:p>
          <a:p>
            <a:pPr marL="628650" lvl="1" indent="-171450">
              <a:buFont typeface="Arial" panose="020B0604020202020204" pitchFamily="34" charset="0"/>
              <a:buChar char="•"/>
            </a:pPr>
            <a:r>
              <a:rPr lang="en-US" sz="1200" dirty="0"/>
              <a:t>“no response” within two weeks after the online/email request </a:t>
            </a:r>
          </a:p>
          <a:p>
            <a:pPr lvl="1"/>
            <a:endParaRPr lang="en-US" sz="1200" dirty="0"/>
          </a:p>
          <a:p>
            <a:r>
              <a:rPr lang="en-US" sz="1200" dirty="0"/>
              <a:t>Handling of technical question:</a:t>
            </a:r>
          </a:p>
          <a:p>
            <a:pPr marL="628650" lvl="1" indent="-171450">
              <a:buFont typeface="Arial" panose="020B0604020202020204" pitchFamily="34" charset="0"/>
              <a:buChar char="•"/>
            </a:pPr>
            <a:r>
              <a:rPr lang="en-US" sz="1200" dirty="0"/>
              <a:t>“we have forwarded your question to our colleagues that will answer to you in follow up email”</a:t>
            </a:r>
          </a:p>
          <a:p>
            <a:pPr marL="628650" lvl="1" indent="-171450">
              <a:buFont typeface="Arial" panose="020B0604020202020204" pitchFamily="34" charset="0"/>
              <a:buChar char="•"/>
            </a:pPr>
            <a:r>
              <a:rPr lang="en-US" sz="1200" dirty="0"/>
              <a:t>“for technical questions please check our online knowledge library with most of the common answers”  </a:t>
            </a:r>
          </a:p>
        </p:txBody>
      </p:sp>
      <p:sp>
        <p:nvSpPr>
          <p:cNvPr id="24" name="Obdélník: se zakulacenými rohy 23">
            <a:extLst>
              <a:ext uri="{FF2B5EF4-FFF2-40B4-BE49-F238E27FC236}">
                <a16:creationId xmlns:a16="http://schemas.microsoft.com/office/drawing/2014/main" id="{AE497A74-F0D7-4D92-9FF7-1433573974C3}"/>
              </a:ext>
            </a:extLst>
          </p:cNvPr>
          <p:cNvSpPr/>
          <p:nvPr/>
        </p:nvSpPr>
        <p:spPr>
          <a:xfrm>
            <a:off x="418027" y="4143128"/>
            <a:ext cx="11407997" cy="2064489"/>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3" name="TextovéPole 22">
            <a:extLst>
              <a:ext uri="{FF2B5EF4-FFF2-40B4-BE49-F238E27FC236}">
                <a16:creationId xmlns:a16="http://schemas.microsoft.com/office/drawing/2014/main" id="{80AFA6C0-8545-4B29-8C6B-9CCADAD9E7B0}"/>
              </a:ext>
            </a:extLst>
          </p:cNvPr>
          <p:cNvSpPr txBox="1"/>
          <p:nvPr/>
        </p:nvSpPr>
        <p:spPr>
          <a:xfrm>
            <a:off x="479738" y="4264171"/>
            <a:ext cx="11346286" cy="1815882"/>
          </a:xfrm>
          <a:prstGeom prst="rect">
            <a:avLst/>
          </a:prstGeom>
          <a:noFill/>
        </p:spPr>
        <p:txBody>
          <a:bodyPr wrap="square">
            <a:spAutoFit/>
          </a:bodyPr>
          <a:lstStyle/>
          <a:p>
            <a:pPr marL="285750" indent="-285750">
              <a:buFont typeface="Arial" panose="020B0604020202020204" pitchFamily="34" charset="0"/>
              <a:buChar char="•"/>
            </a:pPr>
            <a:r>
              <a:rPr lang="en-US" sz="1600" dirty="0">
                <a:solidFill>
                  <a:schemeClr val="bg1">
                    <a:lumMod val="95000"/>
                  </a:schemeClr>
                </a:solidFill>
              </a:rPr>
              <a:t>Small volume of parts ~100 units is possible to get as a “sample” free of charge upon justification of “high” business opportunity or “interesting opportunity”. The “interesting opportunity” may include also space applications. </a:t>
            </a:r>
            <a:r>
              <a:rPr lang="en-US" sz="1600" b="1" dirty="0">
                <a:solidFill>
                  <a:schemeClr val="bg1">
                    <a:lumMod val="95000"/>
                  </a:schemeClr>
                </a:solidFill>
              </a:rPr>
              <a:t>Non-modular Qty request – ask </a:t>
            </a:r>
            <a:r>
              <a:rPr lang="en-US" sz="1600" b="1" dirty="0" err="1">
                <a:solidFill>
                  <a:schemeClr val="bg1">
                    <a:lumMod val="95000"/>
                  </a:schemeClr>
                </a:solidFill>
              </a:rPr>
              <a:t>Disty</a:t>
            </a:r>
            <a:endParaRPr lang="en-US" sz="1600" b="1" dirty="0">
              <a:solidFill>
                <a:schemeClr val="bg1">
                  <a:lumMod val="95000"/>
                </a:schemeClr>
              </a:solidFill>
            </a:endParaRPr>
          </a:p>
          <a:p>
            <a:pPr marL="285750" indent="-285750">
              <a:buFont typeface="Arial" panose="020B0604020202020204" pitchFamily="34" charset="0"/>
              <a:buChar char="•"/>
            </a:pPr>
            <a:r>
              <a:rPr lang="en-US" sz="1600" dirty="0">
                <a:solidFill>
                  <a:schemeClr val="bg1">
                    <a:lumMod val="95000"/>
                  </a:schemeClr>
                </a:solidFill>
              </a:rPr>
              <a:t>In general, it does not look to be a good idea to </a:t>
            </a:r>
            <a:r>
              <a:rPr lang="en-US" sz="1600" b="1" dirty="0">
                <a:solidFill>
                  <a:schemeClr val="bg1">
                    <a:lumMod val="95000"/>
                  </a:schemeClr>
                </a:solidFill>
              </a:rPr>
              <a:t>combine request for purchasing and technical question in one email</a:t>
            </a:r>
            <a:r>
              <a:rPr lang="en-US" sz="1600" dirty="0">
                <a:solidFill>
                  <a:schemeClr val="bg1">
                    <a:lumMod val="95000"/>
                  </a:schemeClr>
                </a:solidFill>
              </a:rPr>
              <a:t>. There are different group of support people handling such requests and co-ordination is sometimes fuzzy on side of manufacturers. </a:t>
            </a:r>
          </a:p>
          <a:p>
            <a:pPr marL="285750" indent="-285750">
              <a:buFont typeface="Arial" panose="020B0604020202020204" pitchFamily="34" charset="0"/>
              <a:buChar char="•"/>
            </a:pPr>
            <a:r>
              <a:rPr lang="en-US" sz="1600" dirty="0">
                <a:solidFill>
                  <a:schemeClr val="bg1">
                    <a:lumMod val="95000"/>
                  </a:schemeClr>
                </a:solidFill>
              </a:rPr>
              <a:t>Some manufacturers however are introducing </a:t>
            </a:r>
            <a:r>
              <a:rPr lang="en-US" sz="1600" b="1" dirty="0">
                <a:solidFill>
                  <a:schemeClr val="bg1">
                    <a:lumMod val="95000"/>
                  </a:schemeClr>
                </a:solidFill>
              </a:rPr>
              <a:t>direct contact email to their FAEs and experts online </a:t>
            </a:r>
            <a:r>
              <a:rPr lang="en-US" sz="1600" dirty="0">
                <a:solidFill>
                  <a:schemeClr val="bg1">
                    <a:lumMod val="95000"/>
                  </a:schemeClr>
                </a:solidFill>
              </a:rPr>
              <a:t>for technical questions. New trend is to have even a live chat with their experts. This seems to be a better way for getting direct, high quality response to technical questions then contacting a local manufacturer representative or writing an email to their general support email address. </a:t>
            </a:r>
          </a:p>
        </p:txBody>
      </p:sp>
      <p:sp>
        <p:nvSpPr>
          <p:cNvPr id="25" name="TextovéPole 24">
            <a:extLst>
              <a:ext uri="{FF2B5EF4-FFF2-40B4-BE49-F238E27FC236}">
                <a16:creationId xmlns:a16="http://schemas.microsoft.com/office/drawing/2014/main" id="{CF38387F-FBAC-42AC-81BF-7E756DEE9EDE}"/>
              </a:ext>
            </a:extLst>
          </p:cNvPr>
          <p:cNvSpPr txBox="1"/>
          <p:nvPr/>
        </p:nvSpPr>
        <p:spPr>
          <a:xfrm>
            <a:off x="176011" y="3712606"/>
            <a:ext cx="1444819" cy="369332"/>
          </a:xfrm>
          <a:prstGeom prst="rect">
            <a:avLst/>
          </a:prstGeom>
          <a:noFill/>
        </p:spPr>
        <p:txBody>
          <a:bodyPr wrap="none" rtlCol="0">
            <a:spAutoFit/>
          </a:bodyPr>
          <a:lstStyle/>
          <a:p>
            <a:r>
              <a:rPr lang="en-GB" b="1" dirty="0"/>
              <a:t>Observations</a:t>
            </a:r>
            <a:endParaRPr lang="cs-CZ" b="1" dirty="0"/>
          </a:p>
        </p:txBody>
      </p:sp>
      <p:sp>
        <p:nvSpPr>
          <p:cNvPr id="14" name="Zástupný symbol pro zápatí 2">
            <a:extLst>
              <a:ext uri="{FF2B5EF4-FFF2-40B4-BE49-F238E27FC236}">
                <a16:creationId xmlns:a16="http://schemas.microsoft.com/office/drawing/2014/main" id="{AFAD5AA6-9B97-425D-BC3E-9A0804DF2A06}"/>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2" name="Zvuk 1">
            <a:hlinkClick r:id="" action="ppaction://media"/>
            <a:extLst>
              <a:ext uri="{FF2B5EF4-FFF2-40B4-BE49-F238E27FC236}">
                <a16:creationId xmlns:a16="http://schemas.microsoft.com/office/drawing/2014/main" id="{93C293A9-7C89-4DB4-BFC6-053F3492DB3E}"/>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3629671547"/>
      </p:ext>
    </p:extLst>
  </p:cSld>
  <p:clrMapOvr>
    <a:masterClrMapping/>
  </p:clrMapOvr>
  <mc:AlternateContent xmlns:mc="http://schemas.openxmlformats.org/markup-compatibility/2006">
    <mc:Choice xmlns:p14="http://schemas.microsoft.com/office/powerpoint/2010/main" Requires="p14">
      <p:transition spd="slow" p14:dur="2000" advTm="79561"/>
    </mc:Choice>
    <mc:Fallback>
      <p:transition spd="slow" advTm="7956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E87DDF46-B07A-4183-A6C4-5CFC46E95960}"/>
              </a:ext>
            </a:extLst>
          </p:cNvPr>
          <p:cNvSpPr>
            <a:spLocks noGrp="1"/>
          </p:cNvSpPr>
          <p:nvPr>
            <p:ph type="sldNum" sz="quarter" idx="12"/>
          </p:nvPr>
        </p:nvSpPr>
        <p:spPr/>
        <p:txBody>
          <a:bodyPr/>
          <a:lstStyle/>
          <a:p>
            <a:fld id="{87170177-53BE-4EA4-8CC9-5D64EAB74717}" type="slidenum">
              <a:rPr lang="cs-CZ" sz="900" smtClean="0"/>
              <a:t>9</a:t>
            </a:fld>
            <a:endParaRPr lang="cs-CZ" sz="900" dirty="0"/>
          </a:p>
        </p:txBody>
      </p:sp>
      <p:sp>
        <p:nvSpPr>
          <p:cNvPr id="4" name="Rectangle 94">
            <a:extLst>
              <a:ext uri="{FF2B5EF4-FFF2-40B4-BE49-F238E27FC236}">
                <a16:creationId xmlns:a16="http://schemas.microsoft.com/office/drawing/2014/main" id="{32C0964D-8390-4CE7-85AE-760E74072C20}"/>
              </a:ext>
            </a:extLst>
          </p:cNvPr>
          <p:cNvSpPr/>
          <p:nvPr/>
        </p:nvSpPr>
        <p:spPr>
          <a:xfrm>
            <a:off x="0" y="-17702"/>
            <a:ext cx="12192001" cy="10800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82">
            <a:extLst>
              <a:ext uri="{FF2B5EF4-FFF2-40B4-BE49-F238E27FC236}">
                <a16:creationId xmlns:a16="http://schemas.microsoft.com/office/drawing/2014/main" id="{D0E75087-D62C-461B-B63C-582B2042EDFC}"/>
              </a:ext>
            </a:extLst>
          </p:cNvPr>
          <p:cNvSpPr txBox="1"/>
          <p:nvPr/>
        </p:nvSpPr>
        <p:spPr>
          <a:xfrm>
            <a:off x="304263" y="200887"/>
            <a:ext cx="11583472" cy="584775"/>
          </a:xfrm>
          <a:prstGeom prst="rect">
            <a:avLst/>
          </a:prstGeom>
          <a:noFill/>
        </p:spPr>
        <p:txBody>
          <a:bodyPr wrap="square" rtlCol="0">
            <a:spAutoFit/>
          </a:bodyPr>
          <a:lstStyle/>
          <a:p>
            <a:r>
              <a:rPr lang="cs-CZ" sz="3200" b="1" dirty="0" err="1">
                <a:solidFill>
                  <a:schemeClr val="bg2"/>
                </a:solidFill>
                <a:latin typeface="+mj-lt"/>
              </a:rPr>
              <a:t>Procurement</a:t>
            </a:r>
            <a:r>
              <a:rPr lang="cs-CZ" sz="3200" b="1" dirty="0">
                <a:solidFill>
                  <a:schemeClr val="bg2"/>
                </a:solidFill>
                <a:latin typeface="+mj-lt"/>
              </a:rPr>
              <a:t> </a:t>
            </a:r>
            <a:r>
              <a:rPr lang="en-GB" sz="3200" b="1" dirty="0">
                <a:solidFill>
                  <a:schemeClr val="bg2"/>
                </a:solidFill>
                <a:latin typeface="+mj-lt"/>
              </a:rPr>
              <a:t>&amp; Purchasing</a:t>
            </a:r>
            <a:endParaRPr lang="en-US" sz="3200" dirty="0">
              <a:solidFill>
                <a:schemeClr val="tx2"/>
              </a:solidFill>
            </a:endParaRPr>
          </a:p>
        </p:txBody>
      </p:sp>
      <p:sp>
        <p:nvSpPr>
          <p:cNvPr id="8" name="TextovéPole 7">
            <a:extLst>
              <a:ext uri="{FF2B5EF4-FFF2-40B4-BE49-F238E27FC236}">
                <a16:creationId xmlns:a16="http://schemas.microsoft.com/office/drawing/2014/main" id="{60F9672A-58D6-4EEB-8577-2D9CD44D60FD}"/>
              </a:ext>
            </a:extLst>
          </p:cNvPr>
          <p:cNvSpPr txBox="1"/>
          <p:nvPr/>
        </p:nvSpPr>
        <p:spPr>
          <a:xfrm>
            <a:off x="10575773" y="616034"/>
            <a:ext cx="1311962" cy="369332"/>
          </a:xfrm>
          <a:prstGeom prst="rect">
            <a:avLst/>
          </a:prstGeom>
          <a:noFill/>
        </p:spPr>
        <p:txBody>
          <a:bodyPr wrap="none" rtlCol="0">
            <a:spAutoFit/>
          </a:bodyPr>
          <a:lstStyle/>
          <a:p>
            <a:r>
              <a:rPr lang="en-GB" b="1" dirty="0">
                <a:solidFill>
                  <a:schemeClr val="bg1">
                    <a:lumMod val="85000"/>
                  </a:schemeClr>
                </a:solidFill>
              </a:rPr>
              <a:t>Distributors</a:t>
            </a:r>
            <a:endParaRPr lang="cs-CZ" b="1" dirty="0">
              <a:solidFill>
                <a:schemeClr val="bg1">
                  <a:lumMod val="85000"/>
                </a:schemeClr>
              </a:solidFill>
            </a:endParaRPr>
          </a:p>
        </p:txBody>
      </p:sp>
      <p:sp>
        <p:nvSpPr>
          <p:cNvPr id="24" name="Obdélník: se zakulacenými rohy 23">
            <a:extLst>
              <a:ext uri="{FF2B5EF4-FFF2-40B4-BE49-F238E27FC236}">
                <a16:creationId xmlns:a16="http://schemas.microsoft.com/office/drawing/2014/main" id="{AE497A74-F0D7-4D92-9FF7-1433573974C3}"/>
              </a:ext>
            </a:extLst>
          </p:cNvPr>
          <p:cNvSpPr/>
          <p:nvPr/>
        </p:nvSpPr>
        <p:spPr>
          <a:xfrm>
            <a:off x="418027" y="4143128"/>
            <a:ext cx="11407997" cy="2064489"/>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3" name="TextovéPole 22">
            <a:extLst>
              <a:ext uri="{FF2B5EF4-FFF2-40B4-BE49-F238E27FC236}">
                <a16:creationId xmlns:a16="http://schemas.microsoft.com/office/drawing/2014/main" id="{80AFA6C0-8545-4B29-8C6B-9CCADAD9E7B0}"/>
              </a:ext>
            </a:extLst>
          </p:cNvPr>
          <p:cNvSpPr txBox="1"/>
          <p:nvPr/>
        </p:nvSpPr>
        <p:spPr>
          <a:xfrm>
            <a:off x="479738" y="4264171"/>
            <a:ext cx="11346286" cy="2062103"/>
          </a:xfrm>
          <a:prstGeom prst="rect">
            <a:avLst/>
          </a:prstGeom>
          <a:noFill/>
        </p:spPr>
        <p:txBody>
          <a:bodyPr wrap="square">
            <a:spAutoFit/>
          </a:bodyPr>
          <a:lstStyle/>
          <a:p>
            <a:pPr marL="285750" indent="-285750">
              <a:buFont typeface="Arial" panose="020B0604020202020204" pitchFamily="34" charset="0"/>
              <a:buChar char="•"/>
            </a:pPr>
            <a:r>
              <a:rPr lang="en-US" sz="1600" dirty="0">
                <a:solidFill>
                  <a:schemeClr val="bg1">
                    <a:lumMod val="95000"/>
                  </a:schemeClr>
                </a:solidFill>
              </a:rPr>
              <a:t>No issue to order 100units of non-modular samples from all distributors</a:t>
            </a:r>
          </a:p>
          <a:p>
            <a:pPr marL="285750" indent="-285750">
              <a:buFont typeface="Arial" panose="020B0604020202020204" pitchFamily="34" charset="0"/>
              <a:buChar char="•"/>
            </a:pPr>
            <a:r>
              <a:rPr lang="en-US" sz="1600" dirty="0">
                <a:solidFill>
                  <a:schemeClr val="bg1">
                    <a:lumMod val="95000"/>
                  </a:schemeClr>
                </a:solidFill>
              </a:rPr>
              <a:t>Some distributors request “extra fee” in range of 5 EUR for non-modular quantities (tape cut)</a:t>
            </a:r>
          </a:p>
          <a:p>
            <a:pPr marL="285750" indent="-285750">
              <a:buFont typeface="Arial" panose="020B0604020202020204" pitchFamily="34" charset="0"/>
              <a:buChar char="•"/>
            </a:pPr>
            <a:r>
              <a:rPr lang="en-US" sz="1600" dirty="0">
                <a:solidFill>
                  <a:schemeClr val="bg1">
                    <a:lumMod val="95000"/>
                  </a:schemeClr>
                </a:solidFill>
              </a:rPr>
              <a:t>The tape cut by distributor may be link with other issue for MSL sensitive parts </a:t>
            </a:r>
          </a:p>
          <a:p>
            <a:pPr marL="285750" indent="-285750">
              <a:buFont typeface="Arial" panose="020B0604020202020204" pitchFamily="34" charset="0"/>
              <a:buChar char="•"/>
            </a:pPr>
            <a:r>
              <a:rPr lang="en-US" sz="1600" dirty="0">
                <a:solidFill>
                  <a:schemeClr val="bg1">
                    <a:lumMod val="95000"/>
                  </a:schemeClr>
                </a:solidFill>
              </a:rPr>
              <a:t>Automotive AEC-Q200 parts in the distributor online stocks are clearly identified and traceable</a:t>
            </a:r>
          </a:p>
          <a:p>
            <a:pPr marL="285750" indent="-285750">
              <a:buFont typeface="Arial" panose="020B0604020202020204" pitchFamily="34" charset="0"/>
              <a:buChar char="•"/>
            </a:pPr>
            <a:r>
              <a:rPr lang="en-US" sz="1600" dirty="0">
                <a:solidFill>
                  <a:schemeClr val="bg1">
                    <a:lumMod val="95000"/>
                  </a:schemeClr>
                </a:solidFill>
              </a:rPr>
              <a:t>AEC-Q200 </a:t>
            </a:r>
            <a:r>
              <a:rPr lang="en-US" sz="1600" dirty="0" err="1">
                <a:solidFill>
                  <a:schemeClr val="bg1">
                    <a:lumMod val="95000"/>
                  </a:schemeClr>
                </a:solidFill>
              </a:rPr>
              <a:t>datapackage</a:t>
            </a:r>
            <a:r>
              <a:rPr lang="en-US" sz="1600" dirty="0">
                <a:solidFill>
                  <a:schemeClr val="bg1">
                    <a:lumMod val="95000"/>
                  </a:schemeClr>
                </a:solidFill>
              </a:rPr>
              <a:t> is a legitimate request even for 100units. However, it may not be available with the product, also documentation control can be an issue. No one in the survey asked for any confidentiality agreements. All distributors in survey are providing AEC-Q200 documents as free of charge service – once/if available from manufacturer</a:t>
            </a:r>
          </a:p>
          <a:p>
            <a:endParaRPr lang="en-US" sz="1600" dirty="0">
              <a:solidFill>
                <a:schemeClr val="bg1">
                  <a:lumMod val="95000"/>
                </a:schemeClr>
              </a:solidFill>
            </a:endParaRPr>
          </a:p>
        </p:txBody>
      </p:sp>
      <p:sp>
        <p:nvSpPr>
          <p:cNvPr id="25" name="TextovéPole 24">
            <a:extLst>
              <a:ext uri="{FF2B5EF4-FFF2-40B4-BE49-F238E27FC236}">
                <a16:creationId xmlns:a16="http://schemas.microsoft.com/office/drawing/2014/main" id="{CF38387F-FBAC-42AC-81BF-7E756DEE9EDE}"/>
              </a:ext>
            </a:extLst>
          </p:cNvPr>
          <p:cNvSpPr txBox="1"/>
          <p:nvPr/>
        </p:nvSpPr>
        <p:spPr>
          <a:xfrm>
            <a:off x="176011" y="3712606"/>
            <a:ext cx="1444819" cy="369332"/>
          </a:xfrm>
          <a:prstGeom prst="rect">
            <a:avLst/>
          </a:prstGeom>
          <a:noFill/>
        </p:spPr>
        <p:txBody>
          <a:bodyPr wrap="none" rtlCol="0">
            <a:spAutoFit/>
          </a:bodyPr>
          <a:lstStyle/>
          <a:p>
            <a:r>
              <a:rPr lang="en-GB" b="1" dirty="0"/>
              <a:t>Observations</a:t>
            </a:r>
            <a:endParaRPr lang="cs-CZ" b="1" dirty="0"/>
          </a:p>
        </p:txBody>
      </p:sp>
      <p:sp>
        <p:nvSpPr>
          <p:cNvPr id="12" name="TextovéPole 11">
            <a:extLst>
              <a:ext uri="{FF2B5EF4-FFF2-40B4-BE49-F238E27FC236}">
                <a16:creationId xmlns:a16="http://schemas.microsoft.com/office/drawing/2014/main" id="{0E9820E6-122D-4962-9B46-910B379B8DB7}"/>
              </a:ext>
            </a:extLst>
          </p:cNvPr>
          <p:cNvSpPr txBox="1"/>
          <p:nvPr/>
        </p:nvSpPr>
        <p:spPr>
          <a:xfrm>
            <a:off x="372414" y="1149877"/>
            <a:ext cx="10608972" cy="1200329"/>
          </a:xfrm>
          <a:prstGeom prst="rect">
            <a:avLst/>
          </a:prstGeom>
          <a:noFill/>
        </p:spPr>
        <p:txBody>
          <a:bodyPr wrap="square">
            <a:spAutoFit/>
          </a:bodyPr>
          <a:lstStyle/>
          <a:p>
            <a:r>
              <a:rPr lang="en-US" b="1" dirty="0"/>
              <a:t>Four DISTRIBUTORS</a:t>
            </a:r>
            <a:r>
              <a:rPr lang="en-US" dirty="0"/>
              <a:t> were contacted by online </a:t>
            </a:r>
            <a:r>
              <a:rPr lang="en-US" b="1" dirty="0"/>
              <a:t>email support link </a:t>
            </a:r>
            <a:r>
              <a:rPr lang="en-US" dirty="0"/>
              <a:t>and questioned:</a:t>
            </a:r>
          </a:p>
          <a:p>
            <a:endParaRPr lang="en-US" dirty="0"/>
          </a:p>
          <a:p>
            <a:r>
              <a:rPr lang="en-US" dirty="0"/>
              <a:t>a] 100unit order for tantalum and ceramic automotive grade capacitors </a:t>
            </a:r>
          </a:p>
          <a:p>
            <a:r>
              <a:rPr lang="en-US" dirty="0"/>
              <a:t>b] technical question about automotive parts reliability</a:t>
            </a:r>
          </a:p>
        </p:txBody>
      </p:sp>
      <p:sp>
        <p:nvSpPr>
          <p:cNvPr id="16" name="TextovéPole 15">
            <a:extLst>
              <a:ext uri="{FF2B5EF4-FFF2-40B4-BE49-F238E27FC236}">
                <a16:creationId xmlns:a16="http://schemas.microsoft.com/office/drawing/2014/main" id="{83975CA6-D21E-47BE-976E-9FBB93E3D89C}"/>
              </a:ext>
            </a:extLst>
          </p:cNvPr>
          <p:cNvSpPr txBox="1"/>
          <p:nvPr/>
        </p:nvSpPr>
        <p:spPr>
          <a:xfrm>
            <a:off x="4004256" y="2446630"/>
            <a:ext cx="7934459" cy="1600438"/>
          </a:xfrm>
          <a:prstGeom prst="rect">
            <a:avLst/>
          </a:prstGeom>
          <a:noFill/>
        </p:spPr>
        <p:txBody>
          <a:bodyPr wrap="square">
            <a:spAutoFit/>
          </a:bodyPr>
          <a:lstStyle/>
          <a:p>
            <a:r>
              <a:rPr lang="en-US" sz="1400" dirty="0"/>
              <a:t>The contacted distributors types under the survey:</a:t>
            </a:r>
          </a:p>
          <a:p>
            <a:endParaRPr lang="en-US" sz="1400" dirty="0"/>
          </a:p>
          <a:p>
            <a:pPr marL="285750" indent="-285750">
              <a:buFont typeface="Arial" panose="020B0604020202020204" pitchFamily="34" charset="0"/>
              <a:buChar char="•"/>
            </a:pPr>
            <a:r>
              <a:rPr lang="en-US" sz="1400" dirty="0"/>
              <a:t>global “universal” distributor of wide range of electronic active and passive components</a:t>
            </a:r>
          </a:p>
          <a:p>
            <a:pPr marL="285750" indent="-285750">
              <a:buFont typeface="Arial" panose="020B0604020202020204" pitchFamily="34" charset="0"/>
              <a:buChar char="•"/>
            </a:pPr>
            <a:r>
              <a:rPr lang="en-US" sz="1400" dirty="0"/>
              <a:t>global  “specialist” distributor focusing passive components</a:t>
            </a:r>
          </a:p>
          <a:p>
            <a:pPr marL="285750" indent="-285750">
              <a:buFont typeface="Arial" panose="020B0604020202020204" pitchFamily="34" charset="0"/>
              <a:buChar char="•"/>
            </a:pPr>
            <a:r>
              <a:rPr lang="en-US" sz="1400" dirty="0"/>
              <a:t>“catalogue” parts distributor</a:t>
            </a:r>
          </a:p>
          <a:p>
            <a:pPr marL="285750" indent="-285750">
              <a:buFont typeface="Arial" panose="020B0604020202020204" pitchFamily="34" charset="0"/>
              <a:buChar char="•"/>
            </a:pPr>
            <a:r>
              <a:rPr lang="en-US" sz="1400" dirty="0"/>
              <a:t>COTS up-screening </a:t>
            </a:r>
            <a:r>
              <a:rPr lang="en-US" sz="1400" dirty="0" err="1"/>
              <a:t>testhouse</a:t>
            </a:r>
            <a:endParaRPr lang="en-US" sz="1400" dirty="0"/>
          </a:p>
          <a:p>
            <a:endParaRPr lang="en-US" sz="1400" dirty="0"/>
          </a:p>
        </p:txBody>
      </p:sp>
      <p:sp>
        <p:nvSpPr>
          <p:cNvPr id="14" name="Zástupný symbol pro zápatí 2">
            <a:extLst>
              <a:ext uri="{FF2B5EF4-FFF2-40B4-BE49-F238E27FC236}">
                <a16:creationId xmlns:a16="http://schemas.microsoft.com/office/drawing/2014/main" id="{E2027013-DE1E-4B9F-98A1-83E9237D1FC4}"/>
              </a:ext>
            </a:extLst>
          </p:cNvPr>
          <p:cNvSpPr>
            <a:spLocks noGrp="1"/>
          </p:cNvSpPr>
          <p:nvPr>
            <p:ph type="ftr" sz="quarter" idx="11"/>
          </p:nvPr>
        </p:nvSpPr>
        <p:spPr>
          <a:xfrm>
            <a:off x="4038600" y="6356350"/>
            <a:ext cx="4114800" cy="365125"/>
          </a:xfrm>
        </p:spPr>
        <p:txBody>
          <a:bodyPr/>
          <a:lstStyle/>
          <a:p>
            <a:r>
              <a:rPr lang="en-GB" dirty="0"/>
              <a:t>CMSE </a:t>
            </a:r>
            <a:r>
              <a:rPr lang="cs-CZ" dirty="0"/>
              <a:t>2021</a:t>
            </a:r>
          </a:p>
        </p:txBody>
      </p:sp>
      <p:pic>
        <p:nvPicPr>
          <p:cNvPr id="2" name="Zvuk 1">
            <a:hlinkClick r:id="" action="ppaction://media"/>
            <a:extLst>
              <a:ext uri="{FF2B5EF4-FFF2-40B4-BE49-F238E27FC236}">
                <a16:creationId xmlns:a16="http://schemas.microsoft.com/office/drawing/2014/main" id="{75C3CD09-2DE6-41C6-A348-43E2CC03C303}"/>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671300" y="6337300"/>
            <a:ext cx="304800" cy="304800"/>
          </a:xfrm>
          <a:prstGeom prst="rect">
            <a:avLst/>
          </a:prstGeom>
        </p:spPr>
      </p:pic>
    </p:spTree>
    <p:extLst>
      <p:ext uri="{BB962C8B-B14F-4D97-AF65-F5344CB8AC3E}">
        <p14:creationId xmlns:p14="http://schemas.microsoft.com/office/powerpoint/2010/main" val="1701805572"/>
      </p:ext>
    </p:extLst>
  </p:cSld>
  <p:clrMapOvr>
    <a:masterClrMapping/>
  </p:clrMapOvr>
  <mc:AlternateContent xmlns:mc="http://schemas.openxmlformats.org/markup-compatibility/2006">
    <mc:Choice xmlns:p14="http://schemas.microsoft.com/office/powerpoint/2010/main" Requires="p14">
      <p:transition spd="slow" p14:dur="2000" advTm="75567"/>
    </mc:Choice>
    <mc:Fallback>
      <p:transition spd="slow" advTm="7556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extLst>
    <p:ext uri="{3A86A75C-4F4B-4683-9AE1-C65F6400EC91}">
      <p14:laserTraceLst xmlns:p14="http://schemas.microsoft.com/office/powerpoint/2010/main">
        <p14:tracePtLst>
          <p14:tracePt t="60539" x="12160250" y="1720850"/>
          <p14:tracePt t="60540" x="12139613" y="1697038"/>
          <p14:tracePt t="60541" x="12123738" y="1681163"/>
          <p14:tracePt t="60542" x="12107863" y="1665288"/>
          <p14:tracePt t="60543" x="12095163" y="1654175"/>
          <p14:tracePt t="60545" x="12060238" y="1625600"/>
          <p14:tracePt t="60546" x="12044363" y="1612900"/>
          <p14:tracePt t="60547" x="12028488" y="1601788"/>
          <p14:tracePt t="60548" x="12020550" y="1593850"/>
          <p14:tracePt t="60549" x="12007850" y="1585913"/>
          <p14:tracePt t="60550" x="11991975" y="1573213"/>
          <p14:tracePt t="60551" x="11976100" y="1565275"/>
          <p14:tracePt t="60553" x="11952288" y="1544638"/>
          <p14:tracePt t="60554" x="11944350" y="1541463"/>
          <p14:tracePt t="60555" x="11931650" y="1533525"/>
          <p14:tracePt t="60556" x="11923713" y="1528763"/>
          <p14:tracePt t="60557" x="11911013" y="1520825"/>
          <p14:tracePt t="60558" x="11903075" y="1512888"/>
          <p14:tracePt t="60559" x="11899900" y="1509713"/>
          <p14:tracePt t="60561" x="11884025" y="1501775"/>
          <p14:tracePt t="60563" x="11871325" y="1497013"/>
          <p14:tracePt t="60564" x="11863388" y="1497013"/>
          <p14:tracePt t="60565" x="11860213" y="1497013"/>
          <p14:tracePt t="60566" x="11852275" y="1493838"/>
          <p14:tracePt t="60568" x="11847513" y="1489075"/>
          <p14:tracePt t="60569" x="11844338" y="1489075"/>
          <p14:tracePt t="60570" x="11836400" y="1485900"/>
          <p14:tracePt t="60571" x="11831638" y="1485900"/>
          <p14:tracePt t="60572" x="11823700" y="1485900"/>
          <p14:tracePt t="60573" x="11818938" y="1485900"/>
          <p14:tracePt t="60574" x="11815763" y="1485900"/>
          <p14:tracePt t="60575" x="11811000" y="1485900"/>
          <p14:tracePt t="60576" x="11803063" y="1481138"/>
          <p14:tracePt t="60577" x="11799888" y="1481138"/>
          <p14:tracePt t="60578" x="11795125" y="1481138"/>
          <p14:tracePt t="60579" x="11791950" y="1481138"/>
          <p14:tracePt t="60580" x="11787188" y="1481138"/>
          <p14:tracePt t="60582" x="11779250" y="1481138"/>
          <p14:tracePt t="60583" x="11776075" y="1481138"/>
          <p14:tracePt t="60584" x="11771313" y="1481138"/>
          <p14:tracePt t="60585" x="11768138" y="1481138"/>
          <p14:tracePt t="60586" x="11763375" y="1481138"/>
          <p14:tracePt t="60587" x="11755438" y="1481138"/>
          <p14:tracePt t="60588" x="11752263" y="1481138"/>
          <p14:tracePt t="60589" x="11747500" y="1481138"/>
          <p14:tracePt t="60590" x="11739563" y="1481138"/>
          <p14:tracePt t="60591" x="11734800" y="1481138"/>
          <p14:tracePt t="60592" x="11731625" y="1481138"/>
          <p14:tracePt t="60594" x="11723688" y="1481138"/>
          <p14:tracePt t="60595" x="11718925" y="1481138"/>
          <p14:tracePt t="60596" x="11715750" y="1481138"/>
          <p14:tracePt t="60597" x="11707813" y="1481138"/>
          <p14:tracePt t="60598" x="11703050" y="1485900"/>
          <p14:tracePt t="60599" x="11699875" y="1489075"/>
          <p14:tracePt t="60600" x="11691938" y="1489075"/>
          <p14:tracePt t="60601" x="11684000" y="1493838"/>
          <p14:tracePt t="60602" x="11679238" y="1497013"/>
          <p14:tracePt t="60603" x="11671300" y="1497013"/>
          <p14:tracePt t="60604" x="11668125" y="1501775"/>
          <p14:tracePt t="60605" x="11660188" y="1504950"/>
          <p14:tracePt t="60606" x="11652250" y="1504950"/>
          <p14:tracePt t="60607" x="11647488" y="1509713"/>
          <p14:tracePt t="60608" x="11639550" y="1512888"/>
          <p14:tracePt t="60609" x="11631613" y="1517650"/>
          <p14:tracePt t="60611" x="11623675" y="1525588"/>
          <p14:tracePt t="60612" x="11615738" y="1528763"/>
          <p14:tracePt t="60613" x="11610975" y="1533525"/>
          <p14:tracePt t="60614" x="11607800" y="1536700"/>
          <p14:tracePt t="60615" x="11599863" y="1541463"/>
          <p14:tracePt t="60616" x="11595100" y="1549400"/>
          <p14:tracePt t="60617" x="11591925" y="1552575"/>
          <p14:tracePt t="60618" x="11583988" y="1557338"/>
          <p14:tracePt t="60619" x="11579225" y="1562100"/>
          <p14:tracePt t="60620" x="11576050" y="1570038"/>
          <p14:tracePt t="60621" x="11568113" y="1573213"/>
          <p14:tracePt t="60622" x="11563350" y="1577975"/>
          <p14:tracePt t="60623" x="11558588" y="1581150"/>
          <p14:tracePt t="60624" x="11555413" y="1589088"/>
          <p14:tracePt t="60625" x="11547475" y="1597025"/>
          <p14:tracePt t="60626" x="11542713" y="1601788"/>
          <p14:tracePt t="60627" x="11539538" y="1604963"/>
          <p14:tracePt t="60628" x="11534775" y="1612900"/>
          <p14:tracePt t="60629" x="11531600" y="1620838"/>
          <p14:tracePt t="60631" x="11531600" y="1628775"/>
          <p14:tracePt t="60631" x="11526838" y="1633538"/>
          <p14:tracePt t="60632" x="11523663" y="1641475"/>
          <p14:tracePt t="60633" x="11518900" y="1649413"/>
          <p14:tracePt t="60634" x="11515725" y="1654175"/>
          <p14:tracePt t="60635" x="11510963" y="1665288"/>
          <p14:tracePt t="60636" x="11507788" y="1670050"/>
          <p14:tracePt t="60637" x="11507788" y="1677988"/>
          <p14:tracePt t="60638" x="11503025" y="1685925"/>
          <p14:tracePt t="60639" x="11499850" y="1693863"/>
          <p14:tracePt t="60640" x="11495088" y="1704975"/>
          <p14:tracePt t="60641" x="11491913" y="1712913"/>
          <p14:tracePt t="60642" x="11491913" y="1720850"/>
          <p14:tracePt t="60643" x="11487150" y="1728788"/>
          <p14:tracePt t="60644" x="11483975" y="1733550"/>
          <p14:tracePt t="60645" x="11479213" y="1746250"/>
          <p14:tracePt t="60646" x="11476038" y="1754188"/>
          <p14:tracePt t="60647" x="11471275" y="1762125"/>
          <p14:tracePt t="60648" x="11466513" y="1773238"/>
          <p14:tracePt t="60649" x="11463338" y="1781175"/>
          <p14:tracePt t="60650" x="11463338" y="1789113"/>
          <p14:tracePt t="60651" x="11458575" y="1797050"/>
          <p14:tracePt t="60652" x="11450638" y="1804988"/>
          <p14:tracePt t="60653" x="11450638" y="1812925"/>
          <p14:tracePt t="60654" x="11447463" y="1830388"/>
          <p14:tracePt t="60655" x="11442700" y="1838325"/>
          <p14:tracePt t="60656" x="11439525" y="1841500"/>
          <p14:tracePt t="60657" x="11439525" y="1849438"/>
          <p14:tracePt t="60658" x="11434763" y="1857375"/>
          <p14:tracePt t="60659" x="11431588" y="1873250"/>
          <p14:tracePt t="60661" x="11426825" y="1889125"/>
          <p14:tracePt t="60662" x="11423650" y="1893888"/>
          <p14:tracePt t="60663" x="11418888" y="1901825"/>
          <p14:tracePt t="60664" x="11418888" y="1909763"/>
          <p14:tracePt t="60665" x="11415713" y="1917700"/>
          <p14:tracePt t="60666" x="11410950" y="1922463"/>
          <p14:tracePt t="60667" x="11407775" y="1930400"/>
          <p14:tracePt t="60668" x="11407775" y="1938338"/>
          <p14:tracePt t="60669" x="11403013" y="1946275"/>
          <p14:tracePt t="60670" x="11399838" y="1949450"/>
          <p14:tracePt t="60671" x="11399838" y="1954213"/>
          <p14:tracePt t="60672" x="11395075" y="1962150"/>
          <p14:tracePt t="60673" x="11391900" y="1965325"/>
          <p14:tracePt t="60674" x="11391900" y="1970088"/>
          <p14:tracePt t="60675" x="11387138" y="1978025"/>
          <p14:tracePt t="60676" x="11383963" y="1981200"/>
          <p14:tracePt t="60677" x="11379200" y="1985963"/>
          <p14:tracePt t="60678" x="11374438" y="1985963"/>
          <p14:tracePt t="60679" x="11371263" y="1993900"/>
          <p14:tracePt t="60680" x="11371263" y="1997075"/>
          <p14:tracePt t="60681" x="11366500" y="2001838"/>
          <p14:tracePt t="60682" x="11366500" y="2005013"/>
          <p14:tracePt t="60683" x="11366500" y="2009775"/>
          <p14:tracePt t="60684" x="11363325" y="2014538"/>
          <p14:tracePt t="60685" x="11358563" y="2017713"/>
          <p14:tracePt t="60686" x="11355388" y="2022475"/>
          <p14:tracePt t="60687" x="11350625" y="2025650"/>
          <p14:tracePt t="60688" x="11350625" y="2030413"/>
          <p14:tracePt t="60689" x="11347450" y="2033588"/>
          <p14:tracePt t="60690" x="11342688" y="2033588"/>
          <p14:tracePt t="60691" x="11339513" y="2033588"/>
          <p14:tracePt t="60692" x="11334750" y="2038350"/>
          <p14:tracePt t="60693" x="11331575" y="2041525"/>
          <p14:tracePt t="60694" x="11326813" y="2046288"/>
          <p14:tracePt t="60695" x="11326813" y="2049463"/>
          <p14:tracePt t="60697" x="11323638" y="2054225"/>
          <p14:tracePt t="60698" x="11318875" y="2057400"/>
          <p14:tracePt t="60699" x="11315700" y="2062163"/>
          <p14:tracePt t="60700" x="11310938" y="2065338"/>
          <p14:tracePt t="60701" x="11307763" y="2065338"/>
          <p14:tracePt t="60702" x="11303000" y="2070100"/>
          <p14:tracePt t="60703" x="11299825" y="2073275"/>
          <p14:tracePt t="60705" x="11295063" y="2081213"/>
          <p14:tracePt t="60706" x="11291888" y="2081213"/>
          <p14:tracePt t="60707" x="11287125" y="2081213"/>
          <p14:tracePt t="60708" x="11282363" y="2085975"/>
          <p14:tracePt t="60709" x="11279188" y="2089150"/>
          <p14:tracePt t="60710" x="11279188" y="2093913"/>
          <p14:tracePt t="60711" x="11279188" y="2097088"/>
          <p14:tracePt t="60712" x="11274425" y="2101850"/>
          <p14:tracePt t="60713" x="11271250" y="2106613"/>
          <p14:tracePt t="60714" x="11266488" y="2109788"/>
          <p14:tracePt t="60715" x="11263313" y="2114550"/>
          <p14:tracePt t="60716" x="11258550" y="2117725"/>
          <p14:tracePt t="60717" x="11255375" y="2122488"/>
          <p14:tracePt t="60718" x="11250613" y="2122488"/>
          <p14:tracePt t="60719" x="11247438" y="2125663"/>
          <p14:tracePt t="60720" x="11242675" y="2130425"/>
          <p14:tracePt t="60721" x="11242675" y="2138363"/>
          <p14:tracePt t="60722" x="11239500" y="2141538"/>
          <p14:tracePt t="60723" x="11239500" y="2146300"/>
          <p14:tracePt t="60724" x="11231563" y="2149475"/>
          <p14:tracePt t="60725" x="11231563" y="2154238"/>
          <p14:tracePt t="60726" x="11226800" y="2157413"/>
          <p14:tracePt t="60727" x="11223625" y="2165350"/>
          <p14:tracePt t="60728" x="11218863" y="2170113"/>
          <p14:tracePt t="60729" x="11215688" y="2178050"/>
          <p14:tracePt t="60730" x="11210925" y="2181225"/>
          <p14:tracePt t="60731" x="11207750" y="2189163"/>
          <p14:tracePt t="60732" x="11207750" y="2193925"/>
          <p14:tracePt t="60733" x="11202988" y="2198688"/>
          <p14:tracePt t="60734" x="11199813" y="2209800"/>
          <p14:tracePt t="60735" x="11195050" y="2214563"/>
          <p14:tracePt t="60736" x="11190288" y="2214563"/>
          <p14:tracePt t="60737" x="11187113" y="2222500"/>
          <p14:tracePt t="60738" x="11182350" y="2233613"/>
          <p14:tracePt t="60739" x="11179175" y="2241550"/>
          <p14:tracePt t="60740" x="11174413" y="2249488"/>
          <p14:tracePt t="60741" x="11174413" y="2254250"/>
          <p14:tracePt t="60742" x="11171238" y="2262188"/>
          <p14:tracePt t="60743" x="11166475" y="2270125"/>
          <p14:tracePt t="60744" x="11163300" y="2278063"/>
          <p14:tracePt t="60745" x="11163300" y="2286000"/>
          <p14:tracePt t="60746" x="11158538" y="2290763"/>
          <p14:tracePt t="60747" x="11155363" y="2298700"/>
          <p14:tracePt t="60748" x="11155363" y="2306638"/>
          <p14:tracePt t="60749" x="11150600" y="2314575"/>
          <p14:tracePt t="60750" x="11142663" y="2325688"/>
          <p14:tracePt t="60751" x="11142663" y="2333625"/>
          <p14:tracePt t="60752" x="11139488" y="2341563"/>
          <p14:tracePt t="60753" x="11139488" y="2349500"/>
          <p14:tracePt t="60754" x="11134725" y="2357438"/>
          <p14:tracePt t="60755" x="11134725" y="2365375"/>
          <p14:tracePt t="60756" x="11131550" y="2373313"/>
          <p14:tracePt t="60757" x="11131550" y="2382838"/>
          <p14:tracePt t="60758" x="11126788" y="2393950"/>
          <p14:tracePt t="60759" x="11126788" y="2401888"/>
          <p14:tracePt t="60760" x="11123613" y="2409825"/>
          <p14:tracePt t="60761" x="11123613" y="2417763"/>
          <p14:tracePt t="60762" x="11123613" y="2422525"/>
          <p14:tracePt t="60763" x="11123613" y="2430463"/>
          <p14:tracePt t="60764" x="11123613" y="2438400"/>
          <p14:tracePt t="60765" x="11118850" y="2441575"/>
          <p14:tracePt t="60766" x="11118850" y="2449513"/>
          <p14:tracePt t="60767" x="11118850" y="2454275"/>
          <p14:tracePt t="60769" x="11118850" y="2462213"/>
          <p14:tracePt t="60770" x="11118850" y="2465388"/>
          <p14:tracePt t="60771" x="11118850" y="2470150"/>
          <p14:tracePt t="60772" x="11118850" y="2474913"/>
          <p14:tracePt t="60773" x="11118850" y="2478088"/>
          <p14:tracePt t="60774" x="11118850" y="2482850"/>
          <p14:tracePt t="60775" x="11118850" y="2486025"/>
          <p14:tracePt t="60776" x="11118850" y="2490788"/>
          <p14:tracePt t="60778" x="11118850" y="2493963"/>
          <p14:tracePt t="60780" x="11118850" y="2498725"/>
          <p14:tracePt t="60784" x="11118850" y="2501900"/>
          <p14:tracePt t="60786" x="11118850" y="2506663"/>
          <p14:tracePt t="60790" x="11118850" y="2509838"/>
          <p14:tracePt t="60795" x="11118850" y="2514600"/>
          <p14:tracePt t="60798" x="11118850" y="2517775"/>
          <p14:tracePt t="60800" x="11118850" y="2522538"/>
          <p14:tracePt t="60801" x="11115675" y="2522538"/>
          <p14:tracePt t="60803" x="11115675" y="2525713"/>
          <p14:tracePt t="60805" x="11115675" y="2530475"/>
          <p14:tracePt t="60807" x="11110913" y="2530475"/>
          <p14:tracePt t="60809" x="11110913" y="2533650"/>
          <p14:tracePt t="60810" x="11106150" y="2533650"/>
          <p14:tracePt t="60811" x="11106150" y="2538413"/>
          <p14:tracePt t="60815" x="11106150" y="2541588"/>
          <p14:tracePt t="60816" x="11102975" y="2541588"/>
          <p14:tracePt t="60817" x="11102975" y="2546350"/>
          <p14:tracePt t="60819" x="11102975" y="2549525"/>
          <p14:tracePt t="60820" x="11102975" y="2554288"/>
          <p14:tracePt t="60821" x="11102975" y="2557463"/>
          <p14:tracePt t="60822" x="11102975" y="2562225"/>
          <p14:tracePt t="60823" x="11102975" y="2566988"/>
          <p14:tracePt t="60824" x="11102975" y="2570163"/>
          <p14:tracePt t="60825" x="11102975" y="2574925"/>
          <p14:tracePt t="60826" x="11102975" y="2578100"/>
          <p14:tracePt t="60827" x="11098213" y="2582863"/>
          <p14:tracePt t="60829" x="11095038" y="2586038"/>
          <p14:tracePt t="60830" x="11095038" y="2590800"/>
          <p14:tracePt t="60831" x="11090275" y="2593975"/>
          <p14:tracePt t="60832" x="11090275" y="2601913"/>
          <p14:tracePt t="60833" x="11090275" y="2606675"/>
          <p14:tracePt t="60834" x="11090275" y="2614613"/>
          <p14:tracePt t="60835" x="11087100" y="2617788"/>
          <p14:tracePt t="60836" x="11087100" y="2625725"/>
          <p14:tracePt t="60837" x="11087100" y="2630488"/>
          <p14:tracePt t="60838" x="11082338" y="2633663"/>
          <p14:tracePt t="60839" x="11082338" y="2641600"/>
          <p14:tracePt t="60840" x="11082338" y="2649538"/>
          <p14:tracePt t="60842" x="11082338" y="2659063"/>
          <p14:tracePt t="60843" x="11079163" y="2670175"/>
          <p14:tracePt t="60844" x="11079163" y="2678113"/>
          <p14:tracePt t="60845" x="11079163" y="2686050"/>
          <p14:tracePt t="60846" x="11079163" y="2690813"/>
          <p14:tracePt t="60847" x="11074400" y="2698750"/>
          <p14:tracePt t="60848" x="11074400" y="2706688"/>
          <p14:tracePt t="60849" x="11074400" y="2717800"/>
          <p14:tracePt t="60850" x="11071225" y="2722563"/>
          <p14:tracePt t="60851" x="11071225" y="2730500"/>
          <p14:tracePt t="60852" x="11071225" y="2738438"/>
          <p14:tracePt t="60853" x="11071225" y="2746375"/>
          <p14:tracePt t="60854" x="11066463" y="2762250"/>
          <p14:tracePt t="60855" x="11066463" y="2770188"/>
          <p14:tracePt t="60856" x="11066463" y="2778125"/>
          <p14:tracePt t="60857" x="11066463" y="2790825"/>
          <p14:tracePt t="60858" x="11063288" y="2798763"/>
          <p14:tracePt t="60859" x="11063288" y="2814638"/>
          <p14:tracePt t="60860" x="11063288" y="2822575"/>
          <p14:tracePt t="60861" x="11063288" y="2830513"/>
          <p14:tracePt t="60862" x="11063288" y="2838450"/>
          <p14:tracePt t="60863" x="11063288" y="2851150"/>
          <p14:tracePt t="60864" x="11063288" y="2859088"/>
          <p14:tracePt t="60865" x="11063288" y="2874963"/>
          <p14:tracePt t="60866" x="11063288" y="2882900"/>
          <p14:tracePt t="60867" x="11058525" y="2894013"/>
          <p14:tracePt t="60868" x="11058525" y="2901950"/>
          <p14:tracePt t="60869" x="11058525" y="2917825"/>
          <p14:tracePt t="60870" x="11058525" y="2927350"/>
          <p14:tracePt t="60871" x="11058525" y="2938463"/>
          <p14:tracePt t="60872" x="11058525" y="2946400"/>
          <p14:tracePt t="60873" x="11058525" y="2962275"/>
          <p14:tracePt t="60874" x="11050588" y="2974975"/>
          <p14:tracePt t="60875" x="11050588" y="2982913"/>
          <p14:tracePt t="60876" x="11050588" y="2990850"/>
          <p14:tracePt t="60877" x="11047413" y="3006725"/>
          <p14:tracePt t="60878" x="11047413" y="3014663"/>
          <p14:tracePt t="60895" x="10979150" y="3238500"/>
          <p14:tracePt t="60896" x="10974388" y="3246438"/>
          <p14:tracePt t="60897" x="10966450" y="3254375"/>
          <p14:tracePt t="60898" x="10958513" y="3270250"/>
          <p14:tracePt t="60899" x="10955338" y="3278188"/>
          <p14:tracePt t="60900" x="10950575" y="3286125"/>
          <p14:tracePt t="60901" x="10947400" y="3295650"/>
          <p14:tracePt t="60902" x="10942638" y="3303588"/>
          <p14:tracePt t="60903" x="10931525" y="3314700"/>
          <p14:tracePt t="60904" x="10926763" y="3322638"/>
          <p14:tracePt t="60905" x="10922000" y="3327400"/>
          <p14:tracePt t="60906" x="10922000" y="3330575"/>
          <p14:tracePt t="60907" x="10922000" y="3338513"/>
          <p14:tracePt t="60908" x="10910888" y="3343275"/>
          <p14:tracePt t="60909" x="10906125" y="3346450"/>
          <p14:tracePt t="60911" x="10906125" y="3354388"/>
          <p14:tracePt t="60912" x="10902950" y="3354388"/>
          <p14:tracePt t="60913" x="10898188" y="3359150"/>
          <p14:tracePt t="60914" x="10895013" y="3362325"/>
          <p14:tracePt t="60915" x="10895013" y="3367088"/>
          <p14:tracePt t="60916" x="10890250" y="3367088"/>
          <p14:tracePt t="60917" x="10887075" y="3370263"/>
          <p14:tracePt t="60918" x="10882313" y="3370263"/>
          <p14:tracePt t="60919" x="10882313" y="3375025"/>
          <p14:tracePt t="60920" x="10879138" y="3375025"/>
          <p14:tracePt t="60921" x="10874375" y="3375025"/>
          <p14:tracePt t="60922" x="10871200" y="3378200"/>
          <p14:tracePt t="60924" x="10866438" y="3378200"/>
          <p14:tracePt t="60925" x="10863263" y="3378200"/>
          <p14:tracePt t="60928" x="10858500" y="3378200"/>
          <p14:tracePt t="60929" x="10855325" y="3378200"/>
          <p14:tracePt t="60930" x="10850563" y="3378200"/>
          <p14:tracePt t="60932" x="10847388" y="3378200"/>
          <p14:tracePt t="60933" x="10842625" y="3378200"/>
          <p14:tracePt t="60934" x="10839450" y="3378200"/>
          <p14:tracePt t="60935" x="10839450" y="3375025"/>
          <p14:tracePt t="60936" x="10834688" y="3375025"/>
          <p14:tracePt t="60937" x="10829925" y="3375025"/>
          <p14:tracePt t="60938" x="10829925" y="3370263"/>
          <p14:tracePt t="60939" x="10826750" y="3370263"/>
          <p14:tracePt t="60940" x="10821988" y="3367088"/>
          <p14:tracePt t="60941" x="10821988" y="3362325"/>
          <p14:tracePt t="60943" x="10818813" y="3359150"/>
          <p14:tracePt t="60945" x="10814050" y="3359150"/>
          <p14:tracePt t="60946" x="10814050" y="3354388"/>
          <p14:tracePt t="60947" x="10810875" y="3354388"/>
          <p14:tracePt t="60948" x="10810875" y="3351213"/>
          <p14:tracePt t="60949" x="10806113" y="3346450"/>
          <p14:tracePt t="60950" x="10806113" y="3343275"/>
          <p14:tracePt t="60951" x="10802938" y="3338513"/>
          <p14:tracePt t="60952" x="10802938" y="3335338"/>
          <p14:tracePt t="60953" x="10802938" y="3330575"/>
          <p14:tracePt t="60954" x="10798175" y="3330575"/>
          <p14:tracePt t="60955" x="10798175" y="3327400"/>
          <p14:tracePt t="60957" x="10798175" y="3322638"/>
          <p14:tracePt t="61138" x="10795000" y="3322638"/>
          <p14:tracePt t="61161" x="10795000" y="3319463"/>
          <p14:tracePt t="61189" x="10795000" y="3314700"/>
          <p14:tracePt t="61201" x="10798175" y="3314700"/>
          <p14:tracePt t="61203" x="10798175" y="3311525"/>
          <p14:tracePt t="61204" x="10802938" y="3306763"/>
          <p14:tracePt t="61205" x="10806113" y="3306763"/>
          <p14:tracePt t="61206" x="10806113" y="3303588"/>
          <p14:tracePt t="61207" x="10810875" y="3298825"/>
          <p14:tracePt t="61209" x="10818813" y="3295650"/>
          <p14:tracePt t="61210" x="10818813" y="3290888"/>
          <p14:tracePt t="61211" x="10821988" y="3286125"/>
          <p14:tracePt t="61212" x="10826750" y="3282950"/>
          <p14:tracePt t="61213" x="10829925" y="3278188"/>
          <p14:tracePt t="61214" x="10834688" y="3275013"/>
          <p14:tracePt t="61215" x="10839450" y="3275013"/>
          <p14:tracePt t="61216" x="10842625" y="3270250"/>
          <p14:tracePt t="61217" x="10847388" y="3267075"/>
          <p14:tracePt t="61218" x="10855325" y="3262313"/>
          <p14:tracePt t="61219" x="10858500" y="3259138"/>
          <p14:tracePt t="61220" x="10863263" y="3254375"/>
          <p14:tracePt t="61221" x="10866438" y="3251200"/>
          <p14:tracePt t="61222" x="10871200" y="3243263"/>
          <p14:tracePt t="61223" x="10879138" y="3238500"/>
          <p14:tracePt t="61224" x="10882313" y="3235325"/>
          <p14:tracePt t="61225" x="10887075" y="3230563"/>
          <p14:tracePt t="61226" x="10890250" y="3227388"/>
          <p14:tracePt t="61227" x="10898188" y="3222625"/>
          <p14:tracePt t="61228" x="10898188" y="3219450"/>
          <p14:tracePt t="61229" x="10902950" y="3214688"/>
          <p14:tracePt t="61230" x="10906125" y="3211513"/>
          <p14:tracePt t="61231" x="10910888" y="3211513"/>
          <p14:tracePt t="61232" x="10914063" y="3211513"/>
          <p14:tracePt t="61233" x="10918825" y="3206750"/>
          <p14:tracePt t="61234" x="10922000" y="3203575"/>
          <p14:tracePt t="61235" x="10926763" y="3203575"/>
          <p14:tracePt t="61236" x="10931525" y="3198813"/>
          <p14:tracePt t="61237" x="10934700" y="3194050"/>
          <p14:tracePt t="61238" x="10939463" y="3190875"/>
          <p14:tracePt t="61240" x="10942638" y="3186113"/>
          <p14:tracePt t="61241" x="10947400" y="3182938"/>
          <p14:tracePt t="61242" x="10950575" y="3182938"/>
          <p14:tracePt t="61243" x="10955338" y="3178175"/>
          <p14:tracePt t="61245" x="10958513" y="3175000"/>
          <p14:tracePt t="61247" x="10966450" y="3170238"/>
          <p14:tracePt t="61249" x="10971213" y="3170238"/>
          <p14:tracePt t="61251" x="10974388" y="3170238"/>
          <p14:tracePt t="61252" x="10979150" y="3167063"/>
          <p14:tracePt t="61255" x="10979150" y="3162300"/>
          <p14:tracePt t="61256" x="10982325" y="3162300"/>
          <p14:tracePt t="61257" x="10982325" y="3159125"/>
          <p14:tracePt t="61258" x="10987088" y="3159125"/>
          <p14:tracePt t="61259" x="10990263" y="3159125"/>
          <p14:tracePt t="61260" x="10990263" y="3154363"/>
          <p14:tracePt t="61261" x="10995025" y="3154363"/>
          <p14:tracePt t="61264" x="10995025" y="3151188"/>
          <p14:tracePt t="61266" x="10998200" y="3151188"/>
          <p14:tracePt t="62094" x="10995025" y="3151188"/>
          <p14:tracePt t="62100" x="10990263" y="3151188"/>
          <p14:tracePt t="62102" x="10987088" y="3151188"/>
          <p14:tracePt t="62103" x="10982325" y="3151188"/>
          <p14:tracePt t="62106" x="10974388" y="3151188"/>
          <p14:tracePt t="62107" x="10971213" y="3151188"/>
          <p14:tracePt t="62108" x="10966450" y="3151188"/>
          <p14:tracePt t="62109" x="10963275" y="3151188"/>
          <p14:tracePt t="62110" x="10958513" y="3151188"/>
          <p14:tracePt t="62111" x="10950575" y="3151188"/>
          <p14:tracePt t="62112" x="10947400" y="3151188"/>
          <p14:tracePt t="62113" x="10939463" y="3151188"/>
          <p14:tracePt t="62114" x="10934700" y="3151188"/>
          <p14:tracePt t="62117" x="10914063" y="3151188"/>
          <p14:tracePt t="62118" x="10906125" y="3151188"/>
          <p14:tracePt t="62120" x="10898188" y="3151188"/>
          <p14:tracePt t="62121" x="10895013" y="3151188"/>
          <p14:tracePt t="62122" x="10887075" y="3151188"/>
          <p14:tracePt t="62123" x="10882313" y="3151188"/>
          <p14:tracePt t="62124" x="10879138" y="3151188"/>
          <p14:tracePt t="62125" x="10874375" y="3151188"/>
          <p14:tracePt t="62126" x="10866438" y="3154363"/>
          <p14:tracePt t="62127" x="10863263" y="3154363"/>
          <p14:tracePt t="62128" x="10858500" y="3154363"/>
          <p14:tracePt t="62129" x="10858500" y="3159125"/>
          <p14:tracePt t="62130" x="10855325" y="3159125"/>
          <p14:tracePt t="62131" x="10850563" y="3159125"/>
          <p14:tracePt t="62135" x="10847388" y="3159125"/>
          <p14:tracePt t="62158" x="10847388" y="3162300"/>
          <p14:tracePt t="62166" x="10847388" y="3167063"/>
          <p14:tracePt t="62169" x="10847388" y="3170238"/>
          <p14:tracePt t="62174" x="10850563" y="3175000"/>
          <p14:tracePt t="62176" x="10850563" y="3178175"/>
          <p14:tracePt t="62177" x="10855325" y="3178175"/>
          <p14:tracePt t="62178" x="10855325" y="3182938"/>
          <p14:tracePt t="62179" x="10858500" y="3186113"/>
          <p14:tracePt t="62181" x="10863263" y="3190875"/>
          <p14:tracePt t="62182" x="10863263" y="3194050"/>
          <p14:tracePt t="62183" x="10866438" y="3194050"/>
          <p14:tracePt t="62184" x="10866438" y="3198813"/>
          <p14:tracePt t="62185" x="10871200" y="3203575"/>
          <p14:tracePt t="62186" x="10874375" y="3203575"/>
          <p14:tracePt t="62187" x="10874375" y="3206750"/>
          <p14:tracePt t="62188" x="10879138" y="3211513"/>
          <p14:tracePt t="62190" x="10882313" y="3211513"/>
          <p14:tracePt t="62191" x="10882313" y="3214688"/>
          <p14:tracePt t="62192" x="10887075" y="3214688"/>
          <p14:tracePt t="62193" x="10890250" y="3219450"/>
          <p14:tracePt t="62194" x="10895013" y="3222625"/>
          <p14:tracePt t="62195" x="10898188" y="3227388"/>
          <p14:tracePt t="62196" x="10902950" y="3227388"/>
          <p14:tracePt t="62197" x="10906125" y="3230563"/>
          <p14:tracePt t="62198" x="10910888" y="3230563"/>
          <p14:tracePt t="62199" x="10914063" y="3230563"/>
          <p14:tracePt t="62200" x="10918825" y="3235325"/>
          <p14:tracePt t="62201" x="10922000" y="3238500"/>
          <p14:tracePt t="62203" x="10931525" y="3243263"/>
          <p14:tracePt t="62204" x="10934700" y="3243263"/>
          <p14:tracePt t="62205" x="10939463" y="3246438"/>
          <p14:tracePt t="62206" x="10942638" y="3251200"/>
          <p14:tracePt t="62207" x="10947400" y="3251200"/>
          <p14:tracePt t="62208" x="10950575" y="3251200"/>
          <p14:tracePt t="62209" x="10955338" y="3254375"/>
          <p14:tracePt t="62210" x="10958513" y="3254375"/>
          <p14:tracePt t="62211" x="10966450" y="3254375"/>
          <p14:tracePt t="62212" x="10971213" y="3259138"/>
          <p14:tracePt t="62213" x="10974388" y="3262313"/>
          <p14:tracePt t="62214" x="10979150" y="3262313"/>
          <p14:tracePt t="62215" x="10987088" y="3267075"/>
          <p14:tracePt t="62217" x="10990263" y="3270250"/>
          <p14:tracePt t="62218" x="10998200" y="3270250"/>
          <p14:tracePt t="62219" x="11002963" y="3270250"/>
          <p14:tracePt t="62220" x="11006138" y="3275013"/>
          <p14:tracePt t="62221" x="11014075" y="3275013"/>
          <p14:tracePt t="62222" x="11018838" y="3278188"/>
          <p14:tracePt t="62223" x="11026775" y="3278188"/>
          <p14:tracePt t="62224" x="11031538" y="3282950"/>
          <p14:tracePt t="62225" x="11039475" y="3282950"/>
          <p14:tracePt t="62226" x="11042650" y="3286125"/>
          <p14:tracePt t="62227" x="11050588" y="3286125"/>
          <p14:tracePt t="62228" x="11050588" y="3290888"/>
          <p14:tracePt t="62229" x="11058525" y="3290888"/>
          <p14:tracePt t="62230" x="11071225" y="3295650"/>
          <p14:tracePt t="62231" x="11079163" y="3295650"/>
          <p14:tracePt t="62232" x="11087100" y="3295650"/>
          <p14:tracePt t="62233" x="11090275" y="3298825"/>
          <p14:tracePt t="62234" x="11098213" y="3298825"/>
          <p14:tracePt t="62235" x="11106150" y="3303588"/>
          <p14:tracePt t="62236" x="11115675" y="3303588"/>
          <p14:tracePt t="62237" x="11123613" y="3306763"/>
          <p14:tracePt t="62238" x="11126788" y="3306763"/>
          <p14:tracePt t="62239" x="11139488" y="3311525"/>
          <p14:tracePt t="62240" x="11147425" y="3311525"/>
          <p14:tracePt t="62241" x="11163300" y="3314700"/>
          <p14:tracePt t="62242" x="11171238" y="3314700"/>
          <p14:tracePt t="62243" x="11182350" y="3319463"/>
          <p14:tracePt t="62244" x="11190288" y="3319463"/>
          <p14:tracePt t="62245" x="11207750" y="3327400"/>
          <p14:tracePt t="62246" x="11218863" y="3327400"/>
          <p14:tracePt t="62247" x="11226800" y="3327400"/>
          <p14:tracePt t="62248" x="11242675" y="3330575"/>
          <p14:tracePt t="62249" x="11255375" y="3330575"/>
          <p14:tracePt t="62250" x="11271250" y="3335338"/>
          <p14:tracePt t="62251" x="11282363" y="3335338"/>
          <p14:tracePt t="62252" x="11295063" y="3335338"/>
          <p14:tracePt t="62253" x="11310938" y="3338513"/>
          <p14:tracePt t="62254" x="11331575" y="3338513"/>
          <p14:tracePt t="62255" x="11350625" y="3343275"/>
          <p14:tracePt t="62256" x="11366500" y="3343275"/>
          <p14:tracePt t="62257" x="11387138" y="3343275"/>
          <p14:tracePt t="62258" x="11403013" y="3343275"/>
          <p14:tracePt t="62259" x="11423650" y="3346450"/>
          <p14:tracePt t="62260" x="11434763" y="3346450"/>
          <p14:tracePt t="62261" x="11458575" y="3346450"/>
          <p14:tracePt t="62263" x="11479213" y="3346450"/>
          <p14:tracePt t="62263" x="11499850" y="3354388"/>
          <p14:tracePt t="62264" x="11526838" y="3354388"/>
          <p14:tracePt t="62265" x="11550650" y="3354388"/>
          <p14:tracePt t="62266" x="11579225" y="3354388"/>
          <p14:tracePt t="62267" x="11599863" y="3354388"/>
          <p14:tracePt t="62268" x="11615738" y="3354388"/>
          <p14:tracePt t="62269" x="11642725" y="3354388"/>
          <p14:tracePt t="62270" x="11676063" y="3354388"/>
          <p14:tracePt t="62271" x="11695113" y="3354388"/>
          <p14:tracePt t="62272" x="11723688" y="3354388"/>
          <p14:tracePt t="62273" x="11739563" y="3354388"/>
          <p14:tracePt t="62274" x="11768138" y="3354388"/>
          <p14:tracePt t="62275" x="11799888" y="3354388"/>
          <p14:tracePt t="62276" x="11826875" y="3354388"/>
          <p14:tracePt t="62277" x="11847513" y="3351213"/>
          <p14:tracePt t="62278" x="11876088" y="3351213"/>
          <p14:tracePt t="62279" x="11899900" y="3351213"/>
          <p14:tracePt t="62280" x="11936413" y="3346450"/>
          <p14:tracePt t="62281" x="11963400" y="3346450"/>
          <p14:tracePt t="62282" x="11984038" y="3346450"/>
          <p14:tracePt t="62283" x="12007850" y="3343275"/>
          <p14:tracePt t="62284" x="12028488" y="3343275"/>
          <p14:tracePt t="62285" x="12060238" y="3343275"/>
          <p14:tracePt t="62286" x="12087225" y="3335338"/>
          <p14:tracePt t="62287" x="12107863" y="3335338"/>
          <p14:tracePt t="62288" x="12128500" y="3335338"/>
          <p14:tracePt t="62289" x="12152313" y="3330575"/>
          <p14:tracePt t="62290" x="12179300" y="3330575"/>
          <p14:tracePt t="71700" x="12184063" y="4198938"/>
          <p14:tracePt t="71701" x="12179300" y="4179888"/>
          <p14:tracePt t="71702" x="12179300" y="4156075"/>
          <p14:tracePt t="71703" x="12176125" y="4140200"/>
          <p14:tracePt t="71704" x="12176125" y="4119563"/>
          <p14:tracePt t="71705" x="12171363" y="4098925"/>
          <p14:tracePt t="71706" x="12171363" y="4083050"/>
          <p14:tracePt t="71707" x="12168188" y="4064000"/>
          <p14:tracePt t="71708" x="12160250" y="4043363"/>
          <p14:tracePt t="71709" x="12160250" y="4024313"/>
          <p14:tracePt t="71710" x="12155488" y="4006850"/>
          <p14:tracePt t="71711" x="12152313" y="3987800"/>
          <p14:tracePt t="71712" x="12144375" y="3963988"/>
          <p14:tracePt t="71713" x="12139613" y="3943350"/>
          <p14:tracePt t="71714" x="12136438" y="3922713"/>
          <p14:tracePt t="71715" x="12131675" y="3903663"/>
          <p14:tracePt t="71716" x="12128500" y="3887788"/>
          <p14:tracePt t="71717" x="12115800" y="3859213"/>
          <p14:tracePt t="71718" x="12112625" y="3843338"/>
          <p14:tracePt t="71719" x="12104688" y="3822700"/>
          <p14:tracePt t="71720" x="12099925" y="3806825"/>
          <p14:tracePt t="71721" x="12095163" y="3787775"/>
          <p14:tracePt t="71722" x="12091988" y="3759200"/>
          <p14:tracePt t="71723" x="12084050" y="3746500"/>
          <p14:tracePt t="71724" x="12076113" y="3730625"/>
          <p14:tracePt t="71725" x="12071350" y="3711575"/>
          <p14:tracePt t="71726" x="12068175" y="3698875"/>
          <p14:tracePt t="71727" x="12055475" y="3671888"/>
          <p14:tracePt t="71728" x="12052300" y="3654425"/>
          <p14:tracePt t="71729" x="12047538" y="3643313"/>
          <p14:tracePt t="71730" x="12039600" y="3627438"/>
          <p14:tracePt t="71731" x="12031663" y="3606800"/>
          <p14:tracePt t="71732" x="12028488" y="3595688"/>
          <p14:tracePt t="71733" x="12023725" y="3579813"/>
          <p14:tracePt t="71734" x="12012613" y="3567113"/>
          <p14:tracePt t="71735" x="12007850" y="3551238"/>
          <p14:tracePt t="71736" x="12003088" y="3538538"/>
          <p14:tracePt t="71737" x="11991975" y="3519488"/>
          <p14:tracePt t="71738" x="11987213" y="3503613"/>
          <p14:tracePt t="71740" x="11976100" y="3479800"/>
          <p14:tracePt t="71741" x="11963400" y="3459163"/>
          <p14:tracePt t="71742" x="11960225" y="3451225"/>
          <p14:tracePt t="71743" x="11952288" y="3435350"/>
          <p14:tracePt t="71744" x="11947525" y="3427413"/>
          <p14:tracePt t="71745" x="11936413" y="3419475"/>
          <p14:tracePt t="71746" x="11931650" y="3403600"/>
          <p14:tracePt t="71747" x="11923713" y="3390900"/>
          <p14:tracePt t="71748" x="11918950" y="3382963"/>
          <p14:tracePt t="71749" x="11907838" y="3370263"/>
          <p14:tracePt t="71750" x="11903075" y="3362325"/>
          <p14:tracePt t="71751" x="11895138" y="3351213"/>
          <p14:tracePt t="71752" x="11891963" y="3338513"/>
          <p14:tracePt t="71753" x="11884025" y="3335338"/>
          <p14:tracePt t="71754" x="11876088" y="3327400"/>
          <p14:tracePt t="71755" x="11871325" y="3319463"/>
          <p14:tracePt t="71756" x="11868150" y="3314700"/>
          <p14:tracePt t="71757" x="11860213" y="3306763"/>
          <p14:tracePt t="71758" x="11855450" y="3298825"/>
          <p14:tracePt t="71759" x="11852275" y="3295650"/>
          <p14:tracePt t="71760" x="11847513" y="3286125"/>
          <p14:tracePt t="71761" x="11839575" y="3278188"/>
          <p14:tracePt t="71762" x="11836400" y="3275013"/>
          <p14:tracePt t="71763" x="11831638" y="3270250"/>
          <p14:tracePt t="71764" x="11826875" y="3267075"/>
          <p14:tracePt t="71766" x="11818938" y="3254375"/>
          <p14:tracePt t="71767" x="11818938" y="3251200"/>
          <p14:tracePt t="71768" x="11815763" y="3246438"/>
          <p14:tracePt t="71769" x="11811000" y="3246438"/>
          <p14:tracePt t="71770" x="11811000" y="3243263"/>
          <p14:tracePt t="71771" x="11807825" y="3238500"/>
          <p14:tracePt t="71772" x="11803063" y="3238500"/>
          <p14:tracePt t="71773" x="11799888" y="3235325"/>
          <p14:tracePt t="71774" x="11799888" y="3230563"/>
          <p14:tracePt t="71775" x="11795125" y="3230563"/>
          <p14:tracePt t="71778" x="11791950" y="3230563"/>
          <p14:tracePt t="71781" x="11787188" y="3227388"/>
          <p14:tracePt t="71832" x="11791950" y="3227388"/>
          <p14:tracePt t="71834" x="11795125" y="3227388"/>
          <p14:tracePt t="71836" x="11799888" y="3227388"/>
          <p14:tracePt t="71837" x="11803063" y="3227388"/>
          <p14:tracePt t="71839" x="11807825" y="3227388"/>
          <p14:tracePt t="71840" x="11811000" y="3227388"/>
          <p14:tracePt t="71841" x="11815763" y="3227388"/>
          <p14:tracePt t="71843" x="11823700" y="3227388"/>
          <p14:tracePt t="71844" x="11826875" y="3227388"/>
          <p14:tracePt t="71845" x="11831638" y="3227388"/>
          <p14:tracePt t="71846" x="11836400" y="3227388"/>
          <p14:tracePt t="71847" x="11844338" y="3227388"/>
          <p14:tracePt t="71848" x="11852275" y="3227388"/>
          <p14:tracePt t="71849" x="11855450" y="3227388"/>
          <p14:tracePt t="71850" x="11863388" y="3227388"/>
          <p14:tracePt t="71851" x="11871325" y="3235325"/>
          <p14:tracePt t="71852" x="11879263" y="3235325"/>
          <p14:tracePt t="71853" x="11895138" y="3235325"/>
          <p14:tracePt t="71854" x="11903075" y="3235325"/>
          <p14:tracePt t="71855" x="11911013" y="3238500"/>
          <p14:tracePt t="71856" x="11923713" y="3238500"/>
          <p14:tracePt t="71857" x="11931650" y="3238500"/>
          <p14:tracePt t="71858" x="11947525" y="3243263"/>
          <p14:tracePt t="71859" x="11960225" y="3243263"/>
          <p14:tracePt t="71860" x="11968163" y="3243263"/>
          <p14:tracePt t="71861" x="11987213" y="3246438"/>
          <p14:tracePt t="71862" x="12003088" y="3246438"/>
          <p14:tracePt t="71863" x="12015788" y="3251200"/>
          <p14:tracePt t="71864" x="12036425" y="3251200"/>
          <p14:tracePt t="71865" x="12047538" y="3254375"/>
          <p14:tracePt t="71866" x="12076113" y="3254375"/>
          <p14:tracePt t="71867" x="12087225" y="3254375"/>
          <p14:tracePt t="71868" x="12107863" y="3262313"/>
          <p14:tracePt t="71869" x="12123738" y="3262313"/>
          <p14:tracePt t="71870" x="12139613" y="3267075"/>
          <p14:tracePt t="71871" x="12168188" y="3267075"/>
          <p14:tracePt t="71872" x="12187238" y="3267075"/>
          <p14:tracePt t="72026" x="12171363" y="1989138"/>
          <p14:tracePt t="72027" x="12160250" y="1981200"/>
          <p14:tracePt t="72028" x="12152313" y="1973263"/>
          <p14:tracePt t="72029" x="12139613" y="1962150"/>
          <p14:tracePt t="72030" x="12120563" y="1946275"/>
          <p14:tracePt t="72031" x="12112625" y="1941513"/>
          <p14:tracePt t="72032" x="12104688" y="1933575"/>
          <p14:tracePt t="72033" x="12091988" y="1925638"/>
          <p14:tracePt t="72034" x="12084050" y="1922463"/>
          <p14:tracePt t="72035" x="12068175" y="1905000"/>
          <p14:tracePt t="72036" x="12060238" y="1901825"/>
          <p14:tracePt t="72037" x="12052300" y="1897063"/>
          <p14:tracePt t="72038" x="12044363" y="1889125"/>
          <p14:tracePt t="72039" x="12036425" y="1881188"/>
          <p14:tracePt t="72040" x="12023725" y="1878013"/>
          <p14:tracePt t="72041" x="12015788" y="1873250"/>
          <p14:tracePt t="72042" x="12012613" y="1870075"/>
          <p14:tracePt t="72043" x="12003088" y="1865313"/>
          <p14:tracePt t="72044" x="11999913" y="1862138"/>
          <p14:tracePt t="72045" x="11991975" y="1857375"/>
          <p14:tracePt t="72046" x="11987213" y="1857375"/>
          <p14:tracePt t="72047" x="11979275" y="1857375"/>
          <p14:tracePt t="72048" x="11979275" y="1854200"/>
          <p14:tracePt t="72049" x="11976100" y="1854200"/>
          <p14:tracePt t="72050" x="11971338" y="1849438"/>
          <p14:tracePt t="72051" x="11968163" y="1849438"/>
          <p14:tracePt t="72052" x="11963400" y="1846263"/>
          <p14:tracePt t="72053" x="11960225" y="1846263"/>
          <p14:tracePt t="72054" x="11955463" y="1846263"/>
          <p14:tracePt t="72055" x="11947525" y="1841500"/>
          <p14:tracePt t="72057" x="11944350" y="1841500"/>
          <p14:tracePt t="72058" x="11939588" y="1841500"/>
          <p14:tracePt t="72059" x="11936413" y="1841500"/>
          <p14:tracePt t="72060" x="11931650" y="1838325"/>
          <p14:tracePt t="72062" x="11928475" y="1838325"/>
          <p14:tracePt t="72064" x="11923713" y="1838325"/>
          <p14:tracePt t="72065" x="11918950" y="1838325"/>
          <p14:tracePt t="72066" x="11915775" y="1838325"/>
          <p14:tracePt t="72068" x="11911013" y="1838325"/>
          <p14:tracePt t="72069" x="11907838" y="1838325"/>
          <p14:tracePt t="72070" x="11903075" y="1838325"/>
          <p14:tracePt t="72072" x="11899900" y="1838325"/>
          <p14:tracePt t="72073" x="11895138" y="1838325"/>
          <p14:tracePt t="72074" x="11891963" y="1838325"/>
          <p14:tracePt t="72076" x="11887200" y="1838325"/>
          <p14:tracePt t="72077" x="11884025" y="1838325"/>
          <p14:tracePt t="72078" x="11879263" y="1838325"/>
          <p14:tracePt t="72080" x="11876088" y="1841500"/>
          <p14:tracePt t="72081" x="11871325" y="1841500"/>
          <p14:tracePt t="72082" x="11868150" y="1841500"/>
          <p14:tracePt t="72083" x="11863388" y="1846263"/>
          <p14:tracePt t="72084" x="11860213" y="1846263"/>
          <p14:tracePt t="72085" x="11855450" y="1849438"/>
          <p14:tracePt t="72086" x="11847513" y="1849438"/>
          <p14:tracePt t="72088" x="11844338" y="1849438"/>
          <p14:tracePt t="72089" x="11839575" y="1854200"/>
          <p14:tracePt t="72090" x="11836400" y="1854200"/>
          <p14:tracePt t="72091" x="11831638" y="1857375"/>
          <p14:tracePt t="72092" x="11823700" y="1862138"/>
          <p14:tracePt t="72093" x="11818938" y="1862138"/>
          <p14:tracePt t="72094" x="11815763" y="1865313"/>
          <p14:tracePt t="72095" x="11803063" y="1870075"/>
          <p14:tracePt t="72096" x="11799888" y="1873250"/>
          <p14:tracePt t="72097" x="11795125" y="1878013"/>
          <p14:tracePt t="72098" x="11787188" y="1881188"/>
          <p14:tracePt t="72099" x="11784013" y="1889125"/>
          <p14:tracePt t="72100" x="11776075" y="1893888"/>
          <p14:tracePt t="72101" x="11771313" y="1897063"/>
          <p14:tracePt t="72102" x="11768138" y="1901825"/>
          <p14:tracePt t="72103" x="11760200" y="1905000"/>
          <p14:tracePt t="72104" x="11755438" y="1912938"/>
          <p14:tracePt t="72105" x="11747500" y="1925638"/>
          <p14:tracePt t="72106" x="11734800" y="1930400"/>
          <p14:tracePt t="72107" x="11734800" y="1933575"/>
          <p14:tracePt t="72108" x="11723688" y="1941513"/>
          <p14:tracePt t="72109" x="11715750" y="1949450"/>
          <p14:tracePt t="72110" x="11710988" y="1954213"/>
          <p14:tracePt t="72111" x="11703050" y="1962150"/>
          <p14:tracePt t="72112" x="11699875" y="1970088"/>
          <p14:tracePt t="72113" x="11691938" y="1973263"/>
          <p14:tracePt t="72115" x="11679238" y="1993900"/>
          <p14:tracePt t="72116" x="11668125" y="2001838"/>
          <p14:tracePt t="72117" x="11660188" y="2009775"/>
          <p14:tracePt t="72118" x="11655425" y="2017713"/>
          <p14:tracePt t="72119" x="11647488" y="2033588"/>
          <p14:tracePt t="72120" x="11634788" y="2041525"/>
          <p14:tracePt t="72121" x="11631613" y="2049463"/>
          <p14:tracePt t="72122" x="11623675" y="2062163"/>
          <p14:tracePt t="72123" x="11618913" y="2070100"/>
          <p14:tracePt t="72124" x="11607800" y="2081213"/>
          <p14:tracePt t="72125" x="11599863" y="2093913"/>
          <p14:tracePt t="72126" x="11591925" y="2106613"/>
          <p14:tracePt t="72127" x="11587163" y="2117725"/>
          <p14:tracePt t="72128" x="11576050" y="2125663"/>
          <p14:tracePt t="72129" x="11568113" y="2146300"/>
          <p14:tracePt t="72130" x="11558588" y="2154238"/>
          <p14:tracePt t="72131" x="11550650" y="2162175"/>
          <p14:tracePt t="72132" x="11542713" y="2178050"/>
          <p14:tracePt t="72133" x="11534775" y="2185988"/>
          <p14:tracePt t="72134" x="11531600" y="2193925"/>
          <p14:tracePt t="72135" x="11518900" y="2209800"/>
          <p14:tracePt t="72136" x="11510963" y="2225675"/>
          <p14:tracePt t="72137" x="11507788" y="2233613"/>
          <p14:tracePt t="72138" x="11495088" y="2246313"/>
          <p14:tracePt t="72139" x="11487150" y="2262188"/>
          <p14:tracePt t="72140" x="11483975" y="2270125"/>
          <p14:tracePt t="72141" x="11476038" y="2278063"/>
          <p14:tracePt t="72142" x="11463338" y="2293938"/>
          <p14:tracePt t="72143" x="11458575" y="2301875"/>
          <p14:tracePt t="72144" x="11450638" y="2309813"/>
          <p14:tracePt t="72145" x="11447463" y="2325688"/>
          <p14:tracePt t="72146" x="11434763" y="2333625"/>
          <p14:tracePt t="72147" x="11431588" y="2349500"/>
          <p14:tracePt t="72148" x="11426825" y="2357438"/>
          <p14:tracePt t="72149" x="11418888" y="2373313"/>
          <p14:tracePt t="72150" x="11415713" y="2382838"/>
          <p14:tracePt t="72151" x="11403013" y="2390775"/>
          <p14:tracePt t="72152" x="11399838" y="2398713"/>
          <p14:tracePt t="72153" x="11395075" y="2406650"/>
          <p14:tracePt t="72154" x="11391900" y="2417763"/>
          <p14:tracePt t="72155" x="11383963" y="2425700"/>
          <p14:tracePt t="72156" x="11379200" y="2433638"/>
          <p14:tracePt t="72157" x="11374438" y="2441575"/>
          <p14:tracePt t="72158" x="11371263" y="2449513"/>
          <p14:tracePt t="72159" x="11358563" y="2462213"/>
          <p14:tracePt t="72160" x="11355388" y="2470150"/>
          <p14:tracePt t="72162" x="11347450" y="2482850"/>
          <p14:tracePt t="72163" x="11342688" y="2490788"/>
          <p14:tracePt t="72164" x="11339513" y="2493963"/>
          <p14:tracePt t="72165" x="11334750" y="2501900"/>
          <p14:tracePt t="72166" x="11331575" y="2509838"/>
          <p14:tracePt t="72167" x="11326813" y="2514600"/>
          <p14:tracePt t="72168" x="11326813" y="2517775"/>
          <p14:tracePt t="72169" x="11318875" y="2525713"/>
          <p14:tracePt t="72170" x="11318875" y="2530475"/>
          <p14:tracePt t="72171" x="11315700" y="2538413"/>
          <p14:tracePt t="72172" x="11310938" y="2541588"/>
          <p14:tracePt t="72173" x="11307763" y="2546350"/>
          <p14:tracePt t="72174" x="11307763" y="2549525"/>
          <p14:tracePt t="72175" x="11307763" y="2554288"/>
          <p14:tracePt t="72176" x="11303000" y="2562225"/>
          <p14:tracePt t="72177" x="11299825" y="2562225"/>
          <p14:tracePt t="72179" x="11295063" y="2570163"/>
          <p14:tracePt t="72180" x="11291888" y="2574925"/>
          <p14:tracePt t="72181" x="11287125" y="2578100"/>
          <p14:tracePt t="72183" x="11282363" y="2582863"/>
          <p14:tracePt t="72184" x="11279188" y="2586038"/>
          <p14:tracePt t="72185" x="11279188" y="2590800"/>
          <p14:tracePt t="72186" x="11279188" y="2593975"/>
          <p14:tracePt t="72187" x="11274425" y="2593975"/>
          <p14:tracePt t="72188" x="11274425" y="2598738"/>
          <p14:tracePt t="72189" x="11274425" y="2601913"/>
          <p14:tracePt t="72190" x="11271250" y="2601913"/>
          <p14:tracePt t="72193" x="11271250" y="2606675"/>
          <p14:tracePt t="74661" x="11274425" y="2606675"/>
          <p14:tracePt t="74662" x="11274425" y="2601913"/>
          <p14:tracePt t="74664" x="11279188" y="2601913"/>
          <p14:tracePt t="74666" x="11282363" y="2598738"/>
          <p14:tracePt t="74668" x="11287125" y="2598738"/>
          <p14:tracePt t="74669" x="11287125" y="2593975"/>
          <p14:tracePt t="74670" x="11291888" y="2593975"/>
          <p14:tracePt t="74671" x="11291888" y="2590800"/>
          <p14:tracePt t="74672" x="11295063" y="2590800"/>
          <p14:tracePt t="74673" x="11295063" y="2586038"/>
          <p14:tracePt t="74676" x="11299825" y="2582863"/>
          <p14:tracePt t="74677" x="11303000" y="2582863"/>
          <p14:tracePt t="74678" x="11303000" y="2578100"/>
          <p14:tracePt t="74679" x="11307763" y="2578100"/>
          <p14:tracePt t="74680" x="11310938" y="2574925"/>
          <p14:tracePt t="74681" x="11315700" y="2574925"/>
          <p14:tracePt t="74682" x="11318875" y="2574925"/>
          <p14:tracePt t="74683" x="11326813" y="2570163"/>
          <p14:tracePt t="74684" x="11331575" y="2566988"/>
          <p14:tracePt t="74685" x="11339513" y="2562225"/>
          <p14:tracePt t="74686" x="11342688" y="2562225"/>
          <p14:tracePt t="74687" x="11350625" y="2557463"/>
          <p14:tracePt t="74688" x="11358563" y="2554288"/>
          <p14:tracePt t="74689" x="11371263" y="2541588"/>
          <p14:tracePt t="74690" x="11383963" y="2538413"/>
          <p14:tracePt t="74691" x="11391900" y="2533650"/>
          <p14:tracePt t="74692" x="11399838" y="2530475"/>
          <p14:tracePt t="74693" x="11418888" y="2517775"/>
          <p14:tracePt t="74694" x="11426825" y="2509838"/>
          <p14:tracePt t="74695" x="11442700" y="2506663"/>
          <p14:tracePt t="74696" x="11455400" y="2501900"/>
          <p14:tracePt t="74697" x="11479213" y="2490788"/>
          <p14:tracePt t="74698" x="11507788" y="2478088"/>
          <p14:tracePt t="74699" x="11526838" y="2470150"/>
          <p14:tracePt t="74700" x="11547475" y="2462213"/>
          <p14:tracePt t="74701" x="11568113" y="2454275"/>
          <p14:tracePt t="74702" x="11599863" y="2441575"/>
          <p14:tracePt t="74703" x="11634788" y="2430463"/>
          <p14:tracePt t="74704" x="11663363" y="2417763"/>
          <p14:tracePt t="74705" x="11699875" y="2409825"/>
          <p14:tracePt t="74706" x="11726863" y="2398713"/>
          <p14:tracePt t="74707" x="11755438" y="2393950"/>
          <p14:tracePt t="74708" x="11811000" y="2373313"/>
          <p14:tracePt t="74709" x="11847513" y="2370138"/>
          <p14:tracePt t="74710" x="11884025" y="2362200"/>
          <p14:tracePt t="74711" x="11918950" y="2349500"/>
          <p14:tracePt t="74712" x="11963400" y="2341563"/>
          <p14:tracePt t="74713" x="12023725" y="2330450"/>
          <p14:tracePt t="74714" x="12060238" y="2325688"/>
          <p14:tracePt t="74715" x="12112625" y="2317750"/>
          <p14:tracePt t="74716" x="12155488" y="2309813"/>
        </p14:tracePtLst>
      </p14:laserTraceLst>
    </p:ext>
  </p:extLst>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33</TotalTime>
  <Words>3243</Words>
  <Application>Microsoft Office PowerPoint</Application>
  <PresentationFormat>Širokoúhlá obrazovka</PresentationFormat>
  <Paragraphs>388</Paragraphs>
  <Slides>24</Slides>
  <Notes>1</Notes>
  <HiddenSlides>0</HiddenSlides>
  <MMClips>24</MMClips>
  <ScaleCrop>false</ScaleCrop>
  <HeadingPairs>
    <vt:vector size="6" baseType="variant">
      <vt:variant>
        <vt:lpstr>Použitá písma</vt:lpstr>
      </vt:variant>
      <vt:variant>
        <vt:i4>5</vt:i4>
      </vt:variant>
      <vt:variant>
        <vt:lpstr>Motiv</vt:lpstr>
      </vt:variant>
      <vt:variant>
        <vt:i4>1</vt:i4>
      </vt:variant>
      <vt:variant>
        <vt:lpstr>Nadpisy snímků</vt:lpstr>
      </vt:variant>
      <vt:variant>
        <vt:i4>24</vt:i4>
      </vt:variant>
    </vt:vector>
  </HeadingPairs>
  <TitlesOfParts>
    <vt:vector size="30" baseType="lpstr">
      <vt:lpstr>Arial</vt:lpstr>
      <vt:lpstr>Arial Black</vt:lpstr>
      <vt:lpstr>Calibri</vt:lpstr>
      <vt:lpstr>Calibri Light</vt:lpstr>
      <vt:lpstr>Segoe Print</vt:lpstr>
      <vt:lpstr>Motiv Office</vt:lpstr>
      <vt:lpstr>Prezentace aplikace PowerPoint</vt:lpstr>
      <vt:lpstr>OUTLINE</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Tomas Zednicek</dc:creator>
  <cp:lastModifiedBy>Tomas Zednicek</cp:lastModifiedBy>
  <cp:revision>30</cp:revision>
  <dcterms:created xsi:type="dcterms:W3CDTF">2019-09-05T13:30:57Z</dcterms:created>
  <dcterms:modified xsi:type="dcterms:W3CDTF">2021-03-30T14:37:18Z</dcterms:modified>
</cp:coreProperties>
</file>